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33" r:id="rId5"/>
    <p:sldMasterId id="2147483791" r:id="rId6"/>
    <p:sldMasterId id="2147483816" r:id="rId7"/>
    <p:sldMasterId id="2147483831" r:id="rId8"/>
    <p:sldMasterId id="2147483845" r:id="rId9"/>
    <p:sldMasterId id="2147483849" r:id="rId10"/>
  </p:sldMasterIdLst>
  <p:notesMasterIdLst>
    <p:notesMasterId r:id="rId24"/>
  </p:notesMasterIdLst>
  <p:handoutMasterIdLst>
    <p:handoutMasterId r:id="rId25"/>
  </p:handoutMasterIdLst>
  <p:sldIdLst>
    <p:sldId id="256" r:id="rId11"/>
    <p:sldId id="292" r:id="rId12"/>
    <p:sldId id="339" r:id="rId13"/>
    <p:sldId id="340" r:id="rId14"/>
    <p:sldId id="338" r:id="rId15"/>
    <p:sldId id="649" r:id="rId16"/>
    <p:sldId id="498" r:id="rId17"/>
    <p:sldId id="460" r:id="rId18"/>
    <p:sldId id="703" r:id="rId19"/>
    <p:sldId id="706" r:id="rId20"/>
    <p:sldId id="705" r:id="rId21"/>
    <p:sldId id="704" r:id="rId22"/>
    <p:sldId id="702" r:id="rId23"/>
  </p:sldIdLst>
  <p:sldSz cx="9144000" cy="5143500" type="screen16x9"/>
  <p:notesSz cx="9926638" cy="6797675"/>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FFC0A463-F2E0-4BAA-9DCC-32475C7E7984}">
          <p14:sldIdLst>
            <p14:sldId id="256"/>
            <p14:sldId id="292"/>
            <p14:sldId id="339"/>
            <p14:sldId id="340"/>
            <p14:sldId id="338"/>
            <p14:sldId id="649"/>
            <p14:sldId id="498"/>
            <p14:sldId id="460"/>
            <p14:sldId id="703"/>
            <p14:sldId id="706"/>
            <p14:sldId id="705"/>
            <p14:sldId id="704"/>
            <p14:sldId id="702"/>
          </p14:sldIdLst>
        </p14:section>
      </p14:sectionLst>
    </p:ext>
    <p:ext uri="{EFAFB233-063F-42B5-8137-9DF3F51BA10A}">
      <p15:sldGuideLst xmlns:p15="http://schemas.microsoft.com/office/powerpoint/2012/main">
        <p15:guide id="5" orient="horz" pos="1620" userDrawn="1">
          <p15:clr>
            <a:srgbClr val="A4A3A4"/>
          </p15:clr>
        </p15:guide>
        <p15:guide id="26" orient="horz" pos="2890" userDrawn="1">
          <p15:clr>
            <a:srgbClr val="A4A3A4"/>
          </p15:clr>
        </p15:guide>
        <p15:guide id="27" orient="horz" pos="713">
          <p15:clr>
            <a:srgbClr val="A4A3A4"/>
          </p15:clr>
        </p15:guide>
        <p15:guide id="28" pos="249">
          <p15:clr>
            <a:srgbClr val="A4A3A4"/>
          </p15:clr>
        </p15:guide>
        <p15:guide id="29" pos="5511">
          <p15:clr>
            <a:srgbClr val="A4A3A4"/>
          </p15:clr>
        </p15:guide>
        <p15:guide id="30" pos="2880">
          <p15:clr>
            <a:srgbClr val="A4A3A4"/>
          </p15:clr>
        </p15:guide>
        <p15:guide id="32" pos="2971" userDrawn="1">
          <p15:clr>
            <a:srgbClr val="A4A3A4"/>
          </p15:clr>
        </p15:guide>
      </p15:sldGuideLst>
    </p:ext>
    <p:ext uri="{2D200454-40CA-4A62-9FC3-DE9A4176ACB9}">
      <p15:notesGuideLst xmlns:p15="http://schemas.microsoft.com/office/powerpoint/2012/main">
        <p15:guide id="1" orient="horz" pos="927" userDrawn="1">
          <p15:clr>
            <a:srgbClr val="A4A3A4"/>
          </p15:clr>
        </p15:guide>
        <p15:guide id="2" orient="horz" pos="5901" userDrawn="1">
          <p15:clr>
            <a:srgbClr val="A4A3A4"/>
          </p15:clr>
        </p15:guide>
        <p15:guide id="3" pos="4631" userDrawn="1">
          <p15:clr>
            <a:srgbClr val="A4A3A4"/>
          </p15:clr>
        </p15:guide>
        <p15:guide id="4" pos="4844" userDrawn="1">
          <p15:clr>
            <a:srgbClr val="A4A3A4"/>
          </p15:clr>
        </p15:guide>
        <p15:guide id="5" pos="9097" userDrawn="1">
          <p15:clr>
            <a:srgbClr val="A4A3A4"/>
          </p15:clr>
        </p15:guide>
        <p15:guide id="6" pos="378" userDrawn="1">
          <p15:clr>
            <a:srgbClr val="A4A3A4"/>
          </p15:clr>
        </p15:guide>
        <p15:guide id="7" orient="horz" pos="591" userDrawn="1">
          <p15:clr>
            <a:srgbClr val="A4A3A4"/>
          </p15:clr>
        </p15:guide>
        <p15:guide id="8" orient="horz" pos="3759" userDrawn="1">
          <p15:clr>
            <a:srgbClr val="A4A3A4"/>
          </p15:clr>
        </p15:guide>
        <p15:guide id="9" pos="3057" userDrawn="1">
          <p15:clr>
            <a:srgbClr val="A4A3A4"/>
          </p15:clr>
        </p15:guide>
        <p15:guide id="10" pos="3196" userDrawn="1">
          <p15:clr>
            <a:srgbClr val="A4A3A4"/>
          </p15:clr>
        </p15:guide>
        <p15:guide id="11" pos="6005" userDrawn="1">
          <p15:clr>
            <a:srgbClr val="A4A3A4"/>
          </p15:clr>
        </p15:guide>
        <p15:guide id="12" pos="24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idi Jochim" initials="HJ" lastIdx="11" clrIdx="0"/>
  <p:cmAuthor id="2" name="Lulzim Sopaj" initials="LS" lastIdx="18" clrIdx="1"/>
  <p:cmAuthor id="3" name="Demona Dollinger" initials="DD" lastIdx="2" clrIdx="2"/>
  <p:cmAuthor id="4" name="Kai Stober" initials="KS" lastIdx="1" clrIdx="3">
    <p:extLst>
      <p:ext uri="{19B8F6BF-5375-455C-9EA6-DF929625EA0E}">
        <p15:presenceInfo xmlns:p15="http://schemas.microsoft.com/office/powerpoint/2012/main" userId="S-1-5-21-2215643982-2004304490-3753650631-2000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7942C"/>
    <a:srgbClr val="7CB135"/>
    <a:srgbClr val="73A531"/>
    <a:srgbClr val="4F4F4F"/>
    <a:srgbClr val="C3C4C6"/>
    <a:srgbClr val="FFCC00"/>
    <a:srgbClr val="EA4D34"/>
    <a:srgbClr val="5D6C73"/>
    <a:srgbClr val="E3000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391" autoAdjust="0"/>
    <p:restoredTop sz="58637" autoAdjust="0"/>
  </p:normalViewPr>
  <p:slideViewPr>
    <p:cSldViewPr snapToObjects="1">
      <p:cViewPr varScale="1">
        <p:scale>
          <a:sx n="67" d="100"/>
          <a:sy n="67" d="100"/>
        </p:scale>
        <p:origin x="2376" y="66"/>
      </p:cViewPr>
      <p:guideLst>
        <p:guide orient="horz" pos="1620"/>
        <p:guide orient="horz" pos="2890"/>
        <p:guide orient="horz" pos="713"/>
        <p:guide pos="249"/>
        <p:guide pos="5511"/>
        <p:guide pos="2880"/>
        <p:guide pos="2971"/>
      </p:guideLst>
    </p:cSldViewPr>
  </p:slideViewPr>
  <p:notesTextViewPr>
    <p:cViewPr>
      <p:scale>
        <a:sx n="125" d="100"/>
        <a:sy n="125" d="100"/>
      </p:scale>
      <p:origin x="0" y="0"/>
    </p:cViewPr>
  </p:notesTextViewPr>
  <p:sorterViewPr>
    <p:cViewPr>
      <p:scale>
        <a:sx n="100" d="100"/>
        <a:sy n="100" d="100"/>
      </p:scale>
      <p:origin x="0" y="0"/>
    </p:cViewPr>
  </p:sorterViewPr>
  <p:notesViewPr>
    <p:cSldViewPr snapToObjects="1" showGuides="1">
      <p:cViewPr>
        <p:scale>
          <a:sx n="100" d="100"/>
          <a:sy n="100" d="100"/>
        </p:scale>
        <p:origin x="-888" y="-72"/>
      </p:cViewPr>
      <p:guideLst>
        <p:guide orient="horz" pos="927"/>
        <p:guide orient="horz" pos="5901"/>
        <p:guide pos="4631"/>
        <p:guide pos="4844"/>
        <p:guide pos="9097"/>
        <p:guide pos="378"/>
        <p:guide orient="horz" pos="591"/>
        <p:guide orient="horz" pos="3759"/>
        <p:guide pos="3057"/>
        <p:guide pos="3196"/>
        <p:guide pos="6005"/>
        <p:guide pos="24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52" name="Group 51"/>
          <p:cNvGrpSpPr/>
          <p:nvPr/>
        </p:nvGrpSpPr>
        <p:grpSpPr bwMode="gray">
          <a:xfrm>
            <a:off x="-154483" y="945226"/>
            <a:ext cx="90632" cy="5015165"/>
            <a:chOff x="-143043" y="927343"/>
            <a:chExt cx="89256" cy="4920298"/>
          </a:xfrm>
        </p:grpSpPr>
        <p:cxnSp>
          <p:nvCxnSpPr>
            <p:cNvPr id="53" name="Straight Connector 52"/>
            <p:cNvCxnSpPr/>
            <p:nvPr/>
          </p:nvCxnSpPr>
          <p:spPr bwMode="gray">
            <a:xfrm>
              <a:off x="-143043" y="927343"/>
              <a:ext cx="892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bwMode="gray">
            <a:xfrm>
              <a:off x="-143043" y="5847641"/>
              <a:ext cx="892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5" name="Group 54"/>
          <p:cNvGrpSpPr/>
          <p:nvPr/>
        </p:nvGrpSpPr>
        <p:grpSpPr bwMode="gray">
          <a:xfrm>
            <a:off x="9971966" y="945226"/>
            <a:ext cx="90632" cy="5015165"/>
            <a:chOff x="-143043" y="927343"/>
            <a:chExt cx="89256" cy="4920298"/>
          </a:xfrm>
        </p:grpSpPr>
        <p:cxnSp>
          <p:nvCxnSpPr>
            <p:cNvPr id="56" name="Straight Connector 55"/>
            <p:cNvCxnSpPr/>
            <p:nvPr/>
          </p:nvCxnSpPr>
          <p:spPr bwMode="gray">
            <a:xfrm>
              <a:off x="-143043" y="927343"/>
              <a:ext cx="892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bwMode="gray">
            <a:xfrm>
              <a:off x="-143043" y="5847641"/>
              <a:ext cx="892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8" name="Group 57"/>
          <p:cNvGrpSpPr/>
          <p:nvPr/>
        </p:nvGrpSpPr>
        <p:grpSpPr bwMode="gray">
          <a:xfrm rot="5400000">
            <a:off x="4917834" y="-4655111"/>
            <a:ext cx="90977" cy="9145192"/>
            <a:chOff x="-143043" y="-3176367"/>
            <a:chExt cx="89256" cy="9006252"/>
          </a:xfrm>
        </p:grpSpPr>
        <p:cxnSp>
          <p:nvCxnSpPr>
            <p:cNvPr id="59" name="Straight Connector 58"/>
            <p:cNvCxnSpPr/>
            <p:nvPr/>
          </p:nvCxnSpPr>
          <p:spPr bwMode="gray">
            <a:xfrm>
              <a:off x="-143043" y="1433025"/>
              <a:ext cx="892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bwMode="gray">
            <a:xfrm>
              <a:off x="-143043" y="5829885"/>
              <a:ext cx="892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bwMode="gray">
            <a:xfrm>
              <a:off x="-143043" y="1224745"/>
              <a:ext cx="892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bwMode="gray">
            <a:xfrm>
              <a:off x="-143043" y="-3176367"/>
              <a:ext cx="892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3" name="Header Placeholder 1"/>
          <p:cNvSpPr>
            <a:spLocks noGrp="1"/>
          </p:cNvSpPr>
          <p:nvPr>
            <p:ph type="hdr" sz="quarter"/>
          </p:nvPr>
        </p:nvSpPr>
        <p:spPr bwMode="gray">
          <a:xfrm>
            <a:off x="393328" y="279495"/>
            <a:ext cx="4459966" cy="182089"/>
          </a:xfrm>
          <a:prstGeom prst="rect">
            <a:avLst/>
          </a:prstGeom>
        </p:spPr>
        <p:txBody>
          <a:bodyPr vert="horz" wrap="none" lIns="0" tIns="0" rIns="0" bIns="0" rtlCol="0" anchor="b"/>
          <a:lstStyle>
            <a:lvl1pPr algn="l">
              <a:defRPr sz="1000" b="1" cap="all" baseline="0">
                <a:solidFill>
                  <a:schemeClr val="accent4"/>
                </a:solidFill>
              </a:defRPr>
            </a:lvl1pPr>
          </a:lstStyle>
          <a:p>
            <a:endParaRPr lang="en-US" dirty="0"/>
          </a:p>
        </p:txBody>
      </p:sp>
      <p:grpSp>
        <p:nvGrpSpPr>
          <p:cNvPr id="67" name="Group 66"/>
          <p:cNvGrpSpPr/>
          <p:nvPr/>
        </p:nvGrpSpPr>
        <p:grpSpPr bwMode="gray">
          <a:xfrm rot="5400000">
            <a:off x="4917834" y="2293692"/>
            <a:ext cx="90977" cy="9145192"/>
            <a:chOff x="-143043" y="-3176367"/>
            <a:chExt cx="89256" cy="9006252"/>
          </a:xfrm>
        </p:grpSpPr>
        <p:cxnSp>
          <p:nvCxnSpPr>
            <p:cNvPr id="68" name="Straight Connector 67"/>
            <p:cNvCxnSpPr/>
            <p:nvPr/>
          </p:nvCxnSpPr>
          <p:spPr bwMode="gray">
            <a:xfrm>
              <a:off x="-143043" y="1433025"/>
              <a:ext cx="892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bwMode="gray">
            <a:xfrm>
              <a:off x="-143043" y="5829885"/>
              <a:ext cx="892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bwMode="gray">
            <a:xfrm>
              <a:off x="-143043" y="1224745"/>
              <a:ext cx="892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bwMode="gray">
            <a:xfrm>
              <a:off x="-143043" y="-3176367"/>
              <a:ext cx="892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3" name="Date Placeholder 3"/>
          <p:cNvSpPr>
            <a:spLocks noGrp="1"/>
          </p:cNvSpPr>
          <p:nvPr>
            <p:ph type="dt" sz="half" idx="1"/>
          </p:nvPr>
        </p:nvSpPr>
        <p:spPr bwMode="gray">
          <a:xfrm>
            <a:off x="8546149" y="6077811"/>
            <a:ext cx="746181" cy="138673"/>
          </a:xfrm>
          <a:prstGeom prst="rect">
            <a:avLst/>
          </a:prstGeom>
        </p:spPr>
        <p:txBody>
          <a:bodyPr vert="horz" wrap="none" lIns="0" tIns="0" rIns="0" bIns="0" rtlCol="0" anchor="ctr"/>
          <a:lstStyle>
            <a:lvl1pPr algn="l">
              <a:defRPr sz="1000">
                <a:solidFill>
                  <a:schemeClr val="accent1"/>
                </a:solidFill>
              </a:defRPr>
            </a:lvl1pPr>
          </a:lstStyle>
          <a:p>
            <a:pPr algn="ctr"/>
            <a:fld id="{AC38927E-0ECD-4CCA-B78A-5AE190FE5643}" type="datetime1">
              <a:rPr lang="cs-CZ" smtClean="0"/>
              <a:t>25.09.2020</a:t>
            </a:fld>
            <a:endParaRPr lang="cs-CZ" dirty="0"/>
          </a:p>
        </p:txBody>
      </p:sp>
      <p:sp>
        <p:nvSpPr>
          <p:cNvPr id="24" name="Footer Placeholder 4"/>
          <p:cNvSpPr>
            <a:spLocks noGrp="1"/>
          </p:cNvSpPr>
          <p:nvPr>
            <p:ph type="ftr" sz="quarter" idx="2"/>
          </p:nvPr>
        </p:nvSpPr>
        <p:spPr bwMode="gray">
          <a:xfrm>
            <a:off x="6389139" y="6077811"/>
            <a:ext cx="2157007" cy="138673"/>
          </a:xfrm>
          <a:prstGeom prst="rect">
            <a:avLst/>
          </a:prstGeom>
        </p:spPr>
        <p:txBody>
          <a:bodyPr vert="horz" wrap="none" lIns="0" tIns="0" rIns="0" bIns="0" rtlCol="0" anchor="ctr"/>
          <a:lstStyle>
            <a:lvl1pPr algn="r">
              <a:defRPr sz="1000">
                <a:solidFill>
                  <a:schemeClr val="accent1"/>
                </a:solidFill>
              </a:defRPr>
            </a:lvl1pPr>
          </a:lstStyle>
          <a:p>
            <a:endParaRPr lang="cs-CZ" dirty="0"/>
          </a:p>
        </p:txBody>
      </p:sp>
      <p:sp>
        <p:nvSpPr>
          <p:cNvPr id="29" name="Slide Number Placeholder 5"/>
          <p:cNvSpPr>
            <a:spLocks noGrp="1"/>
          </p:cNvSpPr>
          <p:nvPr>
            <p:ph type="sldNum" sz="quarter" idx="3"/>
          </p:nvPr>
        </p:nvSpPr>
        <p:spPr bwMode="gray">
          <a:xfrm>
            <a:off x="9292328" y="6077811"/>
            <a:ext cx="620997" cy="138673"/>
          </a:xfrm>
          <a:prstGeom prst="rect">
            <a:avLst/>
          </a:prstGeom>
        </p:spPr>
        <p:txBody>
          <a:bodyPr vert="horz" wrap="none" lIns="0" tIns="0" rIns="0" bIns="0" rtlCol="0" anchor="ctr"/>
          <a:lstStyle>
            <a:lvl1pPr algn="l">
              <a:defRPr sz="1000" b="0">
                <a:solidFill>
                  <a:schemeClr val="accent1"/>
                </a:solidFill>
              </a:defRPr>
            </a:lvl1pPr>
          </a:lstStyle>
          <a:p>
            <a:r>
              <a:rPr lang="cs-CZ">
                <a:sym typeface="Wingdings"/>
              </a:rPr>
              <a:t>  </a:t>
            </a:r>
            <a:fld id="{443B15C8-972D-49F6-9B7C-5A2154A8C95F}" type="slidenum">
              <a:rPr lang="cs-CZ" smtClean="0"/>
              <a:pPr/>
              <a:t>‹Nr.›</a:t>
            </a:fld>
            <a:endParaRPr lang="cs-CZ" dirty="0"/>
          </a:p>
        </p:txBody>
      </p:sp>
    </p:spTree>
    <p:extLst>
      <p:ext uri="{BB962C8B-B14F-4D97-AF65-F5344CB8AC3E}">
        <p14:creationId xmlns:p14="http://schemas.microsoft.com/office/powerpoint/2010/main" val="2106958069"/>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376238" y="944563"/>
            <a:ext cx="4484687" cy="2524125"/>
          </a:xfrm>
          <a:prstGeom prst="rect">
            <a:avLst/>
          </a:prstGeom>
          <a:noFill/>
          <a:ln w="12700">
            <a:solidFill>
              <a:schemeClr val="accent2"/>
            </a:solidFill>
          </a:ln>
        </p:spPr>
        <p:txBody>
          <a:bodyPr vert="horz" lIns="92963" tIns="46483" rIns="92963" bIns="46483" rtlCol="0" anchor="ctr"/>
          <a:lstStyle/>
          <a:p>
            <a:endParaRPr lang="de-DE" noProof="0" dirty="0"/>
          </a:p>
        </p:txBody>
      </p:sp>
      <p:sp>
        <p:nvSpPr>
          <p:cNvPr id="5" name="Notes Placeholder 4"/>
          <p:cNvSpPr>
            <a:spLocks noGrp="1"/>
          </p:cNvSpPr>
          <p:nvPr>
            <p:ph type="body" sz="quarter" idx="3"/>
          </p:nvPr>
        </p:nvSpPr>
        <p:spPr bwMode="gray">
          <a:xfrm>
            <a:off x="5066909" y="945227"/>
            <a:ext cx="4466407" cy="5015165"/>
          </a:xfrm>
          <a:prstGeom prst="rect">
            <a:avLst/>
          </a:prstGeom>
        </p:spPr>
        <p:txBody>
          <a:bodyPr vert="horz" lIns="0" tIns="0" rIns="0" bIns="0" rtlCol="0">
            <a:normAutofit/>
          </a:bodyPr>
          <a:lstStyle/>
          <a:p>
            <a:pPr lvl="0"/>
            <a:r>
              <a:rPr lang="de-DE" noProof="0" dirty="0"/>
              <a:t>Schreiben Sie hier Ihren Text.</a:t>
            </a:r>
          </a:p>
        </p:txBody>
      </p:sp>
      <p:sp>
        <p:nvSpPr>
          <p:cNvPr id="8" name="Rectangle 7"/>
          <p:cNvSpPr/>
          <p:nvPr/>
        </p:nvSpPr>
        <p:spPr bwMode="gray">
          <a:xfrm>
            <a:off x="391128" y="3692426"/>
            <a:ext cx="1023551" cy="1027435"/>
          </a:xfrm>
          <a:prstGeom prst="rect">
            <a:avLst/>
          </a:prstGeom>
          <a:noFill/>
          <a:ln w="12700" cap="sq">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6398" tIns="109798" rIns="146398" bIns="146398" rtlCol="0" anchor="t"/>
          <a:lstStyle/>
          <a:p>
            <a:pPr algn="l"/>
            <a:r>
              <a:rPr lang="de-DE" sz="1300" b="1" noProof="0" dirty="0">
                <a:solidFill>
                  <a:schemeClr val="tx1"/>
                </a:solidFill>
              </a:rPr>
              <a:t>Notizen</a:t>
            </a:r>
          </a:p>
        </p:txBody>
      </p:sp>
      <p:cxnSp>
        <p:nvCxnSpPr>
          <p:cNvPr id="10" name="Gerade Verbindung 17"/>
          <p:cNvCxnSpPr/>
          <p:nvPr/>
        </p:nvCxnSpPr>
        <p:spPr bwMode="gray">
          <a:xfrm>
            <a:off x="384643" y="4958793"/>
            <a:ext cx="4469064" cy="0"/>
          </a:xfrm>
          <a:prstGeom prst="line">
            <a:avLst/>
          </a:prstGeom>
          <a:noFill/>
          <a:ln w="9525" cap="flat" cmpd="sng" algn="ctr">
            <a:solidFill>
              <a:schemeClr val="accent2"/>
            </a:solidFill>
            <a:prstDash val="solid"/>
            <a:round/>
            <a:headEnd type="none" w="med" len="med"/>
            <a:tailEnd type="none" w="med" len="med"/>
          </a:ln>
          <a:effectLst/>
        </p:spPr>
      </p:cxnSp>
      <p:cxnSp>
        <p:nvCxnSpPr>
          <p:cNvPr id="11" name="Gerade Verbindung 18"/>
          <p:cNvCxnSpPr/>
          <p:nvPr/>
        </p:nvCxnSpPr>
        <p:spPr bwMode="gray">
          <a:xfrm>
            <a:off x="384643" y="5206725"/>
            <a:ext cx="4469064" cy="0"/>
          </a:xfrm>
          <a:prstGeom prst="line">
            <a:avLst/>
          </a:prstGeom>
          <a:noFill/>
          <a:ln w="9525" cap="flat" cmpd="sng" algn="ctr">
            <a:solidFill>
              <a:schemeClr val="accent2"/>
            </a:solidFill>
            <a:prstDash val="solid"/>
            <a:round/>
            <a:headEnd type="none" w="med" len="med"/>
            <a:tailEnd type="none" w="med" len="med"/>
          </a:ln>
          <a:effectLst/>
        </p:spPr>
      </p:cxnSp>
      <p:cxnSp>
        <p:nvCxnSpPr>
          <p:cNvPr id="12" name="Gerade Verbindung 20"/>
          <p:cNvCxnSpPr/>
          <p:nvPr/>
        </p:nvCxnSpPr>
        <p:spPr bwMode="gray">
          <a:xfrm>
            <a:off x="384643" y="5454657"/>
            <a:ext cx="4469064" cy="0"/>
          </a:xfrm>
          <a:prstGeom prst="line">
            <a:avLst/>
          </a:prstGeom>
          <a:noFill/>
          <a:ln w="9525" cap="flat" cmpd="sng" algn="ctr">
            <a:solidFill>
              <a:schemeClr val="accent2"/>
            </a:solidFill>
            <a:prstDash val="solid"/>
            <a:round/>
            <a:headEnd type="none" w="med" len="med"/>
            <a:tailEnd type="none" w="med" len="med"/>
          </a:ln>
          <a:effectLst/>
        </p:spPr>
      </p:cxnSp>
      <p:cxnSp>
        <p:nvCxnSpPr>
          <p:cNvPr id="13" name="Gerade Verbindung 21"/>
          <p:cNvCxnSpPr/>
          <p:nvPr/>
        </p:nvCxnSpPr>
        <p:spPr bwMode="gray">
          <a:xfrm>
            <a:off x="384643" y="5702589"/>
            <a:ext cx="4469064" cy="0"/>
          </a:xfrm>
          <a:prstGeom prst="line">
            <a:avLst/>
          </a:prstGeom>
          <a:noFill/>
          <a:ln w="9525" cap="flat" cmpd="sng" algn="ctr">
            <a:solidFill>
              <a:schemeClr val="accent2"/>
            </a:solidFill>
            <a:prstDash val="solid"/>
            <a:round/>
            <a:headEnd type="none" w="med" len="med"/>
            <a:tailEnd type="none" w="med" len="med"/>
          </a:ln>
          <a:effectLst/>
        </p:spPr>
      </p:cxnSp>
      <p:cxnSp>
        <p:nvCxnSpPr>
          <p:cNvPr id="14" name="Gerade Verbindung 22"/>
          <p:cNvCxnSpPr/>
          <p:nvPr/>
        </p:nvCxnSpPr>
        <p:spPr bwMode="gray">
          <a:xfrm>
            <a:off x="384643" y="5950520"/>
            <a:ext cx="4469064" cy="0"/>
          </a:xfrm>
          <a:prstGeom prst="line">
            <a:avLst/>
          </a:prstGeom>
          <a:noFill/>
          <a:ln w="9525" cap="flat" cmpd="sng" algn="ctr">
            <a:solidFill>
              <a:schemeClr val="accent2"/>
            </a:solidFill>
            <a:prstDash val="solid"/>
            <a:round/>
            <a:headEnd type="none" w="med" len="med"/>
            <a:tailEnd type="none" w="med" len="med"/>
          </a:ln>
          <a:effectLst/>
        </p:spPr>
      </p:cxnSp>
      <p:grpSp>
        <p:nvGrpSpPr>
          <p:cNvPr id="46" name="Group 45"/>
          <p:cNvGrpSpPr/>
          <p:nvPr/>
        </p:nvGrpSpPr>
        <p:grpSpPr bwMode="gray">
          <a:xfrm>
            <a:off x="1632628" y="3704659"/>
            <a:ext cx="3220667" cy="1006207"/>
            <a:chOff x="1714647" y="3634576"/>
            <a:chExt cx="3064909" cy="987173"/>
          </a:xfrm>
        </p:grpSpPr>
        <p:cxnSp>
          <p:nvCxnSpPr>
            <p:cNvPr id="15" name="Gerade Verbindung 17"/>
            <p:cNvCxnSpPr/>
            <p:nvPr/>
          </p:nvCxnSpPr>
          <p:spPr bwMode="gray">
            <a:xfrm>
              <a:off x="1714647" y="4621749"/>
              <a:ext cx="3064909" cy="0"/>
            </a:xfrm>
            <a:prstGeom prst="line">
              <a:avLst/>
            </a:prstGeom>
            <a:noFill/>
            <a:ln w="9525" cap="flat" cmpd="sng" algn="ctr">
              <a:solidFill>
                <a:schemeClr val="accent2"/>
              </a:solidFill>
              <a:prstDash val="solid"/>
              <a:round/>
              <a:headEnd type="none" w="med" len="med"/>
              <a:tailEnd type="none" w="med" len="med"/>
            </a:ln>
            <a:effectLst/>
          </p:spPr>
        </p:cxnSp>
        <p:cxnSp>
          <p:nvCxnSpPr>
            <p:cNvPr id="16" name="Gerade Verbindung 17"/>
            <p:cNvCxnSpPr/>
            <p:nvPr/>
          </p:nvCxnSpPr>
          <p:spPr bwMode="gray">
            <a:xfrm>
              <a:off x="1714647" y="4374956"/>
              <a:ext cx="3064909" cy="0"/>
            </a:xfrm>
            <a:prstGeom prst="line">
              <a:avLst/>
            </a:prstGeom>
            <a:noFill/>
            <a:ln w="9525" cap="flat" cmpd="sng" algn="ctr">
              <a:solidFill>
                <a:schemeClr val="accent2"/>
              </a:solidFill>
              <a:prstDash val="solid"/>
              <a:round/>
              <a:headEnd type="none" w="med" len="med"/>
              <a:tailEnd type="none" w="med" len="med"/>
            </a:ln>
            <a:effectLst/>
          </p:spPr>
        </p:cxnSp>
        <p:cxnSp>
          <p:nvCxnSpPr>
            <p:cNvPr id="17" name="Gerade Verbindung 17"/>
            <p:cNvCxnSpPr/>
            <p:nvPr/>
          </p:nvCxnSpPr>
          <p:spPr bwMode="gray">
            <a:xfrm>
              <a:off x="1714647" y="4128163"/>
              <a:ext cx="3064909" cy="0"/>
            </a:xfrm>
            <a:prstGeom prst="line">
              <a:avLst/>
            </a:prstGeom>
            <a:noFill/>
            <a:ln w="9525" cap="flat" cmpd="sng" algn="ctr">
              <a:solidFill>
                <a:schemeClr val="accent2"/>
              </a:solidFill>
              <a:prstDash val="solid"/>
              <a:round/>
              <a:headEnd type="none" w="med" len="med"/>
              <a:tailEnd type="none" w="med" len="med"/>
            </a:ln>
            <a:effectLst/>
          </p:spPr>
        </p:cxnSp>
        <p:cxnSp>
          <p:nvCxnSpPr>
            <p:cNvPr id="18" name="Gerade Verbindung 17"/>
            <p:cNvCxnSpPr/>
            <p:nvPr/>
          </p:nvCxnSpPr>
          <p:spPr bwMode="gray">
            <a:xfrm>
              <a:off x="1714647" y="3881369"/>
              <a:ext cx="3064909" cy="0"/>
            </a:xfrm>
            <a:prstGeom prst="line">
              <a:avLst/>
            </a:prstGeom>
            <a:noFill/>
            <a:ln w="9525" cap="flat" cmpd="sng" algn="ctr">
              <a:solidFill>
                <a:schemeClr val="accent2"/>
              </a:solidFill>
              <a:prstDash val="solid"/>
              <a:round/>
              <a:headEnd type="none" w="med" len="med"/>
              <a:tailEnd type="none" w="med" len="med"/>
            </a:ln>
            <a:effectLst/>
          </p:spPr>
        </p:cxnSp>
        <p:cxnSp>
          <p:nvCxnSpPr>
            <p:cNvPr id="19" name="Gerade Verbindung 17"/>
            <p:cNvCxnSpPr/>
            <p:nvPr/>
          </p:nvCxnSpPr>
          <p:spPr bwMode="gray">
            <a:xfrm>
              <a:off x="1714647" y="3634576"/>
              <a:ext cx="3064909" cy="0"/>
            </a:xfrm>
            <a:prstGeom prst="line">
              <a:avLst/>
            </a:prstGeom>
            <a:noFill/>
            <a:ln w="9525" cap="flat" cmpd="sng" algn="ctr">
              <a:solidFill>
                <a:schemeClr val="accent2"/>
              </a:solidFill>
              <a:prstDash val="solid"/>
              <a:round/>
              <a:headEnd type="none" w="med" len="med"/>
              <a:tailEnd type="none" w="med" len="med"/>
            </a:ln>
            <a:effectLst/>
          </p:spPr>
        </p:cxnSp>
      </p:grpSp>
      <p:grpSp>
        <p:nvGrpSpPr>
          <p:cNvPr id="21" name="Group 20"/>
          <p:cNvGrpSpPr/>
          <p:nvPr/>
        </p:nvGrpSpPr>
        <p:grpSpPr bwMode="gray">
          <a:xfrm>
            <a:off x="-154483" y="945226"/>
            <a:ext cx="90632" cy="5015165"/>
            <a:chOff x="-143043" y="927343"/>
            <a:chExt cx="89256" cy="4920298"/>
          </a:xfrm>
        </p:grpSpPr>
        <p:cxnSp>
          <p:nvCxnSpPr>
            <p:cNvPr id="35" name="Straight Connector 34"/>
            <p:cNvCxnSpPr/>
            <p:nvPr/>
          </p:nvCxnSpPr>
          <p:spPr bwMode="gray">
            <a:xfrm>
              <a:off x="-143043" y="927343"/>
              <a:ext cx="892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bwMode="gray">
            <a:xfrm>
              <a:off x="-143043" y="5847641"/>
              <a:ext cx="892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bwMode="gray">
          <a:xfrm>
            <a:off x="9971966" y="945226"/>
            <a:ext cx="90632" cy="5015165"/>
            <a:chOff x="-143043" y="927343"/>
            <a:chExt cx="89256" cy="4920298"/>
          </a:xfrm>
        </p:grpSpPr>
        <p:cxnSp>
          <p:nvCxnSpPr>
            <p:cNvPr id="33" name="Straight Connector 32"/>
            <p:cNvCxnSpPr/>
            <p:nvPr/>
          </p:nvCxnSpPr>
          <p:spPr bwMode="gray">
            <a:xfrm>
              <a:off x="-143043" y="927343"/>
              <a:ext cx="892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bwMode="gray">
            <a:xfrm>
              <a:off x="-143043" y="5847641"/>
              <a:ext cx="892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3" name="Group 22"/>
          <p:cNvGrpSpPr/>
          <p:nvPr/>
        </p:nvGrpSpPr>
        <p:grpSpPr bwMode="gray">
          <a:xfrm rot="5400000">
            <a:off x="4917834" y="-4655111"/>
            <a:ext cx="90977" cy="9145192"/>
            <a:chOff x="-143043" y="-3176367"/>
            <a:chExt cx="89256" cy="9006252"/>
          </a:xfrm>
        </p:grpSpPr>
        <p:cxnSp>
          <p:nvCxnSpPr>
            <p:cNvPr id="29" name="Straight Connector 28"/>
            <p:cNvCxnSpPr/>
            <p:nvPr/>
          </p:nvCxnSpPr>
          <p:spPr bwMode="gray">
            <a:xfrm>
              <a:off x="-143043" y="1433025"/>
              <a:ext cx="892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bwMode="gray">
            <a:xfrm>
              <a:off x="-143043" y="5829885"/>
              <a:ext cx="892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bwMode="gray">
            <a:xfrm>
              <a:off x="-143043" y="1224745"/>
              <a:ext cx="892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bwMode="gray">
            <a:xfrm>
              <a:off x="-143043" y="-3176367"/>
              <a:ext cx="892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7" name="Header Placeholder 1"/>
          <p:cNvSpPr>
            <a:spLocks noGrp="1"/>
          </p:cNvSpPr>
          <p:nvPr>
            <p:ph type="hdr" sz="quarter"/>
          </p:nvPr>
        </p:nvSpPr>
        <p:spPr bwMode="gray">
          <a:xfrm>
            <a:off x="393328" y="646477"/>
            <a:ext cx="4459966" cy="182089"/>
          </a:xfrm>
          <a:prstGeom prst="rect">
            <a:avLst/>
          </a:prstGeom>
        </p:spPr>
        <p:txBody>
          <a:bodyPr vert="horz" wrap="none" lIns="0" tIns="0" rIns="0" bIns="0" rtlCol="0" anchor="b"/>
          <a:lstStyle>
            <a:lvl1pPr algn="l">
              <a:defRPr sz="1000" b="1" cap="all" baseline="0">
                <a:solidFill>
                  <a:schemeClr val="accent4"/>
                </a:solidFill>
              </a:defRPr>
            </a:lvl1pPr>
          </a:lstStyle>
          <a:p>
            <a:endParaRPr lang="de-DE" noProof="0" dirty="0"/>
          </a:p>
        </p:txBody>
      </p:sp>
      <p:grpSp>
        <p:nvGrpSpPr>
          <p:cNvPr id="41" name="Group 40"/>
          <p:cNvGrpSpPr/>
          <p:nvPr/>
        </p:nvGrpSpPr>
        <p:grpSpPr bwMode="gray">
          <a:xfrm rot="5400000">
            <a:off x="4917834" y="2293692"/>
            <a:ext cx="90977" cy="9145192"/>
            <a:chOff x="-143043" y="-3176367"/>
            <a:chExt cx="89256" cy="9006252"/>
          </a:xfrm>
        </p:grpSpPr>
        <p:cxnSp>
          <p:nvCxnSpPr>
            <p:cNvPr id="42" name="Straight Connector 41"/>
            <p:cNvCxnSpPr/>
            <p:nvPr/>
          </p:nvCxnSpPr>
          <p:spPr bwMode="gray">
            <a:xfrm>
              <a:off x="-143043" y="1433025"/>
              <a:ext cx="892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bwMode="gray">
            <a:xfrm>
              <a:off x="-143043" y="5829885"/>
              <a:ext cx="892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bwMode="gray">
            <a:xfrm>
              <a:off x="-143043" y="1224745"/>
              <a:ext cx="892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bwMode="gray">
            <a:xfrm>
              <a:off x="-143043" y="-3176367"/>
              <a:ext cx="892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8" name="Date Placeholder 3"/>
          <p:cNvSpPr>
            <a:spLocks noGrp="1"/>
          </p:cNvSpPr>
          <p:nvPr>
            <p:ph type="dt" sz="half" idx="1"/>
          </p:nvPr>
        </p:nvSpPr>
        <p:spPr bwMode="gray">
          <a:xfrm>
            <a:off x="8546149" y="6077811"/>
            <a:ext cx="746181" cy="138673"/>
          </a:xfrm>
          <a:prstGeom prst="rect">
            <a:avLst/>
          </a:prstGeom>
        </p:spPr>
        <p:txBody>
          <a:bodyPr vert="horz" wrap="none" lIns="0" tIns="0" rIns="0" bIns="0" rtlCol="0" anchor="ctr"/>
          <a:lstStyle>
            <a:lvl1pPr algn="ctr">
              <a:defRPr sz="1000">
                <a:solidFill>
                  <a:schemeClr val="accent1"/>
                </a:solidFill>
              </a:defRPr>
            </a:lvl1pPr>
          </a:lstStyle>
          <a:p>
            <a:fld id="{9303B001-9C1D-488F-AFED-B9C82E1FE82F}" type="datetime1">
              <a:rPr lang="cs-CZ" smtClean="0"/>
              <a:t>25.09.2020</a:t>
            </a:fld>
            <a:endParaRPr lang="cs-CZ" dirty="0"/>
          </a:p>
        </p:txBody>
      </p:sp>
      <p:sp>
        <p:nvSpPr>
          <p:cNvPr id="39" name="Footer Placeholder 4"/>
          <p:cNvSpPr>
            <a:spLocks noGrp="1"/>
          </p:cNvSpPr>
          <p:nvPr>
            <p:ph type="ftr" sz="quarter" idx="4"/>
          </p:nvPr>
        </p:nvSpPr>
        <p:spPr bwMode="gray">
          <a:xfrm>
            <a:off x="6389139" y="6077811"/>
            <a:ext cx="2157007" cy="138673"/>
          </a:xfrm>
          <a:prstGeom prst="rect">
            <a:avLst/>
          </a:prstGeom>
        </p:spPr>
        <p:txBody>
          <a:bodyPr vert="horz" wrap="none" lIns="0" tIns="0" rIns="0" bIns="0" rtlCol="0" anchor="ctr"/>
          <a:lstStyle>
            <a:lvl1pPr algn="r">
              <a:defRPr sz="1000">
                <a:solidFill>
                  <a:schemeClr val="accent1"/>
                </a:solidFill>
              </a:defRPr>
            </a:lvl1pPr>
          </a:lstStyle>
          <a:p>
            <a:r>
              <a:rPr lang="de-DE" dirty="0"/>
              <a:t>Begrüßungsveranstaltung</a:t>
            </a:r>
            <a:endParaRPr lang="cs-CZ" dirty="0"/>
          </a:p>
        </p:txBody>
      </p:sp>
      <p:sp>
        <p:nvSpPr>
          <p:cNvPr id="40" name="Slide Number Placeholder 5"/>
          <p:cNvSpPr>
            <a:spLocks noGrp="1"/>
          </p:cNvSpPr>
          <p:nvPr>
            <p:ph type="sldNum" sz="quarter" idx="5"/>
          </p:nvPr>
        </p:nvSpPr>
        <p:spPr bwMode="gray">
          <a:xfrm>
            <a:off x="9292328" y="6077811"/>
            <a:ext cx="620997" cy="138673"/>
          </a:xfrm>
          <a:prstGeom prst="rect">
            <a:avLst/>
          </a:prstGeom>
        </p:spPr>
        <p:txBody>
          <a:bodyPr vert="horz" wrap="none" lIns="0" tIns="0" rIns="0" bIns="0" rtlCol="0" anchor="ctr"/>
          <a:lstStyle>
            <a:lvl1pPr algn="l">
              <a:defRPr sz="1000" b="0">
                <a:solidFill>
                  <a:schemeClr val="accent1"/>
                </a:solidFill>
              </a:defRPr>
            </a:lvl1pPr>
          </a:lstStyle>
          <a:p>
            <a:r>
              <a:rPr lang="cs-CZ">
                <a:sym typeface="Wingdings"/>
              </a:rPr>
              <a:t>  </a:t>
            </a:r>
            <a:fld id="{443B15C8-972D-49F6-9B7C-5A2154A8C95F}" type="slidenum">
              <a:rPr lang="cs-CZ" smtClean="0"/>
              <a:pPr/>
              <a:t>‹Nr.›</a:t>
            </a:fld>
            <a:endParaRPr lang="cs-CZ" dirty="0"/>
          </a:p>
        </p:txBody>
      </p:sp>
    </p:spTree>
    <p:extLst>
      <p:ext uri="{BB962C8B-B14F-4D97-AF65-F5344CB8AC3E}">
        <p14:creationId xmlns:p14="http://schemas.microsoft.com/office/powerpoint/2010/main" val="1267397174"/>
      </p:ext>
    </p:extLst>
  </p:cSld>
  <p:clrMap bg1="lt1" tx1="dk1" bg2="lt2" tx2="dk2" accent1="accent1" accent2="accent2" accent3="accent3" accent4="accent4" accent5="accent5" accent6="accent6" hlink="hlink" folHlink="folHlink"/>
  <p:hf hdr="0"/>
  <p:notesStyle>
    <a:lvl1pPr marL="0" indent="0" algn="l" defTabSz="914400" rtl="0" eaLnBrk="1" latinLnBrk="0" hangingPunct="1">
      <a:lnSpc>
        <a:spcPct val="110000"/>
      </a:lnSpc>
      <a:spcBef>
        <a:spcPts val="200"/>
      </a:spcBef>
      <a:spcAft>
        <a:spcPts val="200"/>
      </a:spcAft>
      <a:defRPr sz="1000" kern="1200" baseline="0">
        <a:solidFill>
          <a:schemeClr val="tx1"/>
        </a:solidFill>
        <a:latin typeface="+mn-lt"/>
        <a:ea typeface="+mn-ea"/>
        <a:cs typeface="+mn-cs"/>
      </a:defRPr>
    </a:lvl1pPr>
    <a:lvl2pPr marL="180000" indent="-180000" algn="l" defTabSz="914400" rtl="0" eaLnBrk="1" latinLnBrk="0" hangingPunct="1">
      <a:lnSpc>
        <a:spcPct val="110000"/>
      </a:lnSpc>
      <a:spcBef>
        <a:spcPts val="200"/>
      </a:spcBef>
      <a:spcAft>
        <a:spcPts val="200"/>
      </a:spcAft>
      <a:buClr>
        <a:schemeClr val="accent1"/>
      </a:buClr>
      <a:buFont typeface="Kaufland Office" panose="020B0503040000020003" pitchFamily="34" charset="0"/>
      <a:buChar char="−"/>
      <a:defRPr sz="1000" kern="1200">
        <a:solidFill>
          <a:schemeClr val="tx1"/>
        </a:solidFill>
        <a:latin typeface="+mn-lt"/>
        <a:ea typeface="+mn-ea"/>
        <a:cs typeface="+mn-cs"/>
      </a:defRPr>
    </a:lvl2pPr>
    <a:lvl3pPr marL="360000" indent="-180000" algn="l" defTabSz="914400" rtl="0" eaLnBrk="1" latinLnBrk="0" hangingPunct="1">
      <a:lnSpc>
        <a:spcPct val="110000"/>
      </a:lnSpc>
      <a:spcBef>
        <a:spcPts val="200"/>
      </a:spcBef>
      <a:spcAft>
        <a:spcPts val="200"/>
      </a:spcAft>
      <a:buClr>
        <a:schemeClr val="accent1"/>
      </a:buClr>
      <a:buFont typeface="Arial" panose="020B0604020202020204" pitchFamily="34" charset="0"/>
      <a:buChar char="−"/>
      <a:defRPr sz="1000" kern="1200">
        <a:solidFill>
          <a:schemeClr val="tx1"/>
        </a:solidFill>
        <a:latin typeface="+mn-lt"/>
        <a:ea typeface="+mn-ea"/>
        <a:cs typeface="+mn-cs"/>
      </a:defRPr>
    </a:lvl3pPr>
    <a:lvl4pPr marL="180000" indent="-180000" algn="l" defTabSz="914400" rtl="0" eaLnBrk="1" latinLnBrk="0" hangingPunct="1">
      <a:lnSpc>
        <a:spcPct val="110000"/>
      </a:lnSpc>
      <a:spcBef>
        <a:spcPts val="200"/>
      </a:spcBef>
      <a:spcAft>
        <a:spcPts val="200"/>
      </a:spcAft>
      <a:buClr>
        <a:schemeClr val="accent1"/>
      </a:buClr>
      <a:buSzPct val="90000"/>
      <a:buFont typeface="+mj-lt"/>
      <a:buAutoNum type="arabicPeriod"/>
      <a:defRPr sz="1000" kern="1200">
        <a:solidFill>
          <a:schemeClr val="tx1"/>
        </a:solidFill>
        <a:latin typeface="+mn-lt"/>
        <a:ea typeface="+mn-ea"/>
        <a:cs typeface="+mn-cs"/>
      </a:defRPr>
    </a:lvl4pPr>
    <a:lvl5pPr marL="360000" indent="-180000" algn="l" defTabSz="914400" rtl="0" eaLnBrk="1" latinLnBrk="0" hangingPunct="1">
      <a:lnSpc>
        <a:spcPct val="110000"/>
      </a:lnSpc>
      <a:spcBef>
        <a:spcPts val="200"/>
      </a:spcBef>
      <a:spcAft>
        <a:spcPts val="200"/>
      </a:spcAft>
      <a:buClr>
        <a:schemeClr val="accent1"/>
      </a:buClr>
      <a:buSzPct val="90000"/>
      <a:buFont typeface="+mj-lt"/>
      <a:buAutoNum type="alphaLcPeriod"/>
      <a:defRPr sz="1000" kern="1200">
        <a:solidFill>
          <a:schemeClr val="tx1"/>
        </a:solidFill>
        <a:latin typeface="+mn-lt"/>
        <a:ea typeface="+mn-ea"/>
        <a:cs typeface="+mn-cs"/>
      </a:defRPr>
    </a:lvl5pPr>
    <a:lvl6pPr marL="0" indent="0" algn="l" defTabSz="914400" rtl="0" eaLnBrk="1" latinLnBrk="0" hangingPunct="1">
      <a:lnSpc>
        <a:spcPct val="110000"/>
      </a:lnSpc>
      <a:spcBef>
        <a:spcPts val="200"/>
      </a:spcBef>
      <a:spcAft>
        <a:spcPts val="200"/>
      </a:spcAft>
      <a:defRPr sz="1200" b="1" kern="1200" cap="all" baseline="0">
        <a:solidFill>
          <a:schemeClr val="accent4"/>
        </a:solidFill>
        <a:latin typeface="+mn-lt"/>
        <a:ea typeface="+mn-ea"/>
        <a:cs typeface="+mn-cs"/>
      </a:defRPr>
    </a:lvl6pPr>
    <a:lvl7pPr marL="0" indent="0" algn="l" defTabSz="914400" rtl="0" eaLnBrk="1" latinLnBrk="0" hangingPunct="1">
      <a:lnSpc>
        <a:spcPct val="110000"/>
      </a:lnSpc>
      <a:spcBef>
        <a:spcPts val="200"/>
      </a:spcBef>
      <a:spcAft>
        <a:spcPts val="200"/>
      </a:spcAft>
      <a:defRPr sz="1200" b="1" kern="1200" cap="all" baseline="0">
        <a:solidFill>
          <a:schemeClr val="accent1"/>
        </a:solidFill>
        <a:latin typeface="+mn-lt"/>
        <a:ea typeface="+mn-ea"/>
        <a:cs typeface="+mn-cs"/>
      </a:defRPr>
    </a:lvl7pPr>
    <a:lvl8pPr marL="0" indent="0" algn="l" defTabSz="914400" rtl="0" eaLnBrk="1" latinLnBrk="0" hangingPunct="1">
      <a:lnSpc>
        <a:spcPct val="110000"/>
      </a:lnSpc>
      <a:spcBef>
        <a:spcPts val="200"/>
      </a:spcBef>
      <a:spcAft>
        <a:spcPts val="200"/>
      </a:spcAft>
      <a:defRPr sz="1200" b="1" kern="1200" cap="all" baseline="0">
        <a:solidFill>
          <a:schemeClr val="bg2"/>
        </a:solidFill>
        <a:latin typeface="+mn-lt"/>
        <a:ea typeface="+mn-ea"/>
        <a:cs typeface="+mn-cs"/>
      </a:defRPr>
    </a:lvl8pPr>
    <a:lvl9pPr marL="0" indent="0" algn="l" defTabSz="914400" rtl="0" eaLnBrk="1" latinLnBrk="0" hangingPunct="1">
      <a:lnSpc>
        <a:spcPct val="110000"/>
      </a:lnSpc>
      <a:spcBef>
        <a:spcPts val="200"/>
      </a:spcBef>
      <a:spcAft>
        <a:spcPts val="200"/>
      </a:spcAft>
      <a:defRPr sz="8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sz="half" idx="10"/>
          </p:nvPr>
        </p:nvSpPr>
        <p:spPr/>
        <p:txBody>
          <a:bodyPr/>
          <a:lstStyle/>
          <a:p>
            <a:fld id="{9303B001-9C1D-488F-AFED-B9C82E1FE82F}" type="datetime1">
              <a:rPr lang="cs-CZ" smtClean="0"/>
              <a:t>25.09.2020</a:t>
            </a:fld>
            <a:endParaRPr lang="cs-CZ" dirty="0"/>
          </a:p>
        </p:txBody>
      </p:sp>
      <p:sp>
        <p:nvSpPr>
          <p:cNvPr id="5" name="Fußzeilenplatzhalter 4"/>
          <p:cNvSpPr>
            <a:spLocks noGrp="1"/>
          </p:cNvSpPr>
          <p:nvPr>
            <p:ph type="ftr" sz="quarter" idx="11"/>
          </p:nvPr>
        </p:nvSpPr>
        <p:spPr/>
        <p:txBody>
          <a:bodyPr/>
          <a:lstStyle/>
          <a:p>
            <a:endParaRPr lang="cs-CZ" dirty="0"/>
          </a:p>
        </p:txBody>
      </p:sp>
      <p:sp>
        <p:nvSpPr>
          <p:cNvPr id="6" name="Foliennummernplatzhalter 5"/>
          <p:cNvSpPr>
            <a:spLocks noGrp="1"/>
          </p:cNvSpPr>
          <p:nvPr>
            <p:ph type="sldNum" sz="quarter" idx="12"/>
          </p:nvPr>
        </p:nvSpPr>
        <p:spPr/>
        <p:txBody>
          <a:bodyPr/>
          <a:lstStyle/>
          <a:p>
            <a:r>
              <a:rPr lang="cs-CZ">
                <a:sym typeface="Wingdings"/>
              </a:rPr>
              <a:t>  </a:t>
            </a:r>
            <a:fld id="{443B15C8-972D-49F6-9B7C-5A2154A8C95F}" type="slidenum">
              <a:rPr lang="cs-CZ" smtClean="0"/>
              <a:pPr/>
              <a:t>6</a:t>
            </a:fld>
            <a:endParaRPr lang="cs-CZ" dirty="0"/>
          </a:p>
        </p:txBody>
      </p:sp>
    </p:spTree>
    <p:extLst>
      <p:ext uri="{BB962C8B-B14F-4D97-AF65-F5344CB8AC3E}">
        <p14:creationId xmlns:p14="http://schemas.microsoft.com/office/powerpoint/2010/main" val="6830849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10000"/>
              </a:lnSpc>
              <a:spcBef>
                <a:spcPts val="300"/>
              </a:spcBef>
              <a:spcAft>
                <a:spcPts val="300"/>
              </a:spcAft>
              <a:buClr>
                <a:schemeClr val="accent1"/>
              </a:buClr>
              <a:buSzTx/>
              <a:buFontTx/>
              <a:buNone/>
              <a:tabLst/>
              <a:defRPr/>
            </a:pPr>
            <a:r>
              <a:rPr lang="en-US" sz="1000" b="1" dirty="0" err="1">
                <a:solidFill>
                  <a:schemeClr val="accent4"/>
                </a:solidFill>
              </a:rPr>
              <a:t>Kaufland</a:t>
            </a:r>
            <a:r>
              <a:rPr lang="en-US" sz="1000" b="1" dirty="0">
                <a:solidFill>
                  <a:schemeClr val="accent4"/>
                </a:solidFill>
              </a:rPr>
              <a:t> </a:t>
            </a:r>
            <a:r>
              <a:rPr lang="en-US" sz="1000" dirty="0"/>
              <a:t>offers its customers a</a:t>
            </a:r>
            <a:r>
              <a:rPr lang="en-US" sz="1000" baseline="0" dirty="0"/>
              <a:t> wide</a:t>
            </a:r>
            <a:r>
              <a:rPr lang="en-US" sz="1000" dirty="0"/>
              <a:t> range of food products, with the focus on the fresh produce departments fruit and vegetables, dairy products as well as meat, sausage, cheese and fish - also in service. </a:t>
            </a:r>
            <a:endParaRPr lang="de-DE" sz="1000" dirty="0"/>
          </a:p>
          <a:p>
            <a:pPr>
              <a:spcBef>
                <a:spcPts val="300"/>
              </a:spcBef>
              <a:spcAft>
                <a:spcPts val="300"/>
              </a:spcAft>
              <a:buClr>
                <a:schemeClr val="accent1"/>
              </a:buClr>
            </a:pPr>
            <a:endParaRPr lang="de-DE" dirty="0"/>
          </a:p>
        </p:txBody>
      </p:sp>
      <p:sp>
        <p:nvSpPr>
          <p:cNvPr id="4" name="Datumsplatzhalter 3"/>
          <p:cNvSpPr>
            <a:spLocks noGrp="1"/>
          </p:cNvSpPr>
          <p:nvPr>
            <p:ph type="dt" sz="half" idx="10"/>
          </p:nvPr>
        </p:nvSpPr>
        <p:spPr/>
        <p:txBody>
          <a:bodyPr/>
          <a:lstStyle/>
          <a:p>
            <a:fld id="{EB76C0D3-0DB0-4C5D-B718-54B6FCE61E3C}" type="datetime1">
              <a:rPr lang="cs-CZ" smtClean="0"/>
              <a:t>25.09.2020</a:t>
            </a:fld>
            <a:endParaRPr lang="cs-CZ" dirty="0"/>
          </a:p>
        </p:txBody>
      </p:sp>
      <p:sp>
        <p:nvSpPr>
          <p:cNvPr id="5" name="Fußzeilenplatzhalter 4"/>
          <p:cNvSpPr>
            <a:spLocks noGrp="1"/>
          </p:cNvSpPr>
          <p:nvPr>
            <p:ph type="ftr" sz="quarter" idx="11"/>
          </p:nvPr>
        </p:nvSpPr>
        <p:spPr/>
        <p:txBody>
          <a:bodyPr/>
          <a:lstStyle/>
          <a:p>
            <a:endParaRPr lang="cs-CZ" dirty="0"/>
          </a:p>
        </p:txBody>
      </p:sp>
      <p:sp>
        <p:nvSpPr>
          <p:cNvPr id="6" name="Foliennummernplatzhalter 5"/>
          <p:cNvSpPr>
            <a:spLocks noGrp="1"/>
          </p:cNvSpPr>
          <p:nvPr>
            <p:ph type="sldNum" sz="quarter" idx="12"/>
          </p:nvPr>
        </p:nvSpPr>
        <p:spPr/>
        <p:txBody>
          <a:bodyPr/>
          <a:lstStyle/>
          <a:p>
            <a:r>
              <a:rPr lang="cs-CZ">
                <a:sym typeface="Wingdings"/>
              </a:rPr>
              <a:t>  </a:t>
            </a:r>
            <a:fld id="{443B15C8-972D-49F6-9B7C-5A2154A8C95F}" type="slidenum">
              <a:rPr lang="cs-CZ" smtClean="0"/>
              <a:pPr/>
              <a:t>7</a:t>
            </a:fld>
            <a:endParaRPr lang="cs-CZ" dirty="0"/>
          </a:p>
        </p:txBody>
      </p:sp>
      <p:sp>
        <p:nvSpPr>
          <p:cNvPr id="7" name="Rechteck 6"/>
          <p:cNvSpPr/>
          <p:nvPr/>
        </p:nvSpPr>
        <p:spPr>
          <a:xfrm>
            <a:off x="1548752" y="3675273"/>
            <a:ext cx="1181816" cy="347996"/>
          </a:xfrm>
          <a:prstGeom prst="rect">
            <a:avLst/>
          </a:prstGeom>
        </p:spPr>
        <p:txBody>
          <a:bodyPr wrap="none" lIns="91425" tIns="45712" rIns="91425" bIns="45712">
            <a:spAutoFit/>
          </a:bodyPr>
          <a:lstStyle/>
          <a:p>
            <a:r>
              <a:rPr lang="de-DE" sz="1600" b="1" dirty="0">
                <a:solidFill>
                  <a:schemeClr val="bg2"/>
                </a:solidFill>
              </a:rPr>
              <a:t>Christiana</a:t>
            </a:r>
            <a:endParaRPr lang="de-DE" sz="1600" dirty="0"/>
          </a:p>
        </p:txBody>
      </p:sp>
    </p:spTree>
    <p:extLst>
      <p:ext uri="{BB962C8B-B14F-4D97-AF65-F5344CB8AC3E}">
        <p14:creationId xmlns:p14="http://schemas.microsoft.com/office/powerpoint/2010/main" val="15382451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76238" y="944563"/>
            <a:ext cx="4484687" cy="2524125"/>
          </a:xfrm>
        </p:spPr>
      </p:sp>
      <p:sp>
        <p:nvSpPr>
          <p:cNvPr id="3" name="Notizenplatzhalter 2"/>
          <p:cNvSpPr>
            <a:spLocks noGrp="1"/>
          </p:cNvSpPr>
          <p:nvPr>
            <p:ph type="body" idx="1"/>
          </p:nvPr>
        </p:nvSpPr>
        <p:spPr/>
        <p:txBody>
          <a:bodyPr/>
          <a:lstStyle/>
          <a:p>
            <a:pPr fontAlgn="t"/>
            <a:r>
              <a:rPr lang="de-DE" dirty="0"/>
              <a:t>1968 Germany</a:t>
            </a:r>
          </a:p>
          <a:p>
            <a:pPr fontAlgn="t"/>
            <a:r>
              <a:rPr lang="de-DE" dirty="0"/>
              <a:t>1998 Czech </a:t>
            </a:r>
            <a:r>
              <a:rPr lang="de-DE" dirty="0" err="1"/>
              <a:t>Republic</a:t>
            </a:r>
            <a:endParaRPr lang="de-DE" dirty="0"/>
          </a:p>
          <a:p>
            <a:pPr fontAlgn="t"/>
            <a:r>
              <a:rPr lang="de-DE" dirty="0"/>
              <a:t>2000 </a:t>
            </a:r>
            <a:r>
              <a:rPr lang="de-DE" dirty="0" err="1"/>
              <a:t>Slovakia</a:t>
            </a:r>
            <a:endParaRPr lang="de-DE" dirty="0"/>
          </a:p>
          <a:p>
            <a:pPr fontAlgn="t"/>
            <a:r>
              <a:rPr lang="de-DE" dirty="0"/>
              <a:t>2001 </a:t>
            </a:r>
            <a:r>
              <a:rPr lang="de-DE" dirty="0" err="1"/>
              <a:t>Croatia</a:t>
            </a:r>
            <a:endParaRPr lang="de-DE" dirty="0"/>
          </a:p>
          <a:p>
            <a:pPr fontAlgn="t"/>
            <a:r>
              <a:rPr lang="de-DE" dirty="0"/>
              <a:t>2001 </a:t>
            </a:r>
            <a:r>
              <a:rPr lang="de-DE" dirty="0" err="1"/>
              <a:t>Poland</a:t>
            </a:r>
            <a:endParaRPr lang="de-DE" dirty="0"/>
          </a:p>
          <a:p>
            <a:pPr fontAlgn="t"/>
            <a:r>
              <a:rPr lang="de-DE" dirty="0"/>
              <a:t>2005 Romania</a:t>
            </a:r>
          </a:p>
          <a:p>
            <a:pPr fontAlgn="t"/>
            <a:r>
              <a:rPr lang="de-DE" dirty="0"/>
              <a:t>2006 </a:t>
            </a:r>
            <a:r>
              <a:rPr lang="de-DE" dirty="0" err="1"/>
              <a:t>Bulgaria</a:t>
            </a:r>
            <a:endParaRPr lang="de-DE" dirty="0"/>
          </a:p>
          <a:p>
            <a:pPr fontAlgn="t"/>
            <a:r>
              <a:rPr lang="de-DE" dirty="0"/>
              <a:t>2019 </a:t>
            </a:r>
            <a:r>
              <a:rPr lang="de-DE" dirty="0" err="1"/>
              <a:t>Republic</a:t>
            </a:r>
            <a:r>
              <a:rPr lang="de-DE" dirty="0"/>
              <a:t> </a:t>
            </a:r>
            <a:r>
              <a:rPr lang="de-DE" dirty="0" err="1"/>
              <a:t>of</a:t>
            </a:r>
            <a:r>
              <a:rPr lang="de-DE" dirty="0"/>
              <a:t> </a:t>
            </a:r>
            <a:r>
              <a:rPr lang="de-DE" dirty="0" err="1"/>
              <a:t>Moldova</a:t>
            </a:r>
            <a:endParaRPr lang="de-DE" dirty="0"/>
          </a:p>
          <a:p>
            <a:pPr fontAlgn="t"/>
            <a:endParaRPr lang="de-DE" dirty="0"/>
          </a:p>
        </p:txBody>
      </p:sp>
      <p:sp>
        <p:nvSpPr>
          <p:cNvPr id="4" name="Datumsplatzhalter 3"/>
          <p:cNvSpPr>
            <a:spLocks noGrp="1"/>
          </p:cNvSpPr>
          <p:nvPr>
            <p:ph type="dt" sz="half" idx="10"/>
          </p:nvPr>
        </p:nvSpPr>
        <p:spPr/>
        <p:txBody>
          <a:bodyPr/>
          <a:lstStyle/>
          <a:p>
            <a:fld id="{9FDFA1B8-8140-4AF3-B384-DE9F67EA186A}" type="datetime1">
              <a:rPr lang="cs-CZ" smtClean="0"/>
              <a:t>25.09.2020</a:t>
            </a:fld>
            <a:endParaRPr lang="cs-CZ" dirty="0"/>
          </a:p>
        </p:txBody>
      </p:sp>
      <p:sp>
        <p:nvSpPr>
          <p:cNvPr id="5" name="Fußzeilenplatzhalter 4"/>
          <p:cNvSpPr>
            <a:spLocks noGrp="1"/>
          </p:cNvSpPr>
          <p:nvPr>
            <p:ph type="ftr" sz="quarter" idx="11"/>
          </p:nvPr>
        </p:nvSpPr>
        <p:spPr/>
        <p:txBody>
          <a:bodyPr/>
          <a:lstStyle/>
          <a:p>
            <a:endParaRPr lang="cs-CZ" dirty="0"/>
          </a:p>
        </p:txBody>
      </p:sp>
      <p:sp>
        <p:nvSpPr>
          <p:cNvPr id="6" name="Foliennummernplatzhalter 5"/>
          <p:cNvSpPr>
            <a:spLocks noGrp="1"/>
          </p:cNvSpPr>
          <p:nvPr>
            <p:ph type="sldNum" sz="quarter" idx="12"/>
          </p:nvPr>
        </p:nvSpPr>
        <p:spPr/>
        <p:txBody>
          <a:bodyPr/>
          <a:lstStyle/>
          <a:p>
            <a:r>
              <a:rPr lang="cs-CZ">
                <a:sym typeface="Wingdings"/>
              </a:rPr>
              <a:t>  </a:t>
            </a:r>
            <a:fld id="{443B15C8-972D-49F6-9B7C-5A2154A8C95F}" type="slidenum">
              <a:rPr lang="cs-CZ" smtClean="0"/>
              <a:pPr/>
              <a:t>8</a:t>
            </a:fld>
            <a:endParaRPr lang="cs-CZ" dirty="0"/>
          </a:p>
        </p:txBody>
      </p:sp>
      <p:sp>
        <p:nvSpPr>
          <p:cNvPr id="7" name="Rechteck 6"/>
          <p:cNvSpPr/>
          <p:nvPr/>
        </p:nvSpPr>
        <p:spPr>
          <a:xfrm>
            <a:off x="1548752" y="3675273"/>
            <a:ext cx="1181816" cy="347996"/>
          </a:xfrm>
          <a:prstGeom prst="rect">
            <a:avLst/>
          </a:prstGeom>
        </p:spPr>
        <p:txBody>
          <a:bodyPr wrap="none" lIns="91425" tIns="45712" rIns="91425" bIns="45712">
            <a:spAutoFit/>
          </a:bodyPr>
          <a:lstStyle/>
          <a:p>
            <a:r>
              <a:rPr lang="de-DE" sz="1600" b="1" dirty="0">
                <a:solidFill>
                  <a:schemeClr val="bg2"/>
                </a:solidFill>
              </a:rPr>
              <a:t>Christiana</a:t>
            </a:r>
          </a:p>
        </p:txBody>
      </p:sp>
    </p:spTree>
    <p:extLst>
      <p:ext uri="{BB962C8B-B14F-4D97-AF65-F5344CB8AC3E}">
        <p14:creationId xmlns:p14="http://schemas.microsoft.com/office/powerpoint/2010/main" val="28639076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76238" y="944563"/>
            <a:ext cx="4484687" cy="2524125"/>
          </a:xfrm>
        </p:spPr>
      </p:sp>
      <p:sp>
        <p:nvSpPr>
          <p:cNvPr id="3" name="Notizenplatzhalter 2"/>
          <p:cNvSpPr>
            <a:spLocks noGrp="1"/>
          </p:cNvSpPr>
          <p:nvPr>
            <p:ph type="body" idx="1"/>
          </p:nvPr>
        </p:nvSpPr>
        <p:spPr/>
        <p:txBody>
          <a:bodyPr/>
          <a:lstStyle/>
          <a:p>
            <a:pPr fontAlgn="t"/>
            <a:endParaRPr lang="de-DE" dirty="0"/>
          </a:p>
        </p:txBody>
      </p:sp>
      <p:sp>
        <p:nvSpPr>
          <p:cNvPr id="4" name="Datumsplatzhalter 3"/>
          <p:cNvSpPr>
            <a:spLocks noGrp="1"/>
          </p:cNvSpPr>
          <p:nvPr>
            <p:ph type="dt" sz="half" idx="10"/>
          </p:nvPr>
        </p:nvSpPr>
        <p:spPr/>
        <p:txBody>
          <a:bodyPr/>
          <a:lstStyle/>
          <a:p>
            <a:fld id="{9FDFA1B8-8140-4AF3-B384-DE9F67EA186A}" type="datetime1">
              <a:rPr lang="cs-CZ" smtClean="0"/>
              <a:t>25.09.2020</a:t>
            </a:fld>
            <a:endParaRPr lang="cs-CZ" dirty="0"/>
          </a:p>
        </p:txBody>
      </p:sp>
      <p:sp>
        <p:nvSpPr>
          <p:cNvPr id="5" name="Fußzeilenplatzhalter 4"/>
          <p:cNvSpPr>
            <a:spLocks noGrp="1"/>
          </p:cNvSpPr>
          <p:nvPr>
            <p:ph type="ftr" sz="quarter" idx="11"/>
          </p:nvPr>
        </p:nvSpPr>
        <p:spPr/>
        <p:txBody>
          <a:bodyPr/>
          <a:lstStyle/>
          <a:p>
            <a:endParaRPr lang="cs-CZ" dirty="0"/>
          </a:p>
        </p:txBody>
      </p:sp>
      <p:sp>
        <p:nvSpPr>
          <p:cNvPr id="6" name="Foliennummernplatzhalter 5"/>
          <p:cNvSpPr>
            <a:spLocks noGrp="1"/>
          </p:cNvSpPr>
          <p:nvPr>
            <p:ph type="sldNum" sz="quarter" idx="12"/>
          </p:nvPr>
        </p:nvSpPr>
        <p:spPr/>
        <p:txBody>
          <a:bodyPr/>
          <a:lstStyle/>
          <a:p>
            <a:r>
              <a:rPr lang="cs-CZ">
                <a:sym typeface="Wingdings"/>
              </a:rPr>
              <a:t>  </a:t>
            </a:r>
            <a:fld id="{443B15C8-972D-49F6-9B7C-5A2154A8C95F}" type="slidenum">
              <a:rPr lang="cs-CZ" smtClean="0"/>
              <a:pPr/>
              <a:t>9</a:t>
            </a:fld>
            <a:endParaRPr lang="cs-CZ" dirty="0"/>
          </a:p>
        </p:txBody>
      </p:sp>
      <p:sp>
        <p:nvSpPr>
          <p:cNvPr id="7" name="Rechteck 6"/>
          <p:cNvSpPr/>
          <p:nvPr/>
        </p:nvSpPr>
        <p:spPr>
          <a:xfrm>
            <a:off x="1548752" y="3675273"/>
            <a:ext cx="1181816" cy="347996"/>
          </a:xfrm>
          <a:prstGeom prst="rect">
            <a:avLst/>
          </a:prstGeom>
        </p:spPr>
        <p:txBody>
          <a:bodyPr wrap="none" lIns="91425" tIns="45712" rIns="91425" bIns="45712">
            <a:spAutoFit/>
          </a:bodyPr>
          <a:lstStyle/>
          <a:p>
            <a:r>
              <a:rPr lang="de-DE" sz="1600" b="1" dirty="0">
                <a:solidFill>
                  <a:schemeClr val="bg2"/>
                </a:solidFill>
              </a:rPr>
              <a:t>Christiana</a:t>
            </a:r>
          </a:p>
        </p:txBody>
      </p:sp>
    </p:spTree>
    <p:extLst>
      <p:ext uri="{BB962C8B-B14F-4D97-AF65-F5344CB8AC3E}">
        <p14:creationId xmlns:p14="http://schemas.microsoft.com/office/powerpoint/2010/main" val="31054922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76238" y="944563"/>
            <a:ext cx="4484687" cy="2524125"/>
          </a:xfrm>
        </p:spPr>
      </p:sp>
      <p:sp>
        <p:nvSpPr>
          <p:cNvPr id="3" name="Notizenplatzhalter 2"/>
          <p:cNvSpPr>
            <a:spLocks noGrp="1"/>
          </p:cNvSpPr>
          <p:nvPr>
            <p:ph type="body" idx="1"/>
          </p:nvPr>
        </p:nvSpPr>
        <p:spPr/>
        <p:txBody>
          <a:bodyPr/>
          <a:lstStyle/>
          <a:p>
            <a:pPr marL="0" marR="0" lvl="0" indent="0" algn="l" defTabSz="914400" rtl="0" eaLnBrk="1" fontAlgn="t" latinLnBrk="0" hangingPunct="1">
              <a:lnSpc>
                <a:spcPct val="110000"/>
              </a:lnSpc>
              <a:spcBef>
                <a:spcPts val="200"/>
              </a:spcBef>
              <a:spcAft>
                <a:spcPts val="200"/>
              </a:spcAft>
              <a:buClrTx/>
              <a:buSzTx/>
              <a:buFontTx/>
              <a:buNone/>
              <a:tabLst/>
              <a:defRPr/>
            </a:pPr>
            <a:r>
              <a:rPr kumimoji="0" lang="de-DE" altLang="de-DE" sz="1000" b="0" i="0" u="none" strike="noStrike" cap="none" normalizeH="0" baseline="0" dirty="0">
                <a:ln>
                  <a:noFill/>
                </a:ln>
                <a:solidFill>
                  <a:srgbClr val="222222"/>
                </a:solidFill>
                <a:effectLst/>
                <a:cs typeface="Arial" panose="020B0604020202020204" pitchFamily="34" charset="0"/>
              </a:rPr>
              <a:t>Create </a:t>
            </a:r>
            <a:r>
              <a:rPr kumimoji="0" lang="de-DE" altLang="de-DE" sz="1000" b="0" i="0" u="none" strike="noStrike" cap="none" normalizeH="0" baseline="0" dirty="0" err="1">
                <a:ln>
                  <a:noFill/>
                </a:ln>
                <a:solidFill>
                  <a:srgbClr val="222222"/>
                </a:solidFill>
                <a:effectLst/>
                <a:cs typeface="Arial" panose="020B0604020202020204" pitchFamily="34" charset="0"/>
              </a:rPr>
              <a:t>framework</a:t>
            </a:r>
            <a:r>
              <a:rPr kumimoji="0" lang="de-DE" altLang="de-DE" sz="1000" b="0" i="0" u="none" strike="noStrike" cap="none" normalizeH="0" baseline="0" dirty="0">
                <a:ln>
                  <a:noFill/>
                </a:ln>
                <a:solidFill>
                  <a:srgbClr val="222222"/>
                </a:solidFill>
                <a:effectLst/>
                <a:cs typeface="Arial" panose="020B0604020202020204" pitchFamily="34" charset="0"/>
              </a:rPr>
              <a:t> </a:t>
            </a:r>
            <a:r>
              <a:rPr kumimoji="0" lang="de-DE" altLang="de-DE" sz="1000" b="0" i="0" u="none" strike="noStrike" cap="none" normalizeH="0" baseline="0" dirty="0" err="1">
                <a:ln>
                  <a:noFill/>
                </a:ln>
                <a:solidFill>
                  <a:srgbClr val="222222"/>
                </a:solidFill>
                <a:effectLst/>
                <a:cs typeface="Arial" panose="020B0604020202020204" pitchFamily="34" charset="0"/>
              </a:rPr>
              <a:t>conditions</a:t>
            </a:r>
            <a:r>
              <a:rPr kumimoji="0" lang="de-DE" altLang="de-DE" sz="1000" b="0" i="0" u="none" strike="noStrike" cap="none" normalizeH="0" baseline="0" dirty="0">
                <a:ln>
                  <a:noFill/>
                </a:ln>
                <a:solidFill>
                  <a:srgbClr val="222222"/>
                </a:solidFill>
                <a:effectLst/>
                <a:cs typeface="Arial" panose="020B0604020202020204" pitchFamily="34" charset="0"/>
              </a:rPr>
              <a:t> </a:t>
            </a:r>
            <a:r>
              <a:rPr kumimoji="0" lang="de-DE" altLang="de-DE" sz="1000" b="0" i="0" u="none" strike="noStrike" cap="none" normalizeH="0" baseline="0" dirty="0" err="1">
                <a:ln>
                  <a:noFill/>
                </a:ln>
                <a:solidFill>
                  <a:srgbClr val="222222"/>
                </a:solidFill>
                <a:effectLst/>
                <a:cs typeface="Arial" panose="020B0604020202020204" pitchFamily="34" charset="0"/>
              </a:rPr>
              <a:t>with</a:t>
            </a:r>
            <a:r>
              <a:rPr kumimoji="0" lang="de-DE" altLang="de-DE" sz="1000" b="0" i="0" u="none" strike="noStrike" cap="none" normalizeH="0" baseline="0" dirty="0">
                <a:ln>
                  <a:noFill/>
                </a:ln>
                <a:solidFill>
                  <a:srgbClr val="222222"/>
                </a:solidFill>
                <a:effectLst/>
                <a:cs typeface="Arial" panose="020B0604020202020204" pitchFamily="34" charset="0"/>
              </a:rPr>
              <a:t> </a:t>
            </a:r>
            <a:r>
              <a:rPr kumimoji="0" lang="de-DE" altLang="de-DE" sz="1000" b="0" i="0" u="none" strike="noStrike" cap="none" normalizeH="0" baseline="0" dirty="0" err="1">
                <a:ln>
                  <a:noFill/>
                </a:ln>
                <a:solidFill>
                  <a:srgbClr val="222222"/>
                </a:solidFill>
                <a:effectLst/>
                <a:cs typeface="Arial" panose="020B0604020202020204" pitchFamily="34" charset="0"/>
              </a:rPr>
              <a:t>everyone</a:t>
            </a:r>
            <a:r>
              <a:rPr kumimoji="0" lang="de-DE" altLang="de-DE" sz="1000" b="0" i="0" u="none" strike="noStrike" cap="none" normalizeH="0" baseline="0" dirty="0">
                <a:ln>
                  <a:noFill/>
                </a:ln>
                <a:solidFill>
                  <a:srgbClr val="222222"/>
                </a:solidFill>
                <a:effectLst/>
                <a:cs typeface="Arial" panose="020B0604020202020204" pitchFamily="34" charset="0"/>
              </a:rPr>
              <a:t> </a:t>
            </a:r>
            <a:r>
              <a:rPr kumimoji="0" lang="de-DE" altLang="de-DE" sz="1000" b="0" i="0" u="none" strike="noStrike" cap="none" normalizeH="0" baseline="0" dirty="0" err="1">
                <a:ln>
                  <a:noFill/>
                </a:ln>
                <a:solidFill>
                  <a:srgbClr val="222222"/>
                </a:solidFill>
                <a:effectLst/>
                <a:cs typeface="Arial" panose="020B0604020202020204" pitchFamily="34" charset="0"/>
              </a:rPr>
              <a:t>involved</a:t>
            </a:r>
            <a:r>
              <a:rPr kumimoji="0" lang="de-DE" altLang="de-DE" sz="1000" b="0" i="0" u="none" strike="noStrike" cap="none" normalizeH="0" baseline="0" dirty="0">
                <a:ln>
                  <a:noFill/>
                </a:ln>
                <a:solidFill>
                  <a:srgbClr val="222222"/>
                </a:solidFill>
                <a:effectLst/>
                <a:cs typeface="Arial" panose="020B0604020202020204" pitchFamily="34" charset="0"/>
              </a:rPr>
              <a:t> in </a:t>
            </a:r>
            <a:r>
              <a:rPr kumimoji="0" lang="de-DE" altLang="de-DE" sz="1000" b="0" i="0" u="none" strike="noStrike" cap="none" normalizeH="0" baseline="0" dirty="0" err="1">
                <a:ln>
                  <a:noFill/>
                </a:ln>
                <a:solidFill>
                  <a:srgbClr val="222222"/>
                </a:solidFill>
                <a:effectLst/>
                <a:cs typeface="Arial" panose="020B0604020202020204" pitchFamily="34" charset="0"/>
              </a:rPr>
              <a:t>the</a:t>
            </a:r>
            <a:r>
              <a:rPr kumimoji="0" lang="de-DE" altLang="de-DE" sz="1000" b="0" i="0" u="none" strike="noStrike" cap="none" normalizeH="0" baseline="0" dirty="0">
                <a:ln>
                  <a:noFill/>
                </a:ln>
                <a:solidFill>
                  <a:srgbClr val="222222"/>
                </a:solidFill>
                <a:effectLst/>
                <a:cs typeface="Arial" panose="020B0604020202020204" pitchFamily="34" charset="0"/>
              </a:rPr>
              <a:t> </a:t>
            </a:r>
            <a:r>
              <a:rPr kumimoji="0" lang="de-DE" altLang="de-DE" sz="1000" b="0" i="0" u="none" strike="noStrike" cap="none" normalizeH="0" baseline="0" dirty="0" err="1">
                <a:ln>
                  <a:noFill/>
                </a:ln>
                <a:solidFill>
                  <a:srgbClr val="222222"/>
                </a:solidFill>
                <a:effectLst/>
                <a:cs typeface="Arial" panose="020B0604020202020204" pitchFamily="34" charset="0"/>
              </a:rPr>
              <a:t>supply</a:t>
            </a:r>
            <a:r>
              <a:rPr kumimoji="0" lang="de-DE" altLang="de-DE" sz="1000" b="0" i="0" u="none" strike="noStrike" cap="none" normalizeH="0" baseline="0" dirty="0">
                <a:ln>
                  <a:noFill/>
                </a:ln>
                <a:solidFill>
                  <a:srgbClr val="222222"/>
                </a:solidFill>
                <a:effectLst/>
                <a:cs typeface="Arial" panose="020B0604020202020204" pitchFamily="34" charset="0"/>
              </a:rPr>
              <a:t> </a:t>
            </a:r>
            <a:r>
              <a:rPr kumimoji="0" lang="de-DE" altLang="de-DE" sz="1000" b="0" i="0" u="none" strike="noStrike" cap="none" normalizeH="0" baseline="0" dirty="0" err="1">
                <a:ln>
                  <a:noFill/>
                </a:ln>
                <a:solidFill>
                  <a:srgbClr val="222222"/>
                </a:solidFill>
                <a:effectLst/>
                <a:cs typeface="Arial" panose="020B0604020202020204" pitchFamily="34" charset="0"/>
              </a:rPr>
              <a:t>chain</a:t>
            </a:r>
            <a:r>
              <a:rPr kumimoji="0" lang="de-DE" altLang="de-DE" sz="1000" b="0" i="0" u="none" strike="noStrike" cap="none" normalizeH="0" baseline="0" dirty="0">
                <a:ln>
                  <a:noFill/>
                </a:ln>
                <a:solidFill>
                  <a:srgbClr val="222222"/>
                </a:solidFill>
                <a:effectLst/>
                <a:cs typeface="Arial" panose="020B0604020202020204" pitchFamily="34" charset="0"/>
              </a:rPr>
              <a:t>, </a:t>
            </a:r>
            <a:r>
              <a:rPr kumimoji="0" lang="de-DE" altLang="de-DE" sz="1000" b="0" i="0" u="none" strike="noStrike" cap="none" normalizeH="0" baseline="0" dirty="0" err="1">
                <a:ln>
                  <a:noFill/>
                </a:ln>
                <a:solidFill>
                  <a:srgbClr val="222222"/>
                </a:solidFill>
                <a:effectLst/>
                <a:cs typeface="Arial" panose="020B0604020202020204" pitchFamily="34" charset="0"/>
              </a:rPr>
              <a:t>including</a:t>
            </a:r>
            <a:r>
              <a:rPr kumimoji="0" lang="de-DE" altLang="de-DE" sz="1000" b="0" i="0" u="none" strike="noStrike" cap="none" normalizeH="0" baseline="0" dirty="0">
                <a:ln>
                  <a:noFill/>
                </a:ln>
                <a:solidFill>
                  <a:srgbClr val="222222"/>
                </a:solidFill>
                <a:effectLst/>
                <a:cs typeface="Arial" panose="020B0604020202020204" pitchFamily="34" charset="0"/>
              </a:rPr>
              <a:t> </a:t>
            </a:r>
            <a:r>
              <a:rPr kumimoji="0" lang="de-DE" altLang="de-DE" sz="1000" b="0" i="0" u="none" strike="noStrike" cap="none" normalizeH="0" baseline="0" dirty="0" err="1">
                <a:ln>
                  <a:noFill/>
                </a:ln>
                <a:solidFill>
                  <a:srgbClr val="222222"/>
                </a:solidFill>
                <a:effectLst/>
                <a:cs typeface="Arial" panose="020B0604020202020204" pitchFamily="34" charset="0"/>
              </a:rPr>
              <a:t>the</a:t>
            </a:r>
            <a:r>
              <a:rPr kumimoji="0" lang="de-DE" altLang="de-DE" sz="1000" b="0" i="0" u="none" strike="noStrike" cap="none" normalizeH="0" baseline="0" dirty="0">
                <a:ln>
                  <a:noFill/>
                </a:ln>
                <a:solidFill>
                  <a:srgbClr val="222222"/>
                </a:solidFill>
                <a:effectLst/>
                <a:cs typeface="Arial" panose="020B0604020202020204" pitchFamily="34" charset="0"/>
              </a:rPr>
              <a:t> </a:t>
            </a:r>
            <a:r>
              <a:rPr kumimoji="0" lang="de-DE" altLang="de-DE" sz="1000" b="0" i="0" u="none" strike="noStrike" cap="none" normalizeH="0" baseline="0" dirty="0" err="1">
                <a:ln>
                  <a:noFill/>
                </a:ln>
                <a:solidFill>
                  <a:srgbClr val="222222"/>
                </a:solidFill>
                <a:effectLst/>
                <a:cs typeface="Arial" panose="020B0604020202020204" pitchFamily="34" charset="0"/>
              </a:rPr>
              <a:t>industry</a:t>
            </a:r>
            <a:r>
              <a:rPr kumimoji="0" lang="de-DE" altLang="de-DE" sz="1000" b="0" i="0" u="none" strike="noStrike" cap="none" normalizeH="0" baseline="0" dirty="0">
                <a:ln>
                  <a:noFill/>
                </a:ln>
                <a:solidFill>
                  <a:srgbClr val="222222"/>
                </a:solidFill>
                <a:effectLst/>
                <a:cs typeface="Arial" panose="020B0604020202020204" pitchFamily="34" charset="0"/>
              </a:rPr>
              <a:t> and </a:t>
            </a:r>
            <a:r>
              <a:rPr kumimoji="0" lang="de-DE" altLang="de-DE" sz="1000" b="0" i="0" u="none" strike="noStrike" cap="none" normalizeH="0" baseline="0" dirty="0" err="1">
                <a:ln>
                  <a:noFill/>
                </a:ln>
                <a:solidFill>
                  <a:srgbClr val="222222"/>
                </a:solidFill>
                <a:effectLst/>
                <a:cs typeface="Arial" panose="020B0604020202020204" pitchFamily="34" charset="0"/>
              </a:rPr>
              <a:t>other</a:t>
            </a:r>
            <a:r>
              <a:rPr kumimoji="0" lang="de-DE" altLang="de-DE" sz="1000" b="0" i="0" u="none" strike="noStrike" cap="none" normalizeH="0" baseline="0" dirty="0">
                <a:ln>
                  <a:noFill/>
                </a:ln>
                <a:solidFill>
                  <a:srgbClr val="222222"/>
                </a:solidFill>
                <a:effectLst/>
                <a:cs typeface="Arial" panose="020B0604020202020204" pitchFamily="34" charset="0"/>
              </a:rPr>
              <a:t> </a:t>
            </a:r>
            <a:r>
              <a:rPr kumimoji="0" lang="de-DE" altLang="de-DE" sz="1000" b="0" i="0" u="none" strike="noStrike" cap="none" normalizeH="0" baseline="0" dirty="0" err="1">
                <a:ln>
                  <a:noFill/>
                </a:ln>
                <a:solidFill>
                  <a:srgbClr val="222222"/>
                </a:solidFill>
                <a:effectLst/>
                <a:cs typeface="Arial" panose="020B0604020202020204" pitchFamily="34" charset="0"/>
              </a:rPr>
              <a:t>stakeholder</a:t>
            </a:r>
            <a:r>
              <a:rPr kumimoji="0" lang="de-DE" altLang="de-DE" sz="1000" b="0" i="0" u="none" strike="noStrike" cap="none" normalizeH="0" dirty="0">
                <a:ln>
                  <a:noFill/>
                </a:ln>
                <a:solidFill>
                  <a:srgbClr val="222222"/>
                </a:solidFill>
                <a:effectLst/>
                <a:cs typeface="Arial" panose="020B0604020202020204" pitchFamily="34" charset="0"/>
              </a:rPr>
              <a:t> </a:t>
            </a:r>
            <a:endParaRPr kumimoji="0" lang="de-DE" altLang="de-DE" sz="1000" b="0" i="0" u="none" strike="noStrike" cap="none" normalizeH="0" baseline="0" dirty="0">
              <a:ln>
                <a:noFill/>
              </a:ln>
              <a:solidFill>
                <a:schemeClr val="tx1"/>
              </a:solidFill>
              <a:effectLst/>
            </a:endParaRPr>
          </a:p>
          <a:p>
            <a:pPr fontAlgn="t"/>
            <a:endParaRPr lang="de-DE" dirty="0"/>
          </a:p>
        </p:txBody>
      </p:sp>
      <p:sp>
        <p:nvSpPr>
          <p:cNvPr id="4" name="Datumsplatzhalter 3"/>
          <p:cNvSpPr>
            <a:spLocks noGrp="1"/>
          </p:cNvSpPr>
          <p:nvPr>
            <p:ph type="dt" sz="half" idx="10"/>
          </p:nvPr>
        </p:nvSpPr>
        <p:spPr/>
        <p:txBody>
          <a:bodyPr/>
          <a:lstStyle/>
          <a:p>
            <a:fld id="{9FDFA1B8-8140-4AF3-B384-DE9F67EA186A}" type="datetime1">
              <a:rPr lang="cs-CZ" smtClean="0"/>
              <a:t>25.09.2020</a:t>
            </a:fld>
            <a:endParaRPr lang="cs-CZ" dirty="0"/>
          </a:p>
        </p:txBody>
      </p:sp>
      <p:sp>
        <p:nvSpPr>
          <p:cNvPr id="5" name="Fußzeilenplatzhalter 4"/>
          <p:cNvSpPr>
            <a:spLocks noGrp="1"/>
          </p:cNvSpPr>
          <p:nvPr>
            <p:ph type="ftr" sz="quarter" idx="11"/>
          </p:nvPr>
        </p:nvSpPr>
        <p:spPr/>
        <p:txBody>
          <a:bodyPr/>
          <a:lstStyle/>
          <a:p>
            <a:endParaRPr lang="cs-CZ" dirty="0"/>
          </a:p>
        </p:txBody>
      </p:sp>
      <p:sp>
        <p:nvSpPr>
          <p:cNvPr id="6" name="Foliennummernplatzhalter 5"/>
          <p:cNvSpPr>
            <a:spLocks noGrp="1"/>
          </p:cNvSpPr>
          <p:nvPr>
            <p:ph type="sldNum" sz="quarter" idx="12"/>
          </p:nvPr>
        </p:nvSpPr>
        <p:spPr/>
        <p:txBody>
          <a:bodyPr/>
          <a:lstStyle/>
          <a:p>
            <a:r>
              <a:rPr lang="cs-CZ">
                <a:sym typeface="Wingdings"/>
              </a:rPr>
              <a:t>  </a:t>
            </a:r>
            <a:fld id="{443B15C8-972D-49F6-9B7C-5A2154A8C95F}" type="slidenum">
              <a:rPr lang="cs-CZ" smtClean="0"/>
              <a:pPr/>
              <a:t>10</a:t>
            </a:fld>
            <a:endParaRPr lang="cs-CZ" dirty="0"/>
          </a:p>
        </p:txBody>
      </p:sp>
      <p:sp>
        <p:nvSpPr>
          <p:cNvPr id="7" name="Rechteck 6"/>
          <p:cNvSpPr/>
          <p:nvPr/>
        </p:nvSpPr>
        <p:spPr>
          <a:xfrm>
            <a:off x="1548752" y="3675273"/>
            <a:ext cx="1181816" cy="347996"/>
          </a:xfrm>
          <a:prstGeom prst="rect">
            <a:avLst/>
          </a:prstGeom>
        </p:spPr>
        <p:txBody>
          <a:bodyPr wrap="none" lIns="91425" tIns="45712" rIns="91425" bIns="45712">
            <a:spAutoFit/>
          </a:bodyPr>
          <a:lstStyle/>
          <a:p>
            <a:r>
              <a:rPr lang="de-DE" sz="1600" b="1" dirty="0">
                <a:solidFill>
                  <a:schemeClr val="bg2"/>
                </a:solidFill>
              </a:rPr>
              <a:t>Christiana</a:t>
            </a:r>
          </a:p>
        </p:txBody>
      </p:sp>
    </p:spTree>
    <p:extLst>
      <p:ext uri="{BB962C8B-B14F-4D97-AF65-F5344CB8AC3E}">
        <p14:creationId xmlns:p14="http://schemas.microsoft.com/office/powerpoint/2010/main" val="23193305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76238" y="944563"/>
            <a:ext cx="4484687" cy="2524125"/>
          </a:xfrm>
        </p:spPr>
      </p:sp>
      <p:sp>
        <p:nvSpPr>
          <p:cNvPr id="3" name="Notizenplatzhalter 2"/>
          <p:cNvSpPr>
            <a:spLocks noGrp="1"/>
          </p:cNvSpPr>
          <p:nvPr>
            <p:ph type="body" idx="1"/>
          </p:nvPr>
        </p:nvSpPr>
        <p:spPr/>
        <p:txBody>
          <a:bodyPr/>
          <a:lstStyle/>
          <a:p>
            <a:pPr fontAlgn="t"/>
            <a:endParaRPr lang="de-DE" dirty="0"/>
          </a:p>
        </p:txBody>
      </p:sp>
      <p:sp>
        <p:nvSpPr>
          <p:cNvPr id="4" name="Datumsplatzhalter 3"/>
          <p:cNvSpPr>
            <a:spLocks noGrp="1"/>
          </p:cNvSpPr>
          <p:nvPr>
            <p:ph type="dt" sz="half" idx="10"/>
          </p:nvPr>
        </p:nvSpPr>
        <p:spPr/>
        <p:txBody>
          <a:bodyPr/>
          <a:lstStyle/>
          <a:p>
            <a:fld id="{9FDFA1B8-8140-4AF3-B384-DE9F67EA186A}" type="datetime1">
              <a:rPr lang="cs-CZ" smtClean="0"/>
              <a:t>25.09.2020</a:t>
            </a:fld>
            <a:endParaRPr lang="cs-CZ" dirty="0"/>
          </a:p>
        </p:txBody>
      </p:sp>
      <p:sp>
        <p:nvSpPr>
          <p:cNvPr id="5" name="Fußzeilenplatzhalter 4"/>
          <p:cNvSpPr>
            <a:spLocks noGrp="1"/>
          </p:cNvSpPr>
          <p:nvPr>
            <p:ph type="ftr" sz="quarter" idx="11"/>
          </p:nvPr>
        </p:nvSpPr>
        <p:spPr/>
        <p:txBody>
          <a:bodyPr/>
          <a:lstStyle/>
          <a:p>
            <a:endParaRPr lang="cs-CZ" dirty="0"/>
          </a:p>
        </p:txBody>
      </p:sp>
      <p:sp>
        <p:nvSpPr>
          <p:cNvPr id="6" name="Foliennummernplatzhalter 5"/>
          <p:cNvSpPr>
            <a:spLocks noGrp="1"/>
          </p:cNvSpPr>
          <p:nvPr>
            <p:ph type="sldNum" sz="quarter" idx="12"/>
          </p:nvPr>
        </p:nvSpPr>
        <p:spPr/>
        <p:txBody>
          <a:bodyPr/>
          <a:lstStyle/>
          <a:p>
            <a:r>
              <a:rPr lang="cs-CZ">
                <a:sym typeface="Wingdings"/>
              </a:rPr>
              <a:t>  </a:t>
            </a:r>
            <a:fld id="{443B15C8-972D-49F6-9B7C-5A2154A8C95F}" type="slidenum">
              <a:rPr lang="cs-CZ" smtClean="0"/>
              <a:pPr/>
              <a:t>11</a:t>
            </a:fld>
            <a:endParaRPr lang="cs-CZ" dirty="0"/>
          </a:p>
        </p:txBody>
      </p:sp>
      <p:sp>
        <p:nvSpPr>
          <p:cNvPr id="7" name="Rechteck 6"/>
          <p:cNvSpPr/>
          <p:nvPr/>
        </p:nvSpPr>
        <p:spPr>
          <a:xfrm>
            <a:off x="1548752" y="3675273"/>
            <a:ext cx="1181816" cy="347996"/>
          </a:xfrm>
          <a:prstGeom prst="rect">
            <a:avLst/>
          </a:prstGeom>
        </p:spPr>
        <p:txBody>
          <a:bodyPr wrap="none" lIns="91425" tIns="45712" rIns="91425" bIns="45712">
            <a:spAutoFit/>
          </a:bodyPr>
          <a:lstStyle/>
          <a:p>
            <a:r>
              <a:rPr lang="de-DE" sz="1600" b="1" dirty="0">
                <a:solidFill>
                  <a:schemeClr val="bg2"/>
                </a:solidFill>
              </a:rPr>
              <a:t>Christiana</a:t>
            </a:r>
          </a:p>
        </p:txBody>
      </p:sp>
    </p:spTree>
    <p:extLst>
      <p:ext uri="{BB962C8B-B14F-4D97-AF65-F5344CB8AC3E}">
        <p14:creationId xmlns:p14="http://schemas.microsoft.com/office/powerpoint/2010/main" val="5145165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76238" y="944563"/>
            <a:ext cx="4484687" cy="2524125"/>
          </a:xfrm>
        </p:spPr>
      </p:sp>
      <p:sp>
        <p:nvSpPr>
          <p:cNvPr id="3" name="Notizenplatzhalter 2"/>
          <p:cNvSpPr>
            <a:spLocks noGrp="1"/>
          </p:cNvSpPr>
          <p:nvPr>
            <p:ph type="body" idx="1"/>
          </p:nvPr>
        </p:nvSpPr>
        <p:spPr/>
        <p:txBody>
          <a:bodyPr/>
          <a:lstStyle/>
          <a:p>
            <a:pPr fontAlgn="t"/>
            <a:endParaRPr lang="de-DE" dirty="0"/>
          </a:p>
        </p:txBody>
      </p:sp>
      <p:sp>
        <p:nvSpPr>
          <p:cNvPr id="4" name="Datumsplatzhalter 3"/>
          <p:cNvSpPr>
            <a:spLocks noGrp="1"/>
          </p:cNvSpPr>
          <p:nvPr>
            <p:ph type="dt" sz="half" idx="10"/>
          </p:nvPr>
        </p:nvSpPr>
        <p:spPr/>
        <p:txBody>
          <a:bodyPr/>
          <a:lstStyle/>
          <a:p>
            <a:fld id="{9FDFA1B8-8140-4AF3-B384-DE9F67EA186A}" type="datetime1">
              <a:rPr lang="cs-CZ" smtClean="0"/>
              <a:t>25.09.2020</a:t>
            </a:fld>
            <a:endParaRPr lang="cs-CZ" dirty="0"/>
          </a:p>
        </p:txBody>
      </p:sp>
      <p:sp>
        <p:nvSpPr>
          <p:cNvPr id="5" name="Fußzeilenplatzhalter 4"/>
          <p:cNvSpPr>
            <a:spLocks noGrp="1"/>
          </p:cNvSpPr>
          <p:nvPr>
            <p:ph type="ftr" sz="quarter" idx="11"/>
          </p:nvPr>
        </p:nvSpPr>
        <p:spPr/>
        <p:txBody>
          <a:bodyPr/>
          <a:lstStyle/>
          <a:p>
            <a:endParaRPr lang="cs-CZ" dirty="0"/>
          </a:p>
        </p:txBody>
      </p:sp>
      <p:sp>
        <p:nvSpPr>
          <p:cNvPr id="6" name="Foliennummernplatzhalter 5"/>
          <p:cNvSpPr>
            <a:spLocks noGrp="1"/>
          </p:cNvSpPr>
          <p:nvPr>
            <p:ph type="sldNum" sz="quarter" idx="12"/>
          </p:nvPr>
        </p:nvSpPr>
        <p:spPr/>
        <p:txBody>
          <a:bodyPr/>
          <a:lstStyle/>
          <a:p>
            <a:r>
              <a:rPr lang="cs-CZ">
                <a:sym typeface="Wingdings"/>
              </a:rPr>
              <a:t>  </a:t>
            </a:r>
            <a:fld id="{443B15C8-972D-49F6-9B7C-5A2154A8C95F}" type="slidenum">
              <a:rPr lang="cs-CZ" smtClean="0"/>
              <a:pPr/>
              <a:t>12</a:t>
            </a:fld>
            <a:endParaRPr lang="cs-CZ" dirty="0"/>
          </a:p>
        </p:txBody>
      </p:sp>
      <p:sp>
        <p:nvSpPr>
          <p:cNvPr id="7" name="Rechteck 6"/>
          <p:cNvSpPr/>
          <p:nvPr/>
        </p:nvSpPr>
        <p:spPr>
          <a:xfrm>
            <a:off x="1548752" y="3675273"/>
            <a:ext cx="1181816" cy="347996"/>
          </a:xfrm>
          <a:prstGeom prst="rect">
            <a:avLst/>
          </a:prstGeom>
        </p:spPr>
        <p:txBody>
          <a:bodyPr wrap="none" lIns="91425" tIns="45712" rIns="91425" bIns="45712">
            <a:spAutoFit/>
          </a:bodyPr>
          <a:lstStyle/>
          <a:p>
            <a:r>
              <a:rPr lang="de-DE" sz="1600" b="1" dirty="0">
                <a:solidFill>
                  <a:schemeClr val="bg2"/>
                </a:solidFill>
              </a:rPr>
              <a:t>Christiana</a:t>
            </a:r>
          </a:p>
        </p:txBody>
      </p:sp>
    </p:spTree>
    <p:extLst>
      <p:ext uri="{BB962C8B-B14F-4D97-AF65-F5344CB8AC3E}">
        <p14:creationId xmlns:p14="http://schemas.microsoft.com/office/powerpoint/2010/main" val="6622096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76238" y="944563"/>
            <a:ext cx="4484687" cy="2524125"/>
          </a:xfrm>
        </p:spPr>
      </p:sp>
      <p:sp>
        <p:nvSpPr>
          <p:cNvPr id="3" name="Notizenplatzhalter 2"/>
          <p:cNvSpPr>
            <a:spLocks noGrp="1"/>
          </p:cNvSpPr>
          <p:nvPr>
            <p:ph type="body" idx="1"/>
          </p:nvPr>
        </p:nvSpPr>
        <p:spPr/>
        <p:txBody>
          <a:bodyPr/>
          <a:lstStyle/>
          <a:p>
            <a:pPr fontAlgn="t"/>
            <a:endParaRPr lang="de-DE" dirty="0"/>
          </a:p>
        </p:txBody>
      </p:sp>
      <p:sp>
        <p:nvSpPr>
          <p:cNvPr id="4" name="Datumsplatzhalter 3"/>
          <p:cNvSpPr>
            <a:spLocks noGrp="1"/>
          </p:cNvSpPr>
          <p:nvPr>
            <p:ph type="dt" sz="half" idx="10"/>
          </p:nvPr>
        </p:nvSpPr>
        <p:spPr/>
        <p:txBody>
          <a:bodyPr/>
          <a:lstStyle/>
          <a:p>
            <a:fld id="{9FDFA1B8-8140-4AF3-B384-DE9F67EA186A}" type="datetime1">
              <a:rPr lang="cs-CZ" smtClean="0"/>
              <a:t>25.09.2020</a:t>
            </a:fld>
            <a:endParaRPr lang="cs-CZ" dirty="0"/>
          </a:p>
        </p:txBody>
      </p:sp>
      <p:sp>
        <p:nvSpPr>
          <p:cNvPr id="5" name="Fußzeilenplatzhalter 4"/>
          <p:cNvSpPr>
            <a:spLocks noGrp="1"/>
          </p:cNvSpPr>
          <p:nvPr>
            <p:ph type="ftr" sz="quarter" idx="11"/>
          </p:nvPr>
        </p:nvSpPr>
        <p:spPr/>
        <p:txBody>
          <a:bodyPr/>
          <a:lstStyle/>
          <a:p>
            <a:endParaRPr lang="cs-CZ" dirty="0"/>
          </a:p>
        </p:txBody>
      </p:sp>
      <p:sp>
        <p:nvSpPr>
          <p:cNvPr id="6" name="Foliennummernplatzhalter 5"/>
          <p:cNvSpPr>
            <a:spLocks noGrp="1"/>
          </p:cNvSpPr>
          <p:nvPr>
            <p:ph type="sldNum" sz="quarter" idx="12"/>
          </p:nvPr>
        </p:nvSpPr>
        <p:spPr/>
        <p:txBody>
          <a:bodyPr/>
          <a:lstStyle/>
          <a:p>
            <a:r>
              <a:rPr lang="cs-CZ">
                <a:sym typeface="Wingdings"/>
              </a:rPr>
              <a:t>  </a:t>
            </a:r>
            <a:fld id="{443B15C8-972D-49F6-9B7C-5A2154A8C95F}" type="slidenum">
              <a:rPr lang="cs-CZ" smtClean="0"/>
              <a:pPr/>
              <a:t>13</a:t>
            </a:fld>
            <a:endParaRPr lang="cs-CZ" dirty="0"/>
          </a:p>
        </p:txBody>
      </p:sp>
      <p:sp>
        <p:nvSpPr>
          <p:cNvPr id="7" name="Rechteck 6"/>
          <p:cNvSpPr/>
          <p:nvPr/>
        </p:nvSpPr>
        <p:spPr>
          <a:xfrm>
            <a:off x="1548752" y="3675273"/>
            <a:ext cx="1181816" cy="347996"/>
          </a:xfrm>
          <a:prstGeom prst="rect">
            <a:avLst/>
          </a:prstGeom>
        </p:spPr>
        <p:txBody>
          <a:bodyPr wrap="none" lIns="91425" tIns="45712" rIns="91425" bIns="45712">
            <a:spAutoFit/>
          </a:bodyPr>
          <a:lstStyle/>
          <a:p>
            <a:r>
              <a:rPr lang="de-DE" sz="1600" b="1" dirty="0">
                <a:solidFill>
                  <a:schemeClr val="bg2"/>
                </a:solidFill>
              </a:rPr>
              <a:t>Christiana</a:t>
            </a:r>
          </a:p>
        </p:txBody>
      </p:sp>
    </p:spTree>
    <p:extLst>
      <p:ext uri="{BB962C8B-B14F-4D97-AF65-F5344CB8AC3E}">
        <p14:creationId xmlns:p14="http://schemas.microsoft.com/office/powerpoint/2010/main" val="42022503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3.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3.emf"/><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4.vml"/><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3.emf"/><Relationship Id="rId2" Type="http://schemas.openxmlformats.org/officeDocument/2006/relationships/tags" Target="../tags/tag23.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1.vml"/><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7.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3.emf"/><Relationship Id="rId2" Type="http://schemas.openxmlformats.org/officeDocument/2006/relationships/tags" Target="../tags/tag31.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xml"/><Relationship Id="rId1" Type="http://schemas.openxmlformats.org/officeDocument/2006/relationships/vmlDrawing" Target="../drawings/vmlDrawing28.vml"/><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5.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6.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7.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8.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3.emf"/><Relationship Id="rId2" Type="http://schemas.openxmlformats.org/officeDocument/2006/relationships/tags" Target="../tags/tag39.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1.xml"/><Relationship Id="rId1" Type="http://schemas.openxmlformats.org/officeDocument/2006/relationships/vmlDrawing" Target="../drawings/vmlDrawing35.vml"/><Relationship Id="rId5" Type="http://schemas.openxmlformats.org/officeDocument/2006/relationships/image" Target="../media/image3.emf"/><Relationship Id="rId4" Type="http://schemas.openxmlformats.org/officeDocument/2006/relationships/oleObject" Target="../embeddings/oleObject35.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1083517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572" name="think-cell Folie" r:id="rId4" imgW="245" imgH="245" progId="TCLayout.ActiveDocument.1">
                  <p:embed/>
                </p:oleObj>
              </mc:Choice>
              <mc:Fallback>
                <p:oleObj name="think-cell Folie" r:id="rId4" imgW="245" imgH="24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bwMode="gray">
          <a:xfrm>
            <a:off x="773357" y="2008981"/>
            <a:ext cx="4770193" cy="1609225"/>
          </a:xfrm>
          <a:solidFill>
            <a:schemeClr val="accent4"/>
          </a:solidFill>
        </p:spPr>
        <p:txBody>
          <a:bodyPr lIns="180000" tIns="144000" rIns="180000" bIns="144000">
            <a:noAutofit/>
          </a:bodyPr>
          <a:lstStyle>
            <a:lvl1pPr>
              <a:defRPr sz="3200">
                <a:solidFill>
                  <a:schemeClr val="bg1"/>
                </a:solidFill>
              </a:defRPr>
            </a:lvl1pPr>
          </a:lstStyle>
          <a:p>
            <a:r>
              <a:rPr lang="de-DE" noProof="0" dirty="0"/>
              <a:t>Präsentationstitel</a:t>
            </a:r>
            <a:br>
              <a:rPr lang="de-DE" noProof="0" dirty="0"/>
            </a:br>
            <a:r>
              <a:rPr lang="de-DE" noProof="0" dirty="0"/>
              <a:t>- maximal 2 Zeilen</a:t>
            </a:r>
          </a:p>
        </p:txBody>
      </p:sp>
      <p:sp>
        <p:nvSpPr>
          <p:cNvPr id="28" name="Subtitle 2"/>
          <p:cNvSpPr>
            <a:spLocks noGrp="1"/>
          </p:cNvSpPr>
          <p:nvPr>
            <p:ph type="subTitle" idx="1" hasCustomPrompt="1"/>
          </p:nvPr>
        </p:nvSpPr>
        <p:spPr bwMode="gray">
          <a:xfrm>
            <a:off x="773356" y="3075807"/>
            <a:ext cx="4770193" cy="542400"/>
          </a:xfrm>
        </p:spPr>
        <p:txBody>
          <a:bodyPr lIns="180000" tIns="108000" rIns="180000" bIns="108000" anchor="b"/>
          <a:lstStyle>
            <a:lvl1pPr marL="0" indent="0" algn="l">
              <a:lnSpc>
                <a:spcPct val="110000"/>
              </a:lnSpc>
              <a:spcBef>
                <a:spcPts val="0"/>
              </a:spcBef>
              <a:spcAft>
                <a:spcPts val="0"/>
              </a:spcAft>
              <a:buNone/>
              <a:defRPr sz="1200" cap="all" baseline="0">
                <a:solidFill>
                  <a:schemeClr val="bg1"/>
                </a:solidFill>
              </a:defRPr>
            </a:lvl1pPr>
            <a:lvl2pPr marL="0" indent="0" algn="l">
              <a:lnSpc>
                <a:spcPct val="110000"/>
              </a:lnSpc>
              <a:spcBef>
                <a:spcPts val="0"/>
              </a:spcBef>
              <a:spcAft>
                <a:spcPts val="0"/>
              </a:spcAft>
              <a:buNone/>
              <a:defRPr sz="1200" b="0" cap="all">
                <a:solidFill>
                  <a:schemeClr val="bg1"/>
                </a:solidFill>
              </a:defRPr>
            </a:lvl2pPr>
            <a:lvl3pPr marL="0" indent="0" algn="l">
              <a:lnSpc>
                <a:spcPct val="110000"/>
              </a:lnSpc>
              <a:spcBef>
                <a:spcPts val="0"/>
              </a:spcBef>
              <a:spcAft>
                <a:spcPts val="0"/>
              </a:spcAft>
              <a:buNone/>
              <a:defRPr sz="1200" b="0" cap="all">
                <a:solidFill>
                  <a:schemeClr val="bg1"/>
                </a:solidFill>
              </a:defRPr>
            </a:lvl3pPr>
            <a:lvl4pPr marL="0" indent="0" algn="l">
              <a:lnSpc>
                <a:spcPct val="110000"/>
              </a:lnSpc>
              <a:spcBef>
                <a:spcPts val="0"/>
              </a:spcBef>
              <a:spcAft>
                <a:spcPts val="0"/>
              </a:spcAft>
              <a:buNone/>
              <a:defRPr sz="1200" b="0" cap="all">
                <a:solidFill>
                  <a:schemeClr val="bg1"/>
                </a:solidFill>
              </a:defRPr>
            </a:lvl4pPr>
            <a:lvl5pPr marL="0" indent="0" algn="l">
              <a:lnSpc>
                <a:spcPct val="110000"/>
              </a:lnSpc>
              <a:spcBef>
                <a:spcPts val="0"/>
              </a:spcBef>
              <a:spcAft>
                <a:spcPts val="0"/>
              </a:spcAft>
              <a:buNone/>
              <a:defRPr sz="1200" b="0" cap="all">
                <a:solidFill>
                  <a:schemeClr val="bg1"/>
                </a:solidFill>
              </a:defRPr>
            </a:lvl5pPr>
            <a:lvl6pPr marL="0" indent="0" algn="l">
              <a:lnSpc>
                <a:spcPct val="110000"/>
              </a:lnSpc>
              <a:spcBef>
                <a:spcPts val="0"/>
              </a:spcBef>
              <a:spcAft>
                <a:spcPts val="0"/>
              </a:spcAft>
              <a:buNone/>
              <a:defRPr sz="1200" b="0" cap="all">
                <a:solidFill>
                  <a:schemeClr val="bg1"/>
                </a:solidFill>
              </a:defRPr>
            </a:lvl6pPr>
            <a:lvl7pPr marL="0" indent="0" algn="l">
              <a:lnSpc>
                <a:spcPct val="110000"/>
              </a:lnSpc>
              <a:spcBef>
                <a:spcPts val="0"/>
              </a:spcBef>
              <a:spcAft>
                <a:spcPts val="0"/>
              </a:spcAft>
              <a:buNone/>
              <a:defRPr sz="1200" b="0" cap="all">
                <a:solidFill>
                  <a:schemeClr val="bg1"/>
                </a:solidFill>
              </a:defRPr>
            </a:lvl7pPr>
            <a:lvl8pPr marL="0" indent="0" algn="l">
              <a:lnSpc>
                <a:spcPct val="110000"/>
              </a:lnSpc>
              <a:spcBef>
                <a:spcPts val="0"/>
              </a:spcBef>
              <a:spcAft>
                <a:spcPts val="0"/>
              </a:spcAft>
              <a:buNone/>
              <a:defRPr sz="1200" b="0" cap="all">
                <a:solidFill>
                  <a:schemeClr val="bg1"/>
                </a:solidFill>
              </a:defRPr>
            </a:lvl8pPr>
            <a:lvl9pPr marL="0" indent="0" algn="l">
              <a:lnSpc>
                <a:spcPct val="110000"/>
              </a:lnSpc>
              <a:spcBef>
                <a:spcPts val="0"/>
              </a:spcBef>
              <a:spcAft>
                <a:spcPts val="0"/>
              </a:spcAft>
              <a:buNone/>
              <a:defRPr sz="1200" b="0" cap="all">
                <a:solidFill>
                  <a:schemeClr val="bg1"/>
                </a:solidFill>
              </a:defRPr>
            </a:lvl9pPr>
          </a:lstStyle>
          <a:p>
            <a:pPr lvl="0"/>
            <a:r>
              <a:rPr lang="de-DE" noProof="0" dirty="0"/>
              <a:t>UNTERTITEL BEI BEDARF</a:t>
            </a:r>
            <a:br>
              <a:rPr lang="de-DE" noProof="0" dirty="0"/>
            </a:br>
            <a:r>
              <a:rPr lang="de-DE" noProof="0" dirty="0"/>
              <a:t>AUTOR, ORT, DATUM</a:t>
            </a:r>
          </a:p>
        </p:txBody>
      </p:sp>
      <p:sp>
        <p:nvSpPr>
          <p:cNvPr id="22" name="ClipArt Placeholder 88"/>
          <p:cNvSpPr>
            <a:spLocks noGrp="1"/>
          </p:cNvSpPr>
          <p:nvPr>
            <p:ph type="clipArt" sz="quarter" idx="13" hasCustomPrompt="1"/>
          </p:nvPr>
        </p:nvSpPr>
        <p:spPr bwMode="gray">
          <a:xfrm>
            <a:off x="0" y="1232694"/>
            <a:ext cx="630000" cy="630000"/>
          </a:xfrm>
          <a:solidFill>
            <a:schemeClr val="accent4"/>
          </a:solidFill>
        </p:spPr>
        <p:txBody>
          <a:bodyPr anchor="ctr"/>
          <a:lstStyle>
            <a:lvl1pPr algn="ctr">
              <a:defRPr sz="800" b="0" i="1">
                <a:solidFill>
                  <a:schemeClr val="bg1"/>
                </a:solidFill>
              </a:defRPr>
            </a:lvl1pPr>
          </a:lstStyle>
          <a:p>
            <a:r>
              <a:rPr lang="de-DE" noProof="0" dirty="0"/>
              <a:t>Füge dein</a:t>
            </a:r>
            <a:br>
              <a:rPr lang="de-DE" noProof="0" dirty="0"/>
            </a:br>
            <a:r>
              <a:rPr lang="de-DE" noProof="0" dirty="0"/>
              <a:t>Icon </a:t>
            </a:r>
            <a:br>
              <a:rPr lang="de-DE" noProof="0" dirty="0"/>
            </a:br>
            <a:r>
              <a:rPr lang="de-DE" noProof="0" dirty="0"/>
              <a:t>hier ein</a:t>
            </a:r>
          </a:p>
        </p:txBody>
      </p:sp>
      <p:sp>
        <p:nvSpPr>
          <p:cNvPr id="116" name="Picture Placeholder 3"/>
          <p:cNvSpPr>
            <a:spLocks noGrp="1"/>
          </p:cNvSpPr>
          <p:nvPr>
            <p:ph type="pic" sz="quarter" idx="18" hasCustomPrompt="1"/>
          </p:nvPr>
        </p:nvSpPr>
        <p:spPr bwMode="gray">
          <a:xfrm>
            <a:off x="0" y="0"/>
            <a:ext cx="9143999" cy="5143499"/>
          </a:xfrm>
          <a:custGeom>
            <a:avLst/>
            <a:gdLst/>
            <a:ahLst/>
            <a:cxnLst/>
            <a:rect l="l" t="t" r="r" b="b"/>
            <a:pathLst>
              <a:path w="9143999" h="5143499">
                <a:moveTo>
                  <a:pt x="7750850" y="109788"/>
                </a:moveTo>
                <a:lnTo>
                  <a:pt x="7750850" y="1394988"/>
                </a:lnTo>
                <a:lnTo>
                  <a:pt x="9036050" y="1394988"/>
                </a:lnTo>
                <a:lnTo>
                  <a:pt x="9036050" y="109788"/>
                </a:lnTo>
                <a:close/>
                <a:moveTo>
                  <a:pt x="0" y="0"/>
                </a:moveTo>
                <a:lnTo>
                  <a:pt x="9143999" y="0"/>
                </a:lnTo>
                <a:lnTo>
                  <a:pt x="9143999" y="5143499"/>
                </a:lnTo>
                <a:lnTo>
                  <a:pt x="0" y="5143499"/>
                </a:lnTo>
                <a:close/>
              </a:path>
            </a:pathLst>
          </a:custGeom>
          <a:noFill/>
        </p:spPr>
        <p:txBody>
          <a:bodyPr lIns="5040000" anchor="ctr"/>
          <a:lstStyle>
            <a:lvl1pPr marL="0" marR="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sz="1000">
                <a:solidFill>
                  <a:schemeClr val="tx1"/>
                </a:solidFill>
              </a:defRPr>
            </a:lvl1pPr>
          </a:lstStyle>
          <a:p>
            <a:r>
              <a:rPr lang="de-DE" noProof="0" dirty="0"/>
              <a:t/>
            </a:r>
            <a:br>
              <a:rPr lang="de-DE" noProof="0" dirty="0"/>
            </a:br>
            <a:r>
              <a:rPr lang="de-DE" noProof="0" dirty="0"/>
              <a:t>Klicke auf das Icon, um ein Bild einzufügen</a:t>
            </a:r>
            <a:br>
              <a:rPr lang="de-DE" noProof="0" dirty="0"/>
            </a:br>
            <a:r>
              <a:rPr lang="de-DE" noProof="0" dirty="0"/>
              <a:t/>
            </a:r>
            <a:br>
              <a:rPr lang="de-DE" noProof="0" dirty="0"/>
            </a:br>
            <a:r>
              <a:rPr lang="de-DE" noProof="0" dirty="0"/>
              <a:t>Verschiebe das Bild in den Hintergrund, um den Text zu bearbeiten </a:t>
            </a:r>
            <a:br>
              <a:rPr lang="de-DE" noProof="0" dirty="0"/>
            </a:br>
            <a:r>
              <a:rPr lang="de-DE" noProof="0" dirty="0"/>
              <a:t>(Bild auswählen &gt; Start &gt; Anordnen &gt; „In den Hintergrund“)</a:t>
            </a:r>
            <a:br>
              <a:rPr lang="de-DE" noProof="0" dirty="0"/>
            </a:br>
            <a:r>
              <a:rPr lang="de-DE" noProof="0" dirty="0"/>
              <a:t/>
            </a:r>
            <a:br>
              <a:rPr lang="de-DE" noProof="0" dirty="0"/>
            </a:br>
            <a:r>
              <a:rPr lang="de-DE" noProof="0" dirty="0"/>
              <a:t>Bitte verwende für deine Präsentation vorrangig Bilder aus unserer Folienbibliothek. Solltest du dort kein passendes Motiv finden, dann achte bei der Suche bitte auf unsere Kaufland Bildsprache: </a:t>
            </a:r>
            <a:br>
              <a:rPr lang="de-DE" noProof="0" dirty="0"/>
            </a:br>
            <a:r>
              <a:rPr lang="de-DE" noProof="0" dirty="0"/>
              <a:t/>
            </a:r>
            <a:br>
              <a:rPr lang="de-DE" noProof="0" dirty="0"/>
            </a:br>
            <a:r>
              <a:rPr lang="de-DE" noProof="0" dirty="0"/>
              <a:t>Wir zeigen Menschen, Mitarbeiter und Produkte immer in realistischen Alltagssituationen – </a:t>
            </a:r>
            <a:r>
              <a:rPr lang="de-DE" noProof="0" dirty="0" err="1"/>
              <a:t>ungestellt</a:t>
            </a:r>
            <a:r>
              <a:rPr lang="de-DE" noProof="0" dirty="0"/>
              <a:t>, lebendig und authentisch. </a:t>
            </a:r>
          </a:p>
          <a:p>
            <a:endParaRPr lang="de-DE" noProof="0" dirty="0"/>
          </a:p>
        </p:txBody>
      </p:sp>
      <p:grpSp>
        <p:nvGrpSpPr>
          <p:cNvPr id="137" name="Gruppieren 136"/>
          <p:cNvGrpSpPr/>
          <p:nvPr/>
        </p:nvGrpSpPr>
        <p:grpSpPr>
          <a:xfrm>
            <a:off x="7750850" y="109788"/>
            <a:ext cx="1285200" cy="1285200"/>
            <a:chOff x="-3889375" y="0"/>
            <a:chExt cx="3600450" cy="3600450"/>
          </a:xfrm>
        </p:grpSpPr>
        <p:sp>
          <p:nvSpPr>
            <p:cNvPr id="138" name="AutoShape 169"/>
            <p:cNvSpPr>
              <a:spLocks noChangeAspect="1" noChangeArrowheads="1" noTextEdit="1"/>
            </p:cNvSpPr>
            <p:nvPr userDrawn="1"/>
          </p:nvSpPr>
          <p:spPr bwMode="auto">
            <a:xfrm>
              <a:off x="-3889375" y="0"/>
              <a:ext cx="3600450"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9" name="Freeform 171"/>
            <p:cNvSpPr>
              <a:spLocks/>
            </p:cNvSpPr>
            <p:nvPr userDrawn="1"/>
          </p:nvSpPr>
          <p:spPr bwMode="auto">
            <a:xfrm>
              <a:off x="-3889375" y="0"/>
              <a:ext cx="3600450" cy="3600450"/>
            </a:xfrm>
            <a:custGeom>
              <a:avLst/>
              <a:gdLst>
                <a:gd name="T0" fmla="*/ 2268 w 2268"/>
                <a:gd name="T1" fmla="*/ 0 h 2268"/>
                <a:gd name="T2" fmla="*/ 0 w 2268"/>
                <a:gd name="T3" fmla="*/ 0 h 2268"/>
                <a:gd name="T4" fmla="*/ 0 w 2268"/>
                <a:gd name="T5" fmla="*/ 2268 h 2268"/>
                <a:gd name="T6" fmla="*/ 2268 w 2268"/>
                <a:gd name="T7" fmla="*/ 2268 h 2268"/>
                <a:gd name="T8" fmla="*/ 2268 w 2268"/>
                <a:gd name="T9" fmla="*/ 0 h 2268"/>
                <a:gd name="T10" fmla="*/ 2268 w 2268"/>
                <a:gd name="T11" fmla="*/ 0 h 2268"/>
              </a:gdLst>
              <a:ahLst/>
              <a:cxnLst>
                <a:cxn ang="0">
                  <a:pos x="T0" y="T1"/>
                </a:cxn>
                <a:cxn ang="0">
                  <a:pos x="T2" y="T3"/>
                </a:cxn>
                <a:cxn ang="0">
                  <a:pos x="T4" y="T5"/>
                </a:cxn>
                <a:cxn ang="0">
                  <a:pos x="T6" y="T7"/>
                </a:cxn>
                <a:cxn ang="0">
                  <a:pos x="T8" y="T9"/>
                </a:cxn>
                <a:cxn ang="0">
                  <a:pos x="T10" y="T11"/>
                </a:cxn>
              </a:cxnLst>
              <a:rect l="0" t="0" r="r" b="b"/>
              <a:pathLst>
                <a:path w="2268" h="2268">
                  <a:moveTo>
                    <a:pt x="2268" y="0"/>
                  </a:moveTo>
                  <a:lnTo>
                    <a:pt x="0" y="0"/>
                  </a:lnTo>
                  <a:lnTo>
                    <a:pt x="0" y="2268"/>
                  </a:lnTo>
                  <a:lnTo>
                    <a:pt x="2268" y="2268"/>
                  </a:lnTo>
                  <a:lnTo>
                    <a:pt x="2268" y="0"/>
                  </a:lnTo>
                  <a:lnTo>
                    <a:pt x="226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sp>
          <p:nvSpPr>
            <p:cNvPr id="140" name="Freeform 172"/>
            <p:cNvSpPr>
              <a:spLocks noEditPoints="1"/>
            </p:cNvSpPr>
            <p:nvPr userDrawn="1"/>
          </p:nvSpPr>
          <p:spPr bwMode="auto">
            <a:xfrm>
              <a:off x="-3752850" y="138113"/>
              <a:ext cx="3327400" cy="3325813"/>
            </a:xfrm>
            <a:custGeom>
              <a:avLst/>
              <a:gdLst>
                <a:gd name="T0" fmla="*/ 0 w 2096"/>
                <a:gd name="T1" fmla="*/ 0 h 2095"/>
                <a:gd name="T2" fmla="*/ 0 w 2096"/>
                <a:gd name="T3" fmla="*/ 2095 h 2095"/>
                <a:gd name="T4" fmla="*/ 2096 w 2096"/>
                <a:gd name="T5" fmla="*/ 2095 h 2095"/>
                <a:gd name="T6" fmla="*/ 2096 w 2096"/>
                <a:gd name="T7" fmla="*/ 0 h 2095"/>
                <a:gd name="T8" fmla="*/ 0 w 2096"/>
                <a:gd name="T9" fmla="*/ 0 h 2095"/>
                <a:gd name="T10" fmla="*/ 2009 w 2096"/>
                <a:gd name="T11" fmla="*/ 2008 h 2095"/>
                <a:gd name="T12" fmla="*/ 87 w 2096"/>
                <a:gd name="T13" fmla="*/ 2008 h 2095"/>
                <a:gd name="T14" fmla="*/ 87 w 2096"/>
                <a:gd name="T15" fmla="*/ 86 h 2095"/>
                <a:gd name="T16" fmla="*/ 2009 w 2096"/>
                <a:gd name="T17" fmla="*/ 86 h 2095"/>
                <a:gd name="T18" fmla="*/ 2009 w 2096"/>
                <a:gd name="T19" fmla="*/ 2008 h 2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96" h="2095">
                  <a:moveTo>
                    <a:pt x="0" y="0"/>
                  </a:moveTo>
                  <a:lnTo>
                    <a:pt x="0" y="2095"/>
                  </a:lnTo>
                  <a:lnTo>
                    <a:pt x="2096" y="2095"/>
                  </a:lnTo>
                  <a:lnTo>
                    <a:pt x="2096" y="0"/>
                  </a:lnTo>
                  <a:lnTo>
                    <a:pt x="0" y="0"/>
                  </a:lnTo>
                  <a:close/>
                  <a:moveTo>
                    <a:pt x="2009" y="2008"/>
                  </a:moveTo>
                  <a:lnTo>
                    <a:pt x="87" y="2008"/>
                  </a:lnTo>
                  <a:lnTo>
                    <a:pt x="87" y="86"/>
                  </a:lnTo>
                  <a:lnTo>
                    <a:pt x="2009" y="86"/>
                  </a:lnTo>
                  <a:lnTo>
                    <a:pt x="2009" y="200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1" name="Rectangle 173"/>
            <p:cNvSpPr>
              <a:spLocks noChangeArrowheads="1"/>
            </p:cNvSpPr>
            <p:nvPr userDrawn="1"/>
          </p:nvSpPr>
          <p:spPr bwMode="auto">
            <a:xfrm>
              <a:off x="-2705100" y="1443038"/>
              <a:ext cx="608013" cy="60801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2" name="Freeform 174"/>
            <p:cNvSpPr>
              <a:spLocks/>
            </p:cNvSpPr>
            <p:nvPr userDrawn="1"/>
          </p:nvSpPr>
          <p:spPr bwMode="auto">
            <a:xfrm>
              <a:off x="-2005013" y="1441450"/>
              <a:ext cx="608013" cy="609600"/>
            </a:xfrm>
            <a:custGeom>
              <a:avLst/>
              <a:gdLst>
                <a:gd name="T0" fmla="*/ 0 w 383"/>
                <a:gd name="T1" fmla="*/ 0 h 384"/>
                <a:gd name="T2" fmla="*/ 0 w 383"/>
                <a:gd name="T3" fmla="*/ 384 h 384"/>
                <a:gd name="T4" fmla="*/ 383 w 383"/>
                <a:gd name="T5" fmla="*/ 384 h 384"/>
                <a:gd name="T6" fmla="*/ 0 w 383"/>
                <a:gd name="T7" fmla="*/ 0 h 384"/>
              </a:gdLst>
              <a:ahLst/>
              <a:cxnLst>
                <a:cxn ang="0">
                  <a:pos x="T0" y="T1"/>
                </a:cxn>
                <a:cxn ang="0">
                  <a:pos x="T2" y="T3"/>
                </a:cxn>
                <a:cxn ang="0">
                  <a:pos x="T4" y="T5"/>
                </a:cxn>
                <a:cxn ang="0">
                  <a:pos x="T6" y="T7"/>
                </a:cxn>
              </a:cxnLst>
              <a:rect l="0" t="0" r="r" b="b"/>
              <a:pathLst>
                <a:path w="383" h="384">
                  <a:moveTo>
                    <a:pt x="0" y="0"/>
                  </a:moveTo>
                  <a:lnTo>
                    <a:pt x="0" y="384"/>
                  </a:lnTo>
                  <a:lnTo>
                    <a:pt x="383" y="384"/>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3" name="Rectangle 175"/>
            <p:cNvSpPr>
              <a:spLocks noChangeArrowheads="1"/>
            </p:cNvSpPr>
            <p:nvPr userDrawn="1"/>
          </p:nvSpPr>
          <p:spPr bwMode="auto">
            <a:xfrm>
              <a:off x="-2705100" y="742950"/>
              <a:ext cx="608013" cy="60801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4" name="Freeform 176"/>
            <p:cNvSpPr>
              <a:spLocks/>
            </p:cNvSpPr>
            <p:nvPr userDrawn="1"/>
          </p:nvSpPr>
          <p:spPr bwMode="auto">
            <a:xfrm>
              <a:off x="-2005013" y="742950"/>
              <a:ext cx="608013" cy="608013"/>
            </a:xfrm>
            <a:custGeom>
              <a:avLst/>
              <a:gdLst>
                <a:gd name="T0" fmla="*/ 0 w 383"/>
                <a:gd name="T1" fmla="*/ 0 h 383"/>
                <a:gd name="T2" fmla="*/ 0 w 383"/>
                <a:gd name="T3" fmla="*/ 383 h 383"/>
                <a:gd name="T4" fmla="*/ 383 w 383"/>
                <a:gd name="T5" fmla="*/ 0 h 383"/>
                <a:gd name="T6" fmla="*/ 0 w 383"/>
                <a:gd name="T7" fmla="*/ 0 h 383"/>
              </a:gdLst>
              <a:ahLst/>
              <a:cxnLst>
                <a:cxn ang="0">
                  <a:pos x="T0" y="T1"/>
                </a:cxn>
                <a:cxn ang="0">
                  <a:pos x="T2" y="T3"/>
                </a:cxn>
                <a:cxn ang="0">
                  <a:pos x="T4" y="T5"/>
                </a:cxn>
                <a:cxn ang="0">
                  <a:pos x="T6" y="T7"/>
                </a:cxn>
              </a:cxnLst>
              <a:rect l="0" t="0" r="r" b="b"/>
              <a:pathLst>
                <a:path w="383" h="383">
                  <a:moveTo>
                    <a:pt x="0" y="0"/>
                  </a:moveTo>
                  <a:lnTo>
                    <a:pt x="0" y="383"/>
                  </a:lnTo>
                  <a:lnTo>
                    <a:pt x="383" y="0"/>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5" name="Freeform 177"/>
            <p:cNvSpPr>
              <a:spLocks/>
            </p:cNvSpPr>
            <p:nvPr userDrawn="1"/>
          </p:nvSpPr>
          <p:spPr bwMode="auto">
            <a:xfrm>
              <a:off x="-3346450" y="2409825"/>
              <a:ext cx="358775" cy="441325"/>
            </a:xfrm>
            <a:custGeom>
              <a:avLst/>
              <a:gdLst>
                <a:gd name="T0" fmla="*/ 224 w 226"/>
                <a:gd name="T1" fmla="*/ 0 h 278"/>
                <a:gd name="T2" fmla="*/ 154 w 226"/>
                <a:gd name="T3" fmla="*/ 0 h 278"/>
                <a:gd name="T4" fmla="*/ 62 w 226"/>
                <a:gd name="T5" fmla="*/ 128 h 278"/>
                <a:gd name="T6" fmla="*/ 62 w 226"/>
                <a:gd name="T7" fmla="*/ 0 h 278"/>
                <a:gd name="T8" fmla="*/ 0 w 226"/>
                <a:gd name="T9" fmla="*/ 0 h 278"/>
                <a:gd name="T10" fmla="*/ 0 w 226"/>
                <a:gd name="T11" fmla="*/ 278 h 278"/>
                <a:gd name="T12" fmla="*/ 62 w 226"/>
                <a:gd name="T13" fmla="*/ 278 h 278"/>
                <a:gd name="T14" fmla="*/ 62 w 226"/>
                <a:gd name="T15" fmla="*/ 153 h 278"/>
                <a:gd name="T16" fmla="*/ 154 w 226"/>
                <a:gd name="T17" fmla="*/ 278 h 278"/>
                <a:gd name="T18" fmla="*/ 226 w 226"/>
                <a:gd name="T19" fmla="*/ 278 h 278"/>
                <a:gd name="T20" fmla="*/ 119 w 226"/>
                <a:gd name="T21" fmla="*/ 136 h 278"/>
                <a:gd name="T22" fmla="*/ 224 w 226"/>
                <a:gd name="T23"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6" h="278">
                  <a:moveTo>
                    <a:pt x="224" y="0"/>
                  </a:moveTo>
                  <a:lnTo>
                    <a:pt x="154" y="0"/>
                  </a:lnTo>
                  <a:lnTo>
                    <a:pt x="62" y="128"/>
                  </a:lnTo>
                  <a:lnTo>
                    <a:pt x="62" y="0"/>
                  </a:lnTo>
                  <a:lnTo>
                    <a:pt x="0" y="0"/>
                  </a:lnTo>
                  <a:lnTo>
                    <a:pt x="0" y="278"/>
                  </a:lnTo>
                  <a:lnTo>
                    <a:pt x="62" y="278"/>
                  </a:lnTo>
                  <a:lnTo>
                    <a:pt x="62" y="153"/>
                  </a:lnTo>
                  <a:lnTo>
                    <a:pt x="154" y="278"/>
                  </a:lnTo>
                  <a:lnTo>
                    <a:pt x="226" y="278"/>
                  </a:lnTo>
                  <a:lnTo>
                    <a:pt x="119" y="136"/>
                  </a:lnTo>
                  <a:lnTo>
                    <a:pt x="224"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6" name="Freeform 178"/>
            <p:cNvSpPr>
              <a:spLocks/>
            </p:cNvSpPr>
            <p:nvPr userDrawn="1"/>
          </p:nvSpPr>
          <p:spPr bwMode="auto">
            <a:xfrm>
              <a:off x="-2625725" y="2557463"/>
              <a:ext cx="292100" cy="300038"/>
            </a:xfrm>
            <a:custGeom>
              <a:avLst/>
              <a:gdLst>
                <a:gd name="T0" fmla="*/ 1303 w 1839"/>
                <a:gd name="T1" fmla="*/ 1215 h 1890"/>
                <a:gd name="T2" fmla="*/ 906 w 1839"/>
                <a:gd name="T3" fmla="*/ 1425 h 1890"/>
                <a:gd name="T4" fmla="*/ 544 w 1839"/>
                <a:gd name="T5" fmla="*/ 1036 h 1890"/>
                <a:gd name="T6" fmla="*/ 544 w 1839"/>
                <a:gd name="T7" fmla="*/ 0 h 1890"/>
                <a:gd name="T8" fmla="*/ 0 w 1839"/>
                <a:gd name="T9" fmla="*/ 0 h 1890"/>
                <a:gd name="T10" fmla="*/ 0 w 1839"/>
                <a:gd name="T11" fmla="*/ 1143 h 1890"/>
                <a:gd name="T12" fmla="*/ 711 w 1839"/>
                <a:gd name="T13" fmla="*/ 1890 h 1890"/>
                <a:gd name="T14" fmla="*/ 1303 w 1839"/>
                <a:gd name="T15" fmla="*/ 1627 h 1890"/>
                <a:gd name="T16" fmla="*/ 1303 w 1839"/>
                <a:gd name="T17" fmla="*/ 1850 h 1890"/>
                <a:gd name="T18" fmla="*/ 1839 w 1839"/>
                <a:gd name="T19" fmla="*/ 1850 h 1890"/>
                <a:gd name="T20" fmla="*/ 1839 w 1839"/>
                <a:gd name="T21" fmla="*/ 0 h 1890"/>
                <a:gd name="T22" fmla="*/ 1303 w 1839"/>
                <a:gd name="T23" fmla="*/ 0 h 1890"/>
                <a:gd name="T24" fmla="*/ 1303 w 1839"/>
                <a:gd name="T25" fmla="*/ 1215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9" h="1890">
                  <a:moveTo>
                    <a:pt x="1303" y="1215"/>
                  </a:moveTo>
                  <a:cubicBezTo>
                    <a:pt x="1231" y="1306"/>
                    <a:pt x="1104" y="1425"/>
                    <a:pt x="906" y="1425"/>
                  </a:cubicBezTo>
                  <a:cubicBezTo>
                    <a:pt x="679" y="1425"/>
                    <a:pt x="544" y="1278"/>
                    <a:pt x="544" y="1036"/>
                  </a:cubicBezTo>
                  <a:cubicBezTo>
                    <a:pt x="544" y="0"/>
                    <a:pt x="544" y="0"/>
                    <a:pt x="544" y="0"/>
                  </a:cubicBezTo>
                  <a:cubicBezTo>
                    <a:pt x="0" y="0"/>
                    <a:pt x="0" y="0"/>
                    <a:pt x="0" y="0"/>
                  </a:cubicBezTo>
                  <a:cubicBezTo>
                    <a:pt x="0" y="1143"/>
                    <a:pt x="0" y="1143"/>
                    <a:pt x="0" y="1143"/>
                  </a:cubicBezTo>
                  <a:cubicBezTo>
                    <a:pt x="0" y="1580"/>
                    <a:pt x="251" y="1890"/>
                    <a:pt x="711" y="1890"/>
                  </a:cubicBezTo>
                  <a:cubicBezTo>
                    <a:pt x="1017" y="1890"/>
                    <a:pt x="1207" y="1731"/>
                    <a:pt x="1303" y="1627"/>
                  </a:cubicBezTo>
                  <a:cubicBezTo>
                    <a:pt x="1303" y="1850"/>
                    <a:pt x="1303" y="1850"/>
                    <a:pt x="1303" y="1850"/>
                  </a:cubicBezTo>
                  <a:cubicBezTo>
                    <a:pt x="1839" y="1850"/>
                    <a:pt x="1839" y="1850"/>
                    <a:pt x="1839" y="1850"/>
                  </a:cubicBezTo>
                  <a:cubicBezTo>
                    <a:pt x="1839" y="0"/>
                    <a:pt x="1839" y="0"/>
                    <a:pt x="1839" y="0"/>
                  </a:cubicBezTo>
                  <a:cubicBezTo>
                    <a:pt x="1303" y="0"/>
                    <a:pt x="1303" y="0"/>
                    <a:pt x="1303" y="0"/>
                  </a:cubicBezTo>
                  <a:lnTo>
                    <a:pt x="1303" y="121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7" name="Freeform 179"/>
            <p:cNvSpPr>
              <a:spLocks noEditPoints="1"/>
            </p:cNvSpPr>
            <p:nvPr userDrawn="1"/>
          </p:nvSpPr>
          <p:spPr bwMode="auto">
            <a:xfrm>
              <a:off x="-1865313" y="2551113"/>
              <a:ext cx="314325" cy="306388"/>
            </a:xfrm>
            <a:custGeom>
              <a:avLst/>
              <a:gdLst>
                <a:gd name="T0" fmla="*/ 1441 w 1977"/>
                <a:gd name="T1" fmla="*/ 234 h 1930"/>
                <a:gd name="T2" fmla="*/ 874 w 1977"/>
                <a:gd name="T3" fmla="*/ 0 h 1930"/>
                <a:gd name="T4" fmla="*/ 0 w 1977"/>
                <a:gd name="T5" fmla="*/ 973 h 1930"/>
                <a:gd name="T6" fmla="*/ 874 w 1977"/>
                <a:gd name="T7" fmla="*/ 1930 h 1930"/>
                <a:gd name="T8" fmla="*/ 1441 w 1977"/>
                <a:gd name="T9" fmla="*/ 1699 h 1930"/>
                <a:gd name="T10" fmla="*/ 1441 w 1977"/>
                <a:gd name="T11" fmla="*/ 1890 h 1930"/>
                <a:gd name="T12" fmla="*/ 1977 w 1977"/>
                <a:gd name="T13" fmla="*/ 1890 h 1930"/>
                <a:gd name="T14" fmla="*/ 1977 w 1977"/>
                <a:gd name="T15" fmla="*/ 40 h 1930"/>
                <a:gd name="T16" fmla="*/ 1441 w 1977"/>
                <a:gd name="T17" fmla="*/ 40 h 1930"/>
                <a:gd name="T18" fmla="*/ 1441 w 1977"/>
                <a:gd name="T19" fmla="*/ 234 h 1930"/>
                <a:gd name="T20" fmla="*/ 1441 w 1977"/>
                <a:gd name="T21" fmla="*/ 1298 h 1930"/>
                <a:gd name="T22" fmla="*/ 1048 w 1977"/>
                <a:gd name="T23" fmla="*/ 1473 h 1930"/>
                <a:gd name="T24" fmla="*/ 560 w 1977"/>
                <a:gd name="T25" fmla="*/ 965 h 1930"/>
                <a:gd name="T26" fmla="*/ 1048 w 1977"/>
                <a:gd name="T27" fmla="*/ 457 h 1930"/>
                <a:gd name="T28" fmla="*/ 1441 w 1977"/>
                <a:gd name="T29" fmla="*/ 631 h 1930"/>
                <a:gd name="T30" fmla="*/ 1441 w 1977"/>
                <a:gd name="T31" fmla="*/ 1298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7" h="1930">
                  <a:moveTo>
                    <a:pt x="1441" y="234"/>
                  </a:moveTo>
                  <a:cubicBezTo>
                    <a:pt x="1330" y="127"/>
                    <a:pt x="1140" y="0"/>
                    <a:pt x="874" y="0"/>
                  </a:cubicBezTo>
                  <a:cubicBezTo>
                    <a:pt x="358" y="0"/>
                    <a:pt x="0" y="429"/>
                    <a:pt x="0" y="973"/>
                  </a:cubicBezTo>
                  <a:cubicBezTo>
                    <a:pt x="0" y="1509"/>
                    <a:pt x="354" y="1930"/>
                    <a:pt x="874" y="1930"/>
                  </a:cubicBezTo>
                  <a:cubicBezTo>
                    <a:pt x="1156" y="1930"/>
                    <a:pt x="1342" y="1799"/>
                    <a:pt x="1441" y="1699"/>
                  </a:cubicBezTo>
                  <a:cubicBezTo>
                    <a:pt x="1441" y="1890"/>
                    <a:pt x="1441" y="1890"/>
                    <a:pt x="1441" y="1890"/>
                  </a:cubicBezTo>
                  <a:cubicBezTo>
                    <a:pt x="1977" y="1890"/>
                    <a:pt x="1977" y="1890"/>
                    <a:pt x="1977" y="1890"/>
                  </a:cubicBezTo>
                  <a:cubicBezTo>
                    <a:pt x="1977" y="40"/>
                    <a:pt x="1977" y="40"/>
                    <a:pt x="1977" y="40"/>
                  </a:cubicBezTo>
                  <a:cubicBezTo>
                    <a:pt x="1441" y="40"/>
                    <a:pt x="1441" y="40"/>
                    <a:pt x="1441" y="40"/>
                  </a:cubicBezTo>
                  <a:lnTo>
                    <a:pt x="1441" y="234"/>
                  </a:lnTo>
                  <a:close/>
                  <a:moveTo>
                    <a:pt x="1441" y="1298"/>
                  </a:moveTo>
                  <a:cubicBezTo>
                    <a:pt x="1366" y="1382"/>
                    <a:pt x="1239" y="1473"/>
                    <a:pt x="1048" y="1473"/>
                  </a:cubicBezTo>
                  <a:cubicBezTo>
                    <a:pt x="762" y="1473"/>
                    <a:pt x="560" y="1266"/>
                    <a:pt x="560" y="965"/>
                  </a:cubicBezTo>
                  <a:cubicBezTo>
                    <a:pt x="560" y="663"/>
                    <a:pt x="762" y="457"/>
                    <a:pt x="1048" y="457"/>
                  </a:cubicBezTo>
                  <a:cubicBezTo>
                    <a:pt x="1239" y="457"/>
                    <a:pt x="1366" y="548"/>
                    <a:pt x="1441" y="631"/>
                  </a:cubicBezTo>
                  <a:lnTo>
                    <a:pt x="1441" y="129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8" name="Freeform 180"/>
            <p:cNvSpPr>
              <a:spLocks noEditPoints="1"/>
            </p:cNvSpPr>
            <p:nvPr userDrawn="1"/>
          </p:nvSpPr>
          <p:spPr bwMode="auto">
            <a:xfrm>
              <a:off x="-3000375" y="2551113"/>
              <a:ext cx="314325" cy="306388"/>
            </a:xfrm>
            <a:custGeom>
              <a:avLst/>
              <a:gdLst>
                <a:gd name="T0" fmla="*/ 1441 w 1977"/>
                <a:gd name="T1" fmla="*/ 234 h 1930"/>
                <a:gd name="T2" fmla="*/ 873 w 1977"/>
                <a:gd name="T3" fmla="*/ 0 h 1930"/>
                <a:gd name="T4" fmla="*/ 0 w 1977"/>
                <a:gd name="T5" fmla="*/ 973 h 1930"/>
                <a:gd name="T6" fmla="*/ 873 w 1977"/>
                <a:gd name="T7" fmla="*/ 1930 h 1930"/>
                <a:gd name="T8" fmla="*/ 1441 w 1977"/>
                <a:gd name="T9" fmla="*/ 1699 h 1930"/>
                <a:gd name="T10" fmla="*/ 1441 w 1977"/>
                <a:gd name="T11" fmla="*/ 1890 h 1930"/>
                <a:gd name="T12" fmla="*/ 1977 w 1977"/>
                <a:gd name="T13" fmla="*/ 1890 h 1930"/>
                <a:gd name="T14" fmla="*/ 1977 w 1977"/>
                <a:gd name="T15" fmla="*/ 40 h 1930"/>
                <a:gd name="T16" fmla="*/ 1441 w 1977"/>
                <a:gd name="T17" fmla="*/ 40 h 1930"/>
                <a:gd name="T18" fmla="*/ 1441 w 1977"/>
                <a:gd name="T19" fmla="*/ 234 h 1930"/>
                <a:gd name="T20" fmla="*/ 1441 w 1977"/>
                <a:gd name="T21" fmla="*/ 1298 h 1930"/>
                <a:gd name="T22" fmla="*/ 1048 w 1977"/>
                <a:gd name="T23" fmla="*/ 1473 h 1930"/>
                <a:gd name="T24" fmla="*/ 560 w 1977"/>
                <a:gd name="T25" fmla="*/ 965 h 1930"/>
                <a:gd name="T26" fmla="*/ 1048 w 1977"/>
                <a:gd name="T27" fmla="*/ 457 h 1930"/>
                <a:gd name="T28" fmla="*/ 1441 w 1977"/>
                <a:gd name="T29" fmla="*/ 631 h 1930"/>
                <a:gd name="T30" fmla="*/ 1441 w 1977"/>
                <a:gd name="T31" fmla="*/ 1298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7" h="1930">
                  <a:moveTo>
                    <a:pt x="1441" y="234"/>
                  </a:moveTo>
                  <a:cubicBezTo>
                    <a:pt x="1330" y="127"/>
                    <a:pt x="1139" y="0"/>
                    <a:pt x="873" y="0"/>
                  </a:cubicBezTo>
                  <a:cubicBezTo>
                    <a:pt x="357" y="0"/>
                    <a:pt x="0" y="429"/>
                    <a:pt x="0" y="973"/>
                  </a:cubicBezTo>
                  <a:cubicBezTo>
                    <a:pt x="0" y="1509"/>
                    <a:pt x="353" y="1930"/>
                    <a:pt x="873" y="1930"/>
                  </a:cubicBezTo>
                  <a:cubicBezTo>
                    <a:pt x="1155" y="1930"/>
                    <a:pt x="1342" y="1799"/>
                    <a:pt x="1441" y="1699"/>
                  </a:cubicBezTo>
                  <a:cubicBezTo>
                    <a:pt x="1441" y="1890"/>
                    <a:pt x="1441" y="1890"/>
                    <a:pt x="1441" y="1890"/>
                  </a:cubicBezTo>
                  <a:cubicBezTo>
                    <a:pt x="1977" y="1890"/>
                    <a:pt x="1977" y="1890"/>
                    <a:pt x="1977" y="1890"/>
                  </a:cubicBezTo>
                  <a:cubicBezTo>
                    <a:pt x="1977" y="40"/>
                    <a:pt x="1977" y="40"/>
                    <a:pt x="1977" y="40"/>
                  </a:cubicBezTo>
                  <a:cubicBezTo>
                    <a:pt x="1441" y="40"/>
                    <a:pt x="1441" y="40"/>
                    <a:pt x="1441" y="40"/>
                  </a:cubicBezTo>
                  <a:lnTo>
                    <a:pt x="1441" y="234"/>
                  </a:lnTo>
                  <a:close/>
                  <a:moveTo>
                    <a:pt x="1441" y="1298"/>
                  </a:moveTo>
                  <a:cubicBezTo>
                    <a:pt x="1366" y="1382"/>
                    <a:pt x="1239" y="1473"/>
                    <a:pt x="1048" y="1473"/>
                  </a:cubicBezTo>
                  <a:cubicBezTo>
                    <a:pt x="762" y="1473"/>
                    <a:pt x="560" y="1266"/>
                    <a:pt x="560" y="965"/>
                  </a:cubicBezTo>
                  <a:cubicBezTo>
                    <a:pt x="560" y="663"/>
                    <a:pt x="762" y="457"/>
                    <a:pt x="1048" y="457"/>
                  </a:cubicBezTo>
                  <a:cubicBezTo>
                    <a:pt x="1239" y="457"/>
                    <a:pt x="1366" y="548"/>
                    <a:pt x="1441" y="631"/>
                  </a:cubicBezTo>
                  <a:lnTo>
                    <a:pt x="1441" y="129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9" name="Freeform 181"/>
            <p:cNvSpPr>
              <a:spLocks noEditPoints="1"/>
            </p:cNvSpPr>
            <p:nvPr userDrawn="1"/>
          </p:nvSpPr>
          <p:spPr bwMode="auto">
            <a:xfrm>
              <a:off x="-1149350" y="2409825"/>
              <a:ext cx="317500" cy="447675"/>
            </a:xfrm>
            <a:custGeom>
              <a:avLst/>
              <a:gdLst>
                <a:gd name="T0" fmla="*/ 1461 w 1997"/>
                <a:gd name="T1" fmla="*/ 0 h 2819"/>
                <a:gd name="T2" fmla="*/ 1461 w 1997"/>
                <a:gd name="T3" fmla="*/ 1139 h 2819"/>
                <a:gd name="T4" fmla="*/ 873 w 1997"/>
                <a:gd name="T5" fmla="*/ 889 h 2819"/>
                <a:gd name="T6" fmla="*/ 0 w 1997"/>
                <a:gd name="T7" fmla="*/ 1862 h 2819"/>
                <a:gd name="T8" fmla="*/ 873 w 1997"/>
                <a:gd name="T9" fmla="*/ 2819 h 2819"/>
                <a:gd name="T10" fmla="*/ 1461 w 1997"/>
                <a:gd name="T11" fmla="*/ 2568 h 2819"/>
                <a:gd name="T12" fmla="*/ 1461 w 1997"/>
                <a:gd name="T13" fmla="*/ 2779 h 2819"/>
                <a:gd name="T14" fmla="*/ 1997 w 1997"/>
                <a:gd name="T15" fmla="*/ 2779 h 2819"/>
                <a:gd name="T16" fmla="*/ 1997 w 1997"/>
                <a:gd name="T17" fmla="*/ 0 h 2819"/>
                <a:gd name="T18" fmla="*/ 1461 w 1997"/>
                <a:gd name="T19" fmla="*/ 0 h 2819"/>
                <a:gd name="T20" fmla="*/ 1461 w 1997"/>
                <a:gd name="T21" fmla="*/ 2163 h 2819"/>
                <a:gd name="T22" fmla="*/ 1048 w 1997"/>
                <a:gd name="T23" fmla="*/ 2362 h 2819"/>
                <a:gd name="T24" fmla="*/ 560 w 1997"/>
                <a:gd name="T25" fmla="*/ 1854 h 2819"/>
                <a:gd name="T26" fmla="*/ 1048 w 1997"/>
                <a:gd name="T27" fmla="*/ 1346 h 2819"/>
                <a:gd name="T28" fmla="*/ 1461 w 1997"/>
                <a:gd name="T29" fmla="*/ 1544 h 2819"/>
                <a:gd name="T30" fmla="*/ 1461 w 1997"/>
                <a:gd name="T31" fmla="*/ 2163 h 2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97" h="2819">
                  <a:moveTo>
                    <a:pt x="1461" y="0"/>
                  </a:moveTo>
                  <a:cubicBezTo>
                    <a:pt x="1461" y="1139"/>
                    <a:pt x="1461" y="1139"/>
                    <a:pt x="1461" y="1139"/>
                  </a:cubicBezTo>
                  <a:cubicBezTo>
                    <a:pt x="1366" y="1040"/>
                    <a:pt x="1171" y="889"/>
                    <a:pt x="873" y="889"/>
                  </a:cubicBezTo>
                  <a:cubicBezTo>
                    <a:pt x="353" y="889"/>
                    <a:pt x="0" y="1318"/>
                    <a:pt x="0" y="1862"/>
                  </a:cubicBezTo>
                  <a:cubicBezTo>
                    <a:pt x="0" y="2406"/>
                    <a:pt x="361" y="2819"/>
                    <a:pt x="873" y="2819"/>
                  </a:cubicBezTo>
                  <a:cubicBezTo>
                    <a:pt x="1171" y="2819"/>
                    <a:pt x="1366" y="2672"/>
                    <a:pt x="1461" y="2568"/>
                  </a:cubicBezTo>
                  <a:cubicBezTo>
                    <a:pt x="1461" y="2779"/>
                    <a:pt x="1461" y="2779"/>
                    <a:pt x="1461" y="2779"/>
                  </a:cubicBezTo>
                  <a:cubicBezTo>
                    <a:pt x="1997" y="2779"/>
                    <a:pt x="1997" y="2779"/>
                    <a:pt x="1997" y="2779"/>
                  </a:cubicBezTo>
                  <a:cubicBezTo>
                    <a:pt x="1997" y="0"/>
                    <a:pt x="1997" y="0"/>
                    <a:pt x="1997" y="0"/>
                  </a:cubicBezTo>
                  <a:lnTo>
                    <a:pt x="1461" y="0"/>
                  </a:lnTo>
                  <a:close/>
                  <a:moveTo>
                    <a:pt x="1461" y="2163"/>
                  </a:moveTo>
                  <a:cubicBezTo>
                    <a:pt x="1389" y="2255"/>
                    <a:pt x="1254" y="2362"/>
                    <a:pt x="1048" y="2362"/>
                  </a:cubicBezTo>
                  <a:cubicBezTo>
                    <a:pt x="762" y="2362"/>
                    <a:pt x="560" y="2155"/>
                    <a:pt x="560" y="1854"/>
                  </a:cubicBezTo>
                  <a:cubicBezTo>
                    <a:pt x="560" y="1552"/>
                    <a:pt x="762" y="1346"/>
                    <a:pt x="1048" y="1346"/>
                  </a:cubicBezTo>
                  <a:cubicBezTo>
                    <a:pt x="1254" y="1346"/>
                    <a:pt x="1389" y="1453"/>
                    <a:pt x="1461" y="1544"/>
                  </a:cubicBezTo>
                  <a:lnTo>
                    <a:pt x="1461" y="216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50" name="Freeform 182"/>
            <p:cNvSpPr>
              <a:spLocks/>
            </p:cNvSpPr>
            <p:nvPr userDrawn="1"/>
          </p:nvSpPr>
          <p:spPr bwMode="auto">
            <a:xfrm>
              <a:off x="-1487488" y="2551113"/>
              <a:ext cx="290513" cy="300038"/>
            </a:xfrm>
            <a:custGeom>
              <a:avLst/>
              <a:gdLst>
                <a:gd name="T0" fmla="*/ 1128 w 1839"/>
                <a:gd name="T1" fmla="*/ 0 h 1890"/>
                <a:gd name="T2" fmla="*/ 540 w 1839"/>
                <a:gd name="T3" fmla="*/ 262 h 1890"/>
                <a:gd name="T4" fmla="*/ 540 w 1839"/>
                <a:gd name="T5" fmla="*/ 40 h 1890"/>
                <a:gd name="T6" fmla="*/ 0 w 1839"/>
                <a:gd name="T7" fmla="*/ 40 h 1890"/>
                <a:gd name="T8" fmla="*/ 0 w 1839"/>
                <a:gd name="T9" fmla="*/ 1890 h 1890"/>
                <a:gd name="T10" fmla="*/ 540 w 1839"/>
                <a:gd name="T11" fmla="*/ 1890 h 1890"/>
                <a:gd name="T12" fmla="*/ 540 w 1839"/>
                <a:gd name="T13" fmla="*/ 675 h 1890"/>
                <a:gd name="T14" fmla="*/ 937 w 1839"/>
                <a:gd name="T15" fmla="*/ 464 h 1890"/>
                <a:gd name="T16" fmla="*/ 1295 w 1839"/>
                <a:gd name="T17" fmla="*/ 854 h 1890"/>
                <a:gd name="T18" fmla="*/ 1295 w 1839"/>
                <a:gd name="T19" fmla="*/ 1890 h 1890"/>
                <a:gd name="T20" fmla="*/ 1839 w 1839"/>
                <a:gd name="T21" fmla="*/ 1890 h 1890"/>
                <a:gd name="T22" fmla="*/ 1839 w 1839"/>
                <a:gd name="T23" fmla="*/ 746 h 1890"/>
                <a:gd name="T24" fmla="*/ 1128 w 1839"/>
                <a:gd name="T25" fmla="*/ 0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9" h="1890">
                  <a:moveTo>
                    <a:pt x="1128" y="0"/>
                  </a:moveTo>
                  <a:cubicBezTo>
                    <a:pt x="826" y="0"/>
                    <a:pt x="632" y="159"/>
                    <a:pt x="540" y="262"/>
                  </a:cubicBezTo>
                  <a:cubicBezTo>
                    <a:pt x="540" y="40"/>
                    <a:pt x="540" y="40"/>
                    <a:pt x="540" y="40"/>
                  </a:cubicBezTo>
                  <a:cubicBezTo>
                    <a:pt x="0" y="40"/>
                    <a:pt x="0" y="40"/>
                    <a:pt x="0" y="40"/>
                  </a:cubicBezTo>
                  <a:cubicBezTo>
                    <a:pt x="0" y="1890"/>
                    <a:pt x="0" y="1890"/>
                    <a:pt x="0" y="1890"/>
                  </a:cubicBezTo>
                  <a:cubicBezTo>
                    <a:pt x="540" y="1890"/>
                    <a:pt x="540" y="1890"/>
                    <a:pt x="540" y="1890"/>
                  </a:cubicBezTo>
                  <a:cubicBezTo>
                    <a:pt x="540" y="675"/>
                    <a:pt x="540" y="675"/>
                    <a:pt x="540" y="675"/>
                  </a:cubicBezTo>
                  <a:cubicBezTo>
                    <a:pt x="608" y="580"/>
                    <a:pt x="735" y="464"/>
                    <a:pt x="937" y="464"/>
                  </a:cubicBezTo>
                  <a:cubicBezTo>
                    <a:pt x="1164" y="464"/>
                    <a:pt x="1295" y="611"/>
                    <a:pt x="1295" y="854"/>
                  </a:cubicBezTo>
                  <a:cubicBezTo>
                    <a:pt x="1295" y="1890"/>
                    <a:pt x="1295" y="1890"/>
                    <a:pt x="1295" y="1890"/>
                  </a:cubicBezTo>
                  <a:cubicBezTo>
                    <a:pt x="1839" y="1890"/>
                    <a:pt x="1839" y="1890"/>
                    <a:pt x="1839" y="1890"/>
                  </a:cubicBezTo>
                  <a:cubicBezTo>
                    <a:pt x="1839" y="746"/>
                    <a:pt x="1839" y="746"/>
                    <a:pt x="1839" y="746"/>
                  </a:cubicBezTo>
                  <a:cubicBezTo>
                    <a:pt x="1839" y="310"/>
                    <a:pt x="1588" y="0"/>
                    <a:pt x="1128"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51" name="Freeform 183"/>
            <p:cNvSpPr>
              <a:spLocks/>
            </p:cNvSpPr>
            <p:nvPr userDrawn="1"/>
          </p:nvSpPr>
          <p:spPr bwMode="auto">
            <a:xfrm>
              <a:off x="-2286000" y="2403475"/>
              <a:ext cx="238125" cy="447675"/>
            </a:xfrm>
            <a:custGeom>
              <a:avLst/>
              <a:gdLst>
                <a:gd name="T0" fmla="*/ 1128 w 1505"/>
                <a:gd name="T1" fmla="*/ 449 h 2819"/>
                <a:gd name="T2" fmla="*/ 1418 w 1505"/>
                <a:gd name="T3" fmla="*/ 528 h 2819"/>
                <a:gd name="T4" fmla="*/ 1505 w 1505"/>
                <a:gd name="T5" fmla="*/ 115 h 2819"/>
                <a:gd name="T6" fmla="*/ 1009 w 1505"/>
                <a:gd name="T7" fmla="*/ 0 h 2819"/>
                <a:gd name="T8" fmla="*/ 274 w 1505"/>
                <a:gd name="T9" fmla="*/ 750 h 2819"/>
                <a:gd name="T10" fmla="*/ 274 w 1505"/>
                <a:gd name="T11" fmla="*/ 969 h 2819"/>
                <a:gd name="T12" fmla="*/ 0 w 1505"/>
                <a:gd name="T13" fmla="*/ 969 h 2819"/>
                <a:gd name="T14" fmla="*/ 0 w 1505"/>
                <a:gd name="T15" fmla="*/ 1413 h 2819"/>
                <a:gd name="T16" fmla="*/ 274 w 1505"/>
                <a:gd name="T17" fmla="*/ 1413 h 2819"/>
                <a:gd name="T18" fmla="*/ 274 w 1505"/>
                <a:gd name="T19" fmla="*/ 2819 h 2819"/>
                <a:gd name="T20" fmla="*/ 826 w 1505"/>
                <a:gd name="T21" fmla="*/ 2819 h 2819"/>
                <a:gd name="T22" fmla="*/ 826 w 1505"/>
                <a:gd name="T23" fmla="*/ 1413 h 2819"/>
                <a:gd name="T24" fmla="*/ 1453 w 1505"/>
                <a:gd name="T25" fmla="*/ 1413 h 2819"/>
                <a:gd name="T26" fmla="*/ 1453 w 1505"/>
                <a:gd name="T27" fmla="*/ 969 h 2819"/>
                <a:gd name="T28" fmla="*/ 826 w 1505"/>
                <a:gd name="T29" fmla="*/ 969 h 2819"/>
                <a:gd name="T30" fmla="*/ 826 w 1505"/>
                <a:gd name="T31" fmla="*/ 798 h 2819"/>
                <a:gd name="T32" fmla="*/ 1128 w 1505"/>
                <a:gd name="T33" fmla="*/ 449 h 2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5" h="2819">
                  <a:moveTo>
                    <a:pt x="1128" y="449"/>
                  </a:moveTo>
                  <a:cubicBezTo>
                    <a:pt x="1310" y="449"/>
                    <a:pt x="1418" y="528"/>
                    <a:pt x="1418" y="528"/>
                  </a:cubicBezTo>
                  <a:cubicBezTo>
                    <a:pt x="1505" y="115"/>
                    <a:pt x="1505" y="115"/>
                    <a:pt x="1505" y="115"/>
                  </a:cubicBezTo>
                  <a:cubicBezTo>
                    <a:pt x="1505" y="115"/>
                    <a:pt x="1358" y="0"/>
                    <a:pt x="1009" y="0"/>
                  </a:cubicBezTo>
                  <a:cubicBezTo>
                    <a:pt x="556" y="0"/>
                    <a:pt x="274" y="262"/>
                    <a:pt x="274" y="750"/>
                  </a:cubicBezTo>
                  <a:cubicBezTo>
                    <a:pt x="274" y="969"/>
                    <a:pt x="274" y="969"/>
                    <a:pt x="274" y="969"/>
                  </a:cubicBezTo>
                  <a:cubicBezTo>
                    <a:pt x="0" y="969"/>
                    <a:pt x="0" y="969"/>
                    <a:pt x="0" y="969"/>
                  </a:cubicBezTo>
                  <a:cubicBezTo>
                    <a:pt x="0" y="1413"/>
                    <a:pt x="0" y="1413"/>
                    <a:pt x="0" y="1413"/>
                  </a:cubicBezTo>
                  <a:cubicBezTo>
                    <a:pt x="274" y="1413"/>
                    <a:pt x="274" y="1413"/>
                    <a:pt x="274" y="1413"/>
                  </a:cubicBezTo>
                  <a:cubicBezTo>
                    <a:pt x="274" y="2819"/>
                    <a:pt x="274" y="2819"/>
                    <a:pt x="274" y="2819"/>
                  </a:cubicBezTo>
                  <a:cubicBezTo>
                    <a:pt x="826" y="2819"/>
                    <a:pt x="826" y="2819"/>
                    <a:pt x="826" y="2819"/>
                  </a:cubicBezTo>
                  <a:cubicBezTo>
                    <a:pt x="826" y="1413"/>
                    <a:pt x="826" y="1413"/>
                    <a:pt x="826" y="1413"/>
                  </a:cubicBezTo>
                  <a:cubicBezTo>
                    <a:pt x="1453" y="1413"/>
                    <a:pt x="1453" y="1413"/>
                    <a:pt x="1453" y="1413"/>
                  </a:cubicBezTo>
                  <a:cubicBezTo>
                    <a:pt x="1453" y="969"/>
                    <a:pt x="1453" y="969"/>
                    <a:pt x="1453" y="969"/>
                  </a:cubicBezTo>
                  <a:cubicBezTo>
                    <a:pt x="826" y="969"/>
                    <a:pt x="826" y="969"/>
                    <a:pt x="826" y="969"/>
                  </a:cubicBezTo>
                  <a:cubicBezTo>
                    <a:pt x="826" y="798"/>
                    <a:pt x="826" y="798"/>
                    <a:pt x="826" y="798"/>
                  </a:cubicBezTo>
                  <a:cubicBezTo>
                    <a:pt x="826" y="564"/>
                    <a:pt x="933" y="449"/>
                    <a:pt x="1128" y="44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52" name="Rectangle 184"/>
            <p:cNvSpPr>
              <a:spLocks noChangeArrowheads="1"/>
            </p:cNvSpPr>
            <p:nvPr userDrawn="1"/>
          </p:nvSpPr>
          <p:spPr bwMode="auto">
            <a:xfrm>
              <a:off x="-2006600" y="2409825"/>
              <a:ext cx="87313" cy="441325"/>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3" name="Datumsplatzhalter 2"/>
          <p:cNvSpPr>
            <a:spLocks noGrp="1"/>
          </p:cNvSpPr>
          <p:nvPr>
            <p:ph type="dt" sz="half" idx="19"/>
          </p:nvPr>
        </p:nvSpPr>
        <p:spPr>
          <a:xfrm>
            <a:off x="7985795" y="4836160"/>
            <a:ext cx="540059" cy="136050"/>
          </a:xfrm>
          <a:prstGeom prst="rect">
            <a:avLst/>
          </a:prstGeom>
        </p:spPr>
        <p:txBody>
          <a:bodyPr/>
          <a:lstStyle>
            <a:lvl1pPr>
              <a:defRPr>
                <a:noFill/>
              </a:defRPr>
            </a:lvl1pPr>
          </a:lstStyle>
          <a:p>
            <a:endParaRPr lang="de-DE" dirty="0"/>
          </a:p>
        </p:txBody>
      </p:sp>
      <p:sp>
        <p:nvSpPr>
          <p:cNvPr id="4" name="Fußzeilenplatzhalter 3"/>
          <p:cNvSpPr>
            <a:spLocks noGrp="1"/>
          </p:cNvSpPr>
          <p:nvPr>
            <p:ph type="ftr" sz="quarter" idx="20"/>
          </p:nvPr>
        </p:nvSpPr>
        <p:spPr>
          <a:xfrm>
            <a:off x="5788992" y="4836160"/>
            <a:ext cx="2196803" cy="136050"/>
          </a:xfrm>
          <a:prstGeom prst="rect">
            <a:avLst/>
          </a:prstGeom>
        </p:spPr>
        <p:txBody>
          <a:bodyPr/>
          <a:lstStyle>
            <a:lvl1pPr>
              <a:defRPr>
                <a:noFill/>
              </a:defRPr>
            </a:lvl1pPr>
          </a:lstStyle>
          <a:p>
            <a:endParaRPr lang="de-DE" dirty="0"/>
          </a:p>
        </p:txBody>
      </p:sp>
      <p:sp>
        <p:nvSpPr>
          <p:cNvPr id="5" name="Foliennummernplatzhalter 4"/>
          <p:cNvSpPr>
            <a:spLocks noGrp="1"/>
          </p:cNvSpPr>
          <p:nvPr>
            <p:ph type="sldNum" sz="quarter" idx="21"/>
          </p:nvPr>
        </p:nvSpPr>
        <p:spPr>
          <a:xfrm>
            <a:off x="8532440" y="4836160"/>
            <a:ext cx="611561" cy="136050"/>
          </a:xfrm>
          <a:prstGeom prst="rect">
            <a:avLst/>
          </a:prstGeom>
        </p:spPr>
        <p:txBody>
          <a:bodyPr/>
          <a:lstStyle>
            <a:lvl1pPr>
              <a:defRPr>
                <a:noFill/>
              </a:defRPr>
            </a:lvl1pPr>
          </a:lstStyle>
          <a:p>
            <a:r>
              <a:rPr lang="de-DE"/>
              <a:t> </a:t>
            </a:r>
            <a:r>
              <a:rPr lang="de-DE">
                <a:sym typeface="Wingdings"/>
              </a:rPr>
              <a:t>  </a:t>
            </a:r>
            <a:fld id="{443B15C8-972D-49F6-9B7C-5A2154A8C95F}" type="slidenum">
              <a:rPr lang="de-DE" smtClean="0"/>
              <a:pPr/>
              <a:t>‹Nr.›</a:t>
            </a:fld>
            <a:endParaRPr lang="de-DE" dirty="0"/>
          </a:p>
        </p:txBody>
      </p:sp>
      <p:grpSp>
        <p:nvGrpSpPr>
          <p:cNvPr id="45" name="Gruppieren 44"/>
          <p:cNvGrpSpPr/>
          <p:nvPr/>
        </p:nvGrpSpPr>
        <p:grpSpPr>
          <a:xfrm>
            <a:off x="-373329" y="-380578"/>
            <a:ext cx="9664396" cy="5679553"/>
            <a:chOff x="-373329" y="-380578"/>
            <a:chExt cx="9664396" cy="5679553"/>
          </a:xfrm>
        </p:grpSpPr>
        <p:sp>
          <p:nvSpPr>
            <p:cNvPr id="46" name="Textfeld 125"/>
            <p:cNvSpPr txBox="1"/>
            <p:nvPr userDrawn="1"/>
          </p:nvSpPr>
          <p:spPr bwMode="gray">
            <a:xfrm>
              <a:off x="169614" y="-137946"/>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11,60</a:t>
              </a:r>
            </a:p>
          </p:txBody>
        </p:sp>
        <p:cxnSp>
          <p:nvCxnSpPr>
            <p:cNvPr id="47" name="Gerade Verbindung 88"/>
            <p:cNvCxnSpPr/>
            <p:nvPr userDrawn="1"/>
          </p:nvCxnSpPr>
          <p:spPr bwMode="gray">
            <a:xfrm>
              <a:off x="395287" y="-380578"/>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48" name="Textfeld 125"/>
            <p:cNvSpPr txBox="1"/>
            <p:nvPr userDrawn="1"/>
          </p:nvSpPr>
          <p:spPr bwMode="gray">
            <a:xfrm>
              <a:off x="4468316" y="-247911"/>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0</a:t>
              </a:r>
            </a:p>
          </p:txBody>
        </p:sp>
        <p:cxnSp>
          <p:nvCxnSpPr>
            <p:cNvPr id="49" name="Gerade Verbindung 90"/>
            <p:cNvCxnSpPr/>
            <p:nvPr userDrawn="1"/>
          </p:nvCxnSpPr>
          <p:spPr bwMode="gray">
            <a:xfrm>
              <a:off x="4572000" y="-164554"/>
              <a:ext cx="0" cy="9465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50" name="Textfeld 125"/>
            <p:cNvSpPr txBox="1"/>
            <p:nvPr userDrawn="1"/>
          </p:nvSpPr>
          <p:spPr bwMode="gray">
            <a:xfrm>
              <a:off x="8765420" y="-137946"/>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11,60</a:t>
              </a:r>
            </a:p>
          </p:txBody>
        </p:sp>
        <p:cxnSp>
          <p:nvCxnSpPr>
            <p:cNvPr id="51" name="Gerade Verbindung 95"/>
            <p:cNvCxnSpPr/>
            <p:nvPr userDrawn="1"/>
          </p:nvCxnSpPr>
          <p:spPr bwMode="gray">
            <a:xfrm>
              <a:off x="8745367" y="-380578"/>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Gerade Verbindung 96"/>
            <p:cNvCxnSpPr/>
            <p:nvPr userDrawn="1"/>
          </p:nvCxnSpPr>
          <p:spPr bwMode="gray">
            <a:xfrm>
              <a:off x="395287" y="5205375"/>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3" name="Gerade Verbindung 97"/>
            <p:cNvCxnSpPr/>
            <p:nvPr userDrawn="1"/>
          </p:nvCxnSpPr>
          <p:spPr bwMode="gray">
            <a:xfrm>
              <a:off x="4572000" y="5205375"/>
              <a:ext cx="0"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p:cNvCxnSpPr/>
            <p:nvPr userDrawn="1"/>
          </p:nvCxnSpPr>
          <p:spPr bwMode="gray">
            <a:xfrm>
              <a:off x="8745367" y="5205375"/>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55" name="Textfeld 125"/>
            <p:cNvSpPr txBox="1"/>
            <p:nvPr userDrawn="1"/>
          </p:nvSpPr>
          <p:spPr bwMode="gray">
            <a:xfrm>
              <a:off x="-270016" y="4604219"/>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5,</a:t>
              </a:r>
              <a:r>
                <a:rPr lang="de-DE" sz="600" noProof="0" dirty="0">
                  <a:solidFill>
                    <a:schemeClr val="tx2"/>
                  </a:solidFill>
                </a:rPr>
                <a:t>6</a:t>
              </a:r>
              <a:r>
                <a:rPr lang="pl-PL" sz="600" noProof="0" dirty="0">
                  <a:solidFill>
                    <a:schemeClr val="tx2"/>
                  </a:solidFill>
                </a:rPr>
                <a:t>0</a:t>
              </a:r>
            </a:p>
          </p:txBody>
        </p:sp>
        <p:cxnSp>
          <p:nvCxnSpPr>
            <p:cNvPr id="56" name="Gerade Verbindung 103"/>
            <p:cNvCxnSpPr/>
            <p:nvPr userDrawn="1"/>
          </p:nvCxnSpPr>
          <p:spPr bwMode="gray">
            <a:xfrm rot="5400000">
              <a:off x="-217989" y="4425629"/>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57" name="Textfeld 125"/>
            <p:cNvSpPr txBox="1"/>
            <p:nvPr userDrawn="1"/>
          </p:nvSpPr>
          <p:spPr bwMode="gray">
            <a:xfrm>
              <a:off x="-270016" y="1042102"/>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4,00</a:t>
              </a:r>
            </a:p>
          </p:txBody>
        </p:sp>
        <p:cxnSp>
          <p:nvCxnSpPr>
            <p:cNvPr id="58" name="Gerade Verbindung 105"/>
            <p:cNvCxnSpPr/>
            <p:nvPr userDrawn="1"/>
          </p:nvCxnSpPr>
          <p:spPr bwMode="gray">
            <a:xfrm rot="5400000">
              <a:off x="-217989" y="970017"/>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59" name="Textfeld 125"/>
            <p:cNvSpPr txBox="1"/>
            <p:nvPr userDrawn="1"/>
          </p:nvSpPr>
          <p:spPr bwMode="gray">
            <a:xfrm>
              <a:off x="-325696" y="2825353"/>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0</a:t>
              </a:r>
              <a:r>
                <a:rPr lang="de-DE" sz="600" noProof="0" dirty="0">
                  <a:solidFill>
                    <a:schemeClr val="tx2"/>
                  </a:solidFill>
                </a:rPr>
                <a:t>,8</a:t>
              </a:r>
              <a:endParaRPr lang="pl-PL" sz="600" noProof="0" dirty="0">
                <a:solidFill>
                  <a:schemeClr val="tx2"/>
                </a:solidFill>
              </a:endParaRPr>
            </a:p>
          </p:txBody>
        </p:sp>
        <p:cxnSp>
          <p:nvCxnSpPr>
            <p:cNvPr id="60" name="Gerade Verbindung 107"/>
            <p:cNvCxnSpPr/>
            <p:nvPr userDrawn="1"/>
          </p:nvCxnSpPr>
          <p:spPr bwMode="gray">
            <a:xfrm rot="16200000">
              <a:off x="-109977" y="2815134"/>
              <a:ext cx="0" cy="9465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Gerade Verbindung 108"/>
            <p:cNvCxnSpPr/>
            <p:nvPr userDrawn="1"/>
          </p:nvCxnSpPr>
          <p:spPr bwMode="gray">
            <a:xfrm rot="5400000">
              <a:off x="9244266" y="4534169"/>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2" name="Gerade Verbindung 109"/>
            <p:cNvCxnSpPr/>
            <p:nvPr userDrawn="1"/>
          </p:nvCxnSpPr>
          <p:spPr bwMode="gray">
            <a:xfrm rot="5400000">
              <a:off x="9244266" y="1078557"/>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 name="Gerade Verbindung 110"/>
            <p:cNvCxnSpPr/>
            <p:nvPr userDrawn="1"/>
          </p:nvCxnSpPr>
          <p:spPr bwMode="gray">
            <a:xfrm rot="16200000">
              <a:off x="9244266" y="2815662"/>
              <a:ext cx="0"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7707074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3500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23" name="think-cell Folie" r:id="rId4" imgW="245" imgH="245" progId="TCLayout.ActiveDocument.1">
                  <p:embed/>
                </p:oleObj>
              </mc:Choice>
              <mc:Fallback>
                <p:oleObj name="think-cell Folie" r:id="rId4" imgW="245" imgH="24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bwMode="gray">
          <a:xfrm>
            <a:off x="0" y="0"/>
            <a:ext cx="9144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 name="Title 1"/>
          <p:cNvSpPr>
            <a:spLocks noGrp="1"/>
          </p:cNvSpPr>
          <p:nvPr>
            <p:ph type="title" hasCustomPrompt="1"/>
          </p:nvPr>
        </p:nvSpPr>
        <p:spPr bwMode="gray">
          <a:xfrm>
            <a:off x="468312" y="1527176"/>
            <a:ext cx="5075238" cy="3060798"/>
          </a:xfrm>
        </p:spPr>
        <p:txBody>
          <a:bodyPr anchor="b"/>
          <a:lstStyle>
            <a:lvl1pPr>
              <a:defRPr sz="4400" baseline="0">
                <a:solidFill>
                  <a:schemeClr val="bg1"/>
                </a:solidFill>
              </a:defRPr>
            </a:lvl1pPr>
          </a:lstStyle>
          <a:p>
            <a:r>
              <a:rPr lang="de-DE" noProof="0" dirty="0" err="1"/>
              <a:t>Kapiteltrenner</a:t>
            </a:r>
            <a:r>
              <a:rPr lang="de-DE" noProof="0" dirty="0"/>
              <a:t> - </a:t>
            </a:r>
            <a:br>
              <a:rPr lang="de-DE" noProof="0" dirty="0"/>
            </a:br>
            <a:r>
              <a:rPr lang="de-DE" noProof="0" dirty="0"/>
              <a:t>Text eintragen</a:t>
            </a:r>
          </a:p>
        </p:txBody>
      </p:sp>
      <p:sp>
        <p:nvSpPr>
          <p:cNvPr id="13" name="Date Placeholder 4"/>
          <p:cNvSpPr>
            <a:spLocks noGrp="1"/>
          </p:cNvSpPr>
          <p:nvPr>
            <p:ph type="dt" sz="half" idx="10"/>
          </p:nvPr>
        </p:nvSpPr>
        <p:spPr>
          <a:xfrm>
            <a:off x="7956376" y="5236046"/>
            <a:ext cx="657959" cy="136050"/>
          </a:xfrm>
          <a:prstGeom prst="rect">
            <a:avLst/>
          </a:prstGeom>
        </p:spPr>
        <p:txBody>
          <a:bodyPr/>
          <a:lstStyle>
            <a:lvl1pPr>
              <a:defRPr>
                <a:solidFill>
                  <a:schemeClr val="accent1">
                    <a:alpha val="0"/>
                  </a:schemeClr>
                </a:solidFill>
              </a:defRPr>
            </a:lvl1pPr>
          </a:lstStyle>
          <a:p>
            <a:endParaRPr lang="de-DE" noProof="0" dirty="0"/>
          </a:p>
        </p:txBody>
      </p:sp>
      <p:sp>
        <p:nvSpPr>
          <p:cNvPr id="14" name="Footer Placeholder 5"/>
          <p:cNvSpPr>
            <a:spLocks noGrp="1"/>
          </p:cNvSpPr>
          <p:nvPr>
            <p:ph type="ftr" sz="quarter" idx="11"/>
          </p:nvPr>
        </p:nvSpPr>
        <p:spPr>
          <a:xfrm>
            <a:off x="5543550" y="5236046"/>
            <a:ext cx="2412826" cy="136050"/>
          </a:xfrm>
          <a:prstGeom prst="rect">
            <a:avLst/>
          </a:prstGeom>
        </p:spPr>
        <p:txBody>
          <a:bodyPr/>
          <a:lstStyle>
            <a:lvl1pPr>
              <a:defRPr>
                <a:solidFill>
                  <a:schemeClr val="accent1">
                    <a:alpha val="0"/>
                  </a:schemeClr>
                </a:solidFill>
              </a:defRPr>
            </a:lvl1pPr>
          </a:lstStyle>
          <a:p>
            <a:endParaRPr lang="de-DE" noProof="0" dirty="0"/>
          </a:p>
        </p:txBody>
      </p:sp>
      <p:sp>
        <p:nvSpPr>
          <p:cNvPr id="15" name="Slide Number Placeholder 6"/>
          <p:cNvSpPr>
            <a:spLocks noGrp="1"/>
          </p:cNvSpPr>
          <p:nvPr>
            <p:ph type="sldNum" sz="quarter" idx="12"/>
          </p:nvPr>
        </p:nvSpPr>
        <p:spPr>
          <a:xfrm>
            <a:off x="8580769" y="5236046"/>
            <a:ext cx="563231" cy="136050"/>
          </a:xfrm>
          <a:prstGeom prst="rect">
            <a:avLst/>
          </a:prstGeom>
        </p:spPr>
        <p:txBody>
          <a:bodyPr/>
          <a:lstStyle>
            <a:lvl1pPr>
              <a:defRPr>
                <a:solidFill>
                  <a:schemeClr val="accent1">
                    <a:alpha val="0"/>
                  </a:schemeClr>
                </a:solidFill>
              </a:defRPr>
            </a:lvl1pPr>
          </a:lstStyle>
          <a:p>
            <a:r>
              <a:rPr lang="de-DE" noProof="0" dirty="0"/>
              <a:t> </a:t>
            </a:r>
            <a:r>
              <a:rPr lang="de-DE" noProof="0" dirty="0">
                <a:sym typeface="Wingdings"/>
              </a:rPr>
              <a:t>  </a:t>
            </a:r>
            <a:fld id="{443B15C8-972D-49F6-9B7C-5A2154A8C95F}" type="slidenum">
              <a:rPr lang="de-DE" noProof="0" smtClean="0"/>
              <a:pPr/>
              <a:t>‹Nr.›</a:t>
            </a:fld>
            <a:endParaRPr lang="de-DE" noProof="0" dirty="0"/>
          </a:p>
        </p:txBody>
      </p:sp>
    </p:spTree>
    <p:extLst>
      <p:ext uri="{BB962C8B-B14F-4D97-AF65-F5344CB8AC3E}">
        <p14:creationId xmlns:p14="http://schemas.microsoft.com/office/powerpoint/2010/main" val="5649360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enutzerdefiniertes Layout">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endParaRPr lang="cs-CZ" dirty="0"/>
          </a:p>
        </p:txBody>
      </p:sp>
      <p:sp>
        <p:nvSpPr>
          <p:cNvPr id="4" name="Fußzeilenplatzhalter 3"/>
          <p:cNvSpPr>
            <a:spLocks noGrp="1"/>
          </p:cNvSpPr>
          <p:nvPr>
            <p:ph type="ftr" sz="quarter" idx="11"/>
          </p:nvPr>
        </p:nvSpPr>
        <p:spPr/>
        <p:txBody>
          <a:bodyPr/>
          <a:lstStyle/>
          <a:p>
            <a:endParaRPr lang="cs-CZ" noProof="0" dirty="0"/>
          </a:p>
        </p:txBody>
      </p:sp>
      <p:sp>
        <p:nvSpPr>
          <p:cNvPr id="5" name="Foliennummernplatzhalter 4"/>
          <p:cNvSpPr>
            <a:spLocks noGrp="1"/>
          </p:cNvSpPr>
          <p:nvPr>
            <p:ph type="sldNum" sz="quarter" idx="12"/>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28681845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48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Objekt 2" hidden="1"/>
          <p:cNvPicPr>
            <a:picLocks noChangeAspect="1"/>
          </p:cNvPicPr>
          <p:nvPr>
            <p:custDataLst>
              <p:tags r:id="rId3"/>
            </p:custDataLst>
          </p:nvPr>
        </p:nvPicPr>
        <p:blipFill>
          <a:blip r:embed="rId7"/>
          <a:stretch>
            <a:fillRect/>
          </a:stretch>
        </p:blipFill>
        <p:spPr>
          <a:xfrm>
            <a:off x="1588" y="1588"/>
            <a:ext cx="1587" cy="1587"/>
          </a:xfrm>
          <a:prstGeom prst="rect">
            <a:avLst/>
          </a:prstGeom>
        </p:spPr>
      </p:pic>
      <p:sp>
        <p:nvSpPr>
          <p:cNvPr id="2" name="Title 1"/>
          <p:cNvSpPr>
            <a:spLocks noGrp="1"/>
          </p:cNvSpPr>
          <p:nvPr>
            <p:ph type="title" hasCustomPrompt="1"/>
          </p:nvPr>
        </p:nvSpPr>
        <p:spPr bwMode="gray"/>
        <p:txBody>
          <a:bodyPr/>
          <a:lstStyle/>
          <a:p>
            <a:r>
              <a:rPr lang="de-DE" noProof="0" dirty="0"/>
              <a:t>Folientitel</a:t>
            </a:r>
          </a:p>
        </p:txBody>
      </p:sp>
      <p:sp>
        <p:nvSpPr>
          <p:cNvPr id="12" name="Text Placeholder 4"/>
          <p:cNvSpPr>
            <a:spLocks noGrp="1"/>
          </p:cNvSpPr>
          <p:nvPr>
            <p:ph type="body" sz="quarter" idx="20" hasCustomPrompt="1"/>
          </p:nvPr>
        </p:nvSpPr>
        <p:spPr bwMode="gray">
          <a:xfrm>
            <a:off x="468312" y="339725"/>
            <a:ext cx="5075238" cy="144463"/>
          </a:xfrm>
        </p:spPr>
        <p:txBody>
          <a:bodyPr wrap="none" bIns="18000" anchor="b"/>
          <a:lstStyle>
            <a:lvl1pPr marL="0" indent="0">
              <a:lnSpc>
                <a:spcPct val="100000"/>
              </a:lnSpc>
              <a:spcBef>
                <a:spcPts val="0"/>
              </a:spcBef>
              <a:spcAft>
                <a:spcPts val="0"/>
              </a:spcAft>
              <a:buFont typeface="Arial" panose="020B0604020202020204" pitchFamily="34" charset="0"/>
              <a:buNone/>
              <a:defRPr sz="1000" b="1" cap="all" baseline="0">
                <a:solidFill>
                  <a:schemeClr val="accent4"/>
                </a:solidFill>
              </a:defRPr>
            </a:lvl1pPr>
            <a:lvl2pPr marL="0" indent="0">
              <a:lnSpc>
                <a:spcPct val="100000"/>
              </a:lnSpc>
              <a:spcBef>
                <a:spcPts val="0"/>
              </a:spcBef>
              <a:spcAft>
                <a:spcPts val="0"/>
              </a:spcAft>
              <a:buNone/>
              <a:defRPr sz="1000" b="1" cap="all">
                <a:solidFill>
                  <a:schemeClr val="accent4"/>
                </a:solidFill>
              </a:defRPr>
            </a:lvl2pPr>
            <a:lvl3pPr marL="0" indent="0">
              <a:lnSpc>
                <a:spcPct val="100000"/>
              </a:lnSpc>
              <a:spcBef>
                <a:spcPts val="0"/>
              </a:spcBef>
              <a:spcAft>
                <a:spcPts val="0"/>
              </a:spcAft>
              <a:buNone/>
              <a:defRPr sz="1000" b="1" cap="all">
                <a:solidFill>
                  <a:schemeClr val="accent4"/>
                </a:solidFill>
              </a:defRPr>
            </a:lvl3pPr>
            <a:lvl4pPr marL="0" indent="0">
              <a:lnSpc>
                <a:spcPct val="100000"/>
              </a:lnSpc>
              <a:spcBef>
                <a:spcPts val="0"/>
              </a:spcBef>
              <a:spcAft>
                <a:spcPts val="0"/>
              </a:spcAft>
              <a:buFont typeface="Arial" panose="020B0604020202020204" pitchFamily="34" charset="0"/>
              <a:buNone/>
              <a:defRPr sz="1000" b="1" cap="all">
                <a:solidFill>
                  <a:schemeClr val="accent4"/>
                </a:solidFill>
              </a:defRPr>
            </a:lvl4pPr>
            <a:lvl5pPr marL="0" indent="0">
              <a:lnSpc>
                <a:spcPct val="100000"/>
              </a:lnSpc>
              <a:spcBef>
                <a:spcPts val="0"/>
              </a:spcBef>
              <a:spcAft>
                <a:spcPts val="0"/>
              </a:spcAft>
              <a:buFont typeface="Arial" panose="020B0604020202020204" pitchFamily="34" charset="0"/>
              <a:buNone/>
              <a:defRPr sz="1000" b="1" cap="all">
                <a:solidFill>
                  <a:schemeClr val="accent4"/>
                </a:solidFill>
              </a:defRPr>
            </a:lvl5pPr>
            <a:lvl6pPr marL="0" indent="0">
              <a:lnSpc>
                <a:spcPct val="100000"/>
              </a:lnSpc>
              <a:spcBef>
                <a:spcPts val="0"/>
              </a:spcBef>
              <a:spcAft>
                <a:spcPts val="0"/>
              </a:spcAft>
              <a:buFont typeface="Arial" panose="020B0604020202020204" pitchFamily="34" charset="0"/>
              <a:buNone/>
              <a:defRPr sz="1000" b="1" cap="all">
                <a:solidFill>
                  <a:schemeClr val="accent4"/>
                </a:solidFill>
              </a:defRPr>
            </a:lvl6pPr>
            <a:lvl7pPr marL="0" indent="0">
              <a:lnSpc>
                <a:spcPct val="100000"/>
              </a:lnSpc>
              <a:spcBef>
                <a:spcPts val="0"/>
              </a:spcBef>
              <a:spcAft>
                <a:spcPts val="0"/>
              </a:spcAft>
              <a:buFont typeface="Arial" panose="020B0604020202020204" pitchFamily="34" charset="0"/>
              <a:buNone/>
              <a:defRPr sz="1000" b="1" cap="all">
                <a:solidFill>
                  <a:schemeClr val="accent4"/>
                </a:solidFill>
              </a:defRPr>
            </a:lvl7pPr>
            <a:lvl8pPr marL="0" indent="0">
              <a:lnSpc>
                <a:spcPct val="100000"/>
              </a:lnSpc>
              <a:spcBef>
                <a:spcPts val="0"/>
              </a:spcBef>
              <a:spcAft>
                <a:spcPts val="0"/>
              </a:spcAft>
              <a:buFont typeface="Arial" panose="020B0604020202020204" pitchFamily="34" charset="0"/>
              <a:buNone/>
              <a:defRPr sz="1000" b="1" cap="all">
                <a:solidFill>
                  <a:schemeClr val="accent4"/>
                </a:solidFill>
              </a:defRPr>
            </a:lvl8pPr>
            <a:lvl9pPr marL="0" indent="0">
              <a:lnSpc>
                <a:spcPct val="100000"/>
              </a:lnSpc>
              <a:spcBef>
                <a:spcPts val="0"/>
              </a:spcBef>
              <a:spcAft>
                <a:spcPts val="0"/>
              </a:spcAft>
              <a:buFont typeface="Arial" panose="020B0604020202020204" pitchFamily="34" charset="0"/>
              <a:buNone/>
              <a:defRPr sz="1000" b="1" cap="all">
                <a:solidFill>
                  <a:schemeClr val="accent4"/>
                </a:solidFill>
              </a:defRPr>
            </a:lvl9pPr>
          </a:lstStyle>
          <a:p>
            <a:pPr lvl="0"/>
            <a:r>
              <a:rPr lang="de-DE" noProof="0" dirty="0"/>
              <a:t>Kapitelüberschrift (OPTIONAL)</a:t>
            </a:r>
          </a:p>
        </p:txBody>
      </p:sp>
      <p:sp>
        <p:nvSpPr>
          <p:cNvPr id="11" name="ClipArt Placeholder 5"/>
          <p:cNvSpPr>
            <a:spLocks noGrp="1"/>
          </p:cNvSpPr>
          <p:nvPr>
            <p:ph type="clipArt" sz="quarter" idx="24"/>
          </p:nvPr>
        </p:nvSpPr>
        <p:spPr>
          <a:xfrm>
            <a:off x="7895176" y="4874400"/>
            <a:ext cx="61200" cy="61200"/>
          </a:xfrm>
          <a:solidFill>
            <a:schemeClr val="accent1"/>
          </a:solidFill>
        </p:spPr>
        <p:txBody>
          <a:bodyPr wrap="none" rIns="0"/>
          <a:lstStyle>
            <a:lvl1pPr algn="ctr">
              <a:defRPr sz="100">
                <a:solidFill>
                  <a:schemeClr val="tx1">
                    <a:alpha val="0"/>
                  </a:schemeClr>
                </a:solidFill>
              </a:defRPr>
            </a:lvl1pPr>
          </a:lstStyle>
          <a:p>
            <a:r>
              <a:rPr lang="de-DE" noProof="0"/>
              <a:t>ClipArt durch Klicken auf Symbol hinzufügen</a:t>
            </a:r>
            <a:endParaRPr lang="de-DE" noProof="0" dirty="0"/>
          </a:p>
        </p:txBody>
      </p:sp>
      <p:sp>
        <p:nvSpPr>
          <p:cNvPr id="13" name="Date Placeholder 12"/>
          <p:cNvSpPr>
            <a:spLocks noGrp="1"/>
          </p:cNvSpPr>
          <p:nvPr>
            <p:ph type="dt" sz="half" idx="25"/>
          </p:nvPr>
        </p:nvSpPr>
        <p:spPr>
          <a:xfrm>
            <a:off x="7956376" y="4836160"/>
            <a:ext cx="657959" cy="136050"/>
          </a:xfrm>
          <a:prstGeom prst="rect">
            <a:avLst/>
          </a:prstGeom>
        </p:spPr>
        <p:txBody>
          <a:bodyPr/>
          <a:lstStyle/>
          <a:p>
            <a:endParaRPr lang="de-DE" noProof="0" dirty="0"/>
          </a:p>
        </p:txBody>
      </p:sp>
      <p:sp>
        <p:nvSpPr>
          <p:cNvPr id="14" name="Footer Placeholder 16"/>
          <p:cNvSpPr>
            <a:spLocks noGrp="1"/>
          </p:cNvSpPr>
          <p:nvPr>
            <p:ph type="ftr" sz="quarter" idx="26"/>
          </p:nvPr>
        </p:nvSpPr>
        <p:spPr>
          <a:xfrm>
            <a:off x="5543550" y="4836160"/>
            <a:ext cx="2412826" cy="136050"/>
          </a:xfrm>
          <a:prstGeom prst="rect">
            <a:avLst/>
          </a:prstGeom>
        </p:spPr>
        <p:txBody>
          <a:bodyPr/>
          <a:lstStyle>
            <a:lvl1pPr>
              <a:defRPr/>
            </a:lvl1pPr>
          </a:lstStyle>
          <a:p>
            <a:endParaRPr lang="de-DE" noProof="0" dirty="0"/>
          </a:p>
        </p:txBody>
      </p:sp>
      <p:sp>
        <p:nvSpPr>
          <p:cNvPr id="15" name="Slide Number Placeholder 17"/>
          <p:cNvSpPr>
            <a:spLocks noGrp="1"/>
          </p:cNvSpPr>
          <p:nvPr>
            <p:ph type="sldNum" sz="quarter" idx="27"/>
          </p:nvPr>
        </p:nvSpPr>
        <p:spPr>
          <a:xfrm>
            <a:off x="8580769" y="4836160"/>
            <a:ext cx="563231" cy="136050"/>
          </a:xfrm>
          <a:prstGeom prst="rect">
            <a:avLst/>
          </a:prstGeom>
        </p:spPr>
        <p:txBody>
          <a:bodyPr/>
          <a:lstStyle/>
          <a:p>
            <a:r>
              <a:rPr lang="de-DE" noProof="0" dirty="0"/>
              <a:t> </a:t>
            </a:r>
            <a:r>
              <a:rPr lang="de-DE" noProof="0" dirty="0">
                <a:sym typeface="Wingdings"/>
              </a:rPr>
              <a:t>  </a:t>
            </a:r>
            <a:fld id="{443B15C8-972D-49F6-9B7C-5A2154A8C95F}" type="slidenum">
              <a:rPr lang="de-DE" noProof="0" smtClean="0"/>
              <a:pPr/>
              <a:t>‹Nr.›</a:t>
            </a:fld>
            <a:endParaRPr lang="de-DE" noProof="0" dirty="0"/>
          </a:p>
        </p:txBody>
      </p:sp>
    </p:spTree>
    <p:extLst>
      <p:ext uri="{BB962C8B-B14F-4D97-AF65-F5344CB8AC3E}">
        <p14:creationId xmlns:p14="http://schemas.microsoft.com/office/powerpoint/2010/main" val="334306636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51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gray"/>
        <p:txBody>
          <a:bodyPr/>
          <a:lstStyle/>
          <a:p>
            <a:r>
              <a:rPr lang="de-DE" noProof="0" dirty="0"/>
              <a:t>Folientitel</a:t>
            </a:r>
          </a:p>
        </p:txBody>
      </p:sp>
      <p:sp>
        <p:nvSpPr>
          <p:cNvPr id="12" name="Text Placeholder 4"/>
          <p:cNvSpPr>
            <a:spLocks noGrp="1"/>
          </p:cNvSpPr>
          <p:nvPr>
            <p:ph type="body" sz="quarter" idx="20" hasCustomPrompt="1"/>
          </p:nvPr>
        </p:nvSpPr>
        <p:spPr bwMode="gray">
          <a:xfrm>
            <a:off x="468312" y="339725"/>
            <a:ext cx="5075238" cy="144463"/>
          </a:xfrm>
        </p:spPr>
        <p:txBody>
          <a:bodyPr wrap="none" bIns="18000" anchor="b"/>
          <a:lstStyle>
            <a:lvl1pPr marL="0" indent="0">
              <a:lnSpc>
                <a:spcPct val="100000"/>
              </a:lnSpc>
              <a:spcBef>
                <a:spcPts val="0"/>
              </a:spcBef>
              <a:spcAft>
                <a:spcPts val="0"/>
              </a:spcAft>
              <a:buFont typeface="Arial" panose="020B0604020202020204" pitchFamily="34" charset="0"/>
              <a:buNone/>
              <a:defRPr sz="1000" b="1" cap="all" baseline="0">
                <a:solidFill>
                  <a:schemeClr val="accent4"/>
                </a:solidFill>
              </a:defRPr>
            </a:lvl1pPr>
            <a:lvl2pPr marL="0" indent="0">
              <a:lnSpc>
                <a:spcPct val="100000"/>
              </a:lnSpc>
              <a:spcBef>
                <a:spcPts val="0"/>
              </a:spcBef>
              <a:spcAft>
                <a:spcPts val="0"/>
              </a:spcAft>
              <a:buNone/>
              <a:defRPr sz="1000" b="1" cap="all">
                <a:solidFill>
                  <a:schemeClr val="accent4"/>
                </a:solidFill>
              </a:defRPr>
            </a:lvl2pPr>
            <a:lvl3pPr marL="0" indent="0">
              <a:lnSpc>
                <a:spcPct val="100000"/>
              </a:lnSpc>
              <a:spcBef>
                <a:spcPts val="0"/>
              </a:spcBef>
              <a:spcAft>
                <a:spcPts val="0"/>
              </a:spcAft>
              <a:buNone/>
              <a:defRPr sz="1000" b="1" cap="all">
                <a:solidFill>
                  <a:schemeClr val="accent4"/>
                </a:solidFill>
              </a:defRPr>
            </a:lvl3pPr>
            <a:lvl4pPr marL="0" indent="0">
              <a:lnSpc>
                <a:spcPct val="100000"/>
              </a:lnSpc>
              <a:spcBef>
                <a:spcPts val="0"/>
              </a:spcBef>
              <a:spcAft>
                <a:spcPts val="0"/>
              </a:spcAft>
              <a:buFont typeface="Arial" panose="020B0604020202020204" pitchFamily="34" charset="0"/>
              <a:buNone/>
              <a:defRPr sz="1000" b="1" cap="all">
                <a:solidFill>
                  <a:schemeClr val="accent4"/>
                </a:solidFill>
              </a:defRPr>
            </a:lvl4pPr>
            <a:lvl5pPr marL="0" indent="0">
              <a:lnSpc>
                <a:spcPct val="100000"/>
              </a:lnSpc>
              <a:spcBef>
                <a:spcPts val="0"/>
              </a:spcBef>
              <a:spcAft>
                <a:spcPts val="0"/>
              </a:spcAft>
              <a:buFont typeface="Arial" panose="020B0604020202020204" pitchFamily="34" charset="0"/>
              <a:buNone/>
              <a:defRPr sz="1000" b="1" cap="all">
                <a:solidFill>
                  <a:schemeClr val="accent4"/>
                </a:solidFill>
              </a:defRPr>
            </a:lvl5pPr>
            <a:lvl6pPr marL="0" indent="0">
              <a:lnSpc>
                <a:spcPct val="100000"/>
              </a:lnSpc>
              <a:spcBef>
                <a:spcPts val="0"/>
              </a:spcBef>
              <a:spcAft>
                <a:spcPts val="0"/>
              </a:spcAft>
              <a:buFont typeface="Arial" panose="020B0604020202020204" pitchFamily="34" charset="0"/>
              <a:buNone/>
              <a:defRPr sz="1000" b="1" cap="all">
                <a:solidFill>
                  <a:schemeClr val="accent4"/>
                </a:solidFill>
              </a:defRPr>
            </a:lvl6pPr>
            <a:lvl7pPr marL="0" indent="0">
              <a:lnSpc>
                <a:spcPct val="100000"/>
              </a:lnSpc>
              <a:spcBef>
                <a:spcPts val="0"/>
              </a:spcBef>
              <a:spcAft>
                <a:spcPts val="0"/>
              </a:spcAft>
              <a:buFont typeface="Arial" panose="020B0604020202020204" pitchFamily="34" charset="0"/>
              <a:buNone/>
              <a:defRPr sz="1000" b="1" cap="all">
                <a:solidFill>
                  <a:schemeClr val="accent4"/>
                </a:solidFill>
              </a:defRPr>
            </a:lvl7pPr>
            <a:lvl8pPr marL="0" indent="0">
              <a:lnSpc>
                <a:spcPct val="100000"/>
              </a:lnSpc>
              <a:spcBef>
                <a:spcPts val="0"/>
              </a:spcBef>
              <a:spcAft>
                <a:spcPts val="0"/>
              </a:spcAft>
              <a:buFont typeface="Arial" panose="020B0604020202020204" pitchFamily="34" charset="0"/>
              <a:buNone/>
              <a:defRPr sz="1000" b="1" cap="all">
                <a:solidFill>
                  <a:schemeClr val="accent4"/>
                </a:solidFill>
              </a:defRPr>
            </a:lvl8pPr>
            <a:lvl9pPr marL="0" indent="0">
              <a:lnSpc>
                <a:spcPct val="100000"/>
              </a:lnSpc>
              <a:spcBef>
                <a:spcPts val="0"/>
              </a:spcBef>
              <a:spcAft>
                <a:spcPts val="0"/>
              </a:spcAft>
              <a:buFont typeface="Arial" panose="020B0604020202020204" pitchFamily="34" charset="0"/>
              <a:buNone/>
              <a:defRPr sz="1000" b="1" cap="all">
                <a:solidFill>
                  <a:schemeClr val="accent4"/>
                </a:solidFill>
              </a:defRPr>
            </a:lvl9pPr>
          </a:lstStyle>
          <a:p>
            <a:pPr lvl="0"/>
            <a:r>
              <a:rPr lang="de-DE" noProof="0" dirty="0"/>
              <a:t>Kapitelüberschrift (OPTIONAL)</a:t>
            </a:r>
          </a:p>
        </p:txBody>
      </p:sp>
      <p:sp>
        <p:nvSpPr>
          <p:cNvPr id="15" name="Slide Number Placeholder 17"/>
          <p:cNvSpPr>
            <a:spLocks noGrp="1"/>
          </p:cNvSpPr>
          <p:nvPr>
            <p:ph type="sldNum" sz="quarter" idx="27"/>
          </p:nvPr>
        </p:nvSpPr>
        <p:spPr>
          <a:xfrm>
            <a:off x="8580769" y="4836160"/>
            <a:ext cx="563231" cy="136050"/>
          </a:xfrm>
          <a:prstGeom prst="rect">
            <a:avLst/>
          </a:prstGeom>
        </p:spPr>
        <p:txBody>
          <a:bodyPr/>
          <a:lstStyle/>
          <a:p>
            <a:r>
              <a:rPr lang="de-DE" noProof="0" dirty="0"/>
              <a:t> </a:t>
            </a:r>
            <a:r>
              <a:rPr lang="de-DE" noProof="0" dirty="0">
                <a:sym typeface="Wingdings"/>
              </a:rPr>
              <a:t>  </a:t>
            </a:r>
            <a:fld id="{443B15C8-972D-49F6-9B7C-5A2154A8C95F}" type="slidenum">
              <a:rPr lang="de-DE" noProof="0" smtClean="0"/>
              <a:pPr/>
              <a:t>‹Nr.›</a:t>
            </a:fld>
            <a:endParaRPr lang="de-DE" noProof="0" dirty="0"/>
          </a:p>
        </p:txBody>
      </p:sp>
    </p:spTree>
    <p:extLst>
      <p:ext uri="{BB962C8B-B14F-4D97-AF65-F5344CB8AC3E}">
        <p14:creationId xmlns:p14="http://schemas.microsoft.com/office/powerpoint/2010/main" val="37468415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elfoli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1083517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268" name="think-cell Folie" r:id="rId4" imgW="245" imgH="245" progId="TCLayout.ActiveDocument.1">
                  <p:embed/>
                </p:oleObj>
              </mc:Choice>
              <mc:Fallback>
                <p:oleObj name="think-cell Folie" r:id="rId4" imgW="245" imgH="24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bwMode="gray">
          <a:xfrm>
            <a:off x="773357" y="2008981"/>
            <a:ext cx="4770193" cy="1609225"/>
          </a:xfrm>
          <a:solidFill>
            <a:schemeClr val="accent4"/>
          </a:solidFill>
        </p:spPr>
        <p:txBody>
          <a:bodyPr lIns="180000" tIns="144000" rIns="180000" bIns="144000">
            <a:noAutofit/>
          </a:bodyPr>
          <a:lstStyle>
            <a:lvl1pPr>
              <a:defRPr sz="3200">
                <a:solidFill>
                  <a:schemeClr val="bg1"/>
                </a:solidFill>
              </a:defRPr>
            </a:lvl1pPr>
          </a:lstStyle>
          <a:p>
            <a:r>
              <a:rPr lang="de-DE" noProof="0" dirty="0"/>
              <a:t>Präsentationstitel</a:t>
            </a:r>
            <a:br>
              <a:rPr lang="de-DE" noProof="0" dirty="0"/>
            </a:br>
            <a:r>
              <a:rPr lang="de-DE" noProof="0" dirty="0"/>
              <a:t>- maximal 2 Zeilen</a:t>
            </a:r>
          </a:p>
        </p:txBody>
      </p:sp>
      <p:sp>
        <p:nvSpPr>
          <p:cNvPr id="28" name="Subtitle 2"/>
          <p:cNvSpPr>
            <a:spLocks noGrp="1"/>
          </p:cNvSpPr>
          <p:nvPr>
            <p:ph type="subTitle" idx="1" hasCustomPrompt="1"/>
          </p:nvPr>
        </p:nvSpPr>
        <p:spPr bwMode="gray">
          <a:xfrm>
            <a:off x="773356" y="3075807"/>
            <a:ext cx="4770193" cy="542400"/>
          </a:xfrm>
        </p:spPr>
        <p:txBody>
          <a:bodyPr lIns="180000" tIns="108000" rIns="180000" bIns="108000" anchor="b"/>
          <a:lstStyle>
            <a:lvl1pPr marL="0" indent="0" algn="l">
              <a:lnSpc>
                <a:spcPct val="110000"/>
              </a:lnSpc>
              <a:spcBef>
                <a:spcPts val="0"/>
              </a:spcBef>
              <a:spcAft>
                <a:spcPts val="0"/>
              </a:spcAft>
              <a:buNone/>
              <a:defRPr sz="1200" cap="all" baseline="0">
                <a:solidFill>
                  <a:schemeClr val="bg1"/>
                </a:solidFill>
              </a:defRPr>
            </a:lvl1pPr>
            <a:lvl2pPr marL="0" indent="0" algn="l">
              <a:lnSpc>
                <a:spcPct val="110000"/>
              </a:lnSpc>
              <a:spcBef>
                <a:spcPts val="0"/>
              </a:spcBef>
              <a:spcAft>
                <a:spcPts val="0"/>
              </a:spcAft>
              <a:buNone/>
              <a:defRPr sz="1200" b="0" cap="all">
                <a:solidFill>
                  <a:schemeClr val="bg1"/>
                </a:solidFill>
              </a:defRPr>
            </a:lvl2pPr>
            <a:lvl3pPr marL="0" indent="0" algn="l">
              <a:lnSpc>
                <a:spcPct val="110000"/>
              </a:lnSpc>
              <a:spcBef>
                <a:spcPts val="0"/>
              </a:spcBef>
              <a:spcAft>
                <a:spcPts val="0"/>
              </a:spcAft>
              <a:buNone/>
              <a:defRPr sz="1200" b="0" cap="all">
                <a:solidFill>
                  <a:schemeClr val="bg1"/>
                </a:solidFill>
              </a:defRPr>
            </a:lvl3pPr>
            <a:lvl4pPr marL="0" indent="0" algn="l">
              <a:lnSpc>
                <a:spcPct val="110000"/>
              </a:lnSpc>
              <a:spcBef>
                <a:spcPts val="0"/>
              </a:spcBef>
              <a:spcAft>
                <a:spcPts val="0"/>
              </a:spcAft>
              <a:buNone/>
              <a:defRPr sz="1200" b="0" cap="all">
                <a:solidFill>
                  <a:schemeClr val="bg1"/>
                </a:solidFill>
              </a:defRPr>
            </a:lvl4pPr>
            <a:lvl5pPr marL="0" indent="0" algn="l">
              <a:lnSpc>
                <a:spcPct val="110000"/>
              </a:lnSpc>
              <a:spcBef>
                <a:spcPts val="0"/>
              </a:spcBef>
              <a:spcAft>
                <a:spcPts val="0"/>
              </a:spcAft>
              <a:buNone/>
              <a:defRPr sz="1200" b="0" cap="all">
                <a:solidFill>
                  <a:schemeClr val="bg1"/>
                </a:solidFill>
              </a:defRPr>
            </a:lvl5pPr>
            <a:lvl6pPr marL="0" indent="0" algn="l">
              <a:lnSpc>
                <a:spcPct val="110000"/>
              </a:lnSpc>
              <a:spcBef>
                <a:spcPts val="0"/>
              </a:spcBef>
              <a:spcAft>
                <a:spcPts val="0"/>
              </a:spcAft>
              <a:buNone/>
              <a:defRPr sz="1200" b="0" cap="all">
                <a:solidFill>
                  <a:schemeClr val="bg1"/>
                </a:solidFill>
              </a:defRPr>
            </a:lvl6pPr>
            <a:lvl7pPr marL="0" indent="0" algn="l">
              <a:lnSpc>
                <a:spcPct val="110000"/>
              </a:lnSpc>
              <a:spcBef>
                <a:spcPts val="0"/>
              </a:spcBef>
              <a:spcAft>
                <a:spcPts val="0"/>
              </a:spcAft>
              <a:buNone/>
              <a:defRPr sz="1200" b="0" cap="all">
                <a:solidFill>
                  <a:schemeClr val="bg1"/>
                </a:solidFill>
              </a:defRPr>
            </a:lvl7pPr>
            <a:lvl8pPr marL="0" indent="0" algn="l">
              <a:lnSpc>
                <a:spcPct val="110000"/>
              </a:lnSpc>
              <a:spcBef>
                <a:spcPts val="0"/>
              </a:spcBef>
              <a:spcAft>
                <a:spcPts val="0"/>
              </a:spcAft>
              <a:buNone/>
              <a:defRPr sz="1200" b="0" cap="all">
                <a:solidFill>
                  <a:schemeClr val="bg1"/>
                </a:solidFill>
              </a:defRPr>
            </a:lvl8pPr>
            <a:lvl9pPr marL="0" indent="0" algn="l">
              <a:lnSpc>
                <a:spcPct val="110000"/>
              </a:lnSpc>
              <a:spcBef>
                <a:spcPts val="0"/>
              </a:spcBef>
              <a:spcAft>
                <a:spcPts val="0"/>
              </a:spcAft>
              <a:buNone/>
              <a:defRPr sz="1200" b="0" cap="all">
                <a:solidFill>
                  <a:schemeClr val="bg1"/>
                </a:solidFill>
              </a:defRPr>
            </a:lvl9pPr>
          </a:lstStyle>
          <a:p>
            <a:pPr lvl="0"/>
            <a:r>
              <a:rPr lang="de-DE" noProof="0" dirty="0"/>
              <a:t>UNTERTITEL BEI BEDARF</a:t>
            </a:r>
            <a:br>
              <a:rPr lang="de-DE" noProof="0" dirty="0"/>
            </a:br>
            <a:r>
              <a:rPr lang="de-DE" noProof="0" dirty="0"/>
              <a:t>AUTOR, ORT, DATUM</a:t>
            </a:r>
          </a:p>
        </p:txBody>
      </p:sp>
      <p:sp>
        <p:nvSpPr>
          <p:cNvPr id="22" name="ClipArt Placeholder 88"/>
          <p:cNvSpPr>
            <a:spLocks noGrp="1"/>
          </p:cNvSpPr>
          <p:nvPr>
            <p:ph type="clipArt" sz="quarter" idx="13" hasCustomPrompt="1"/>
          </p:nvPr>
        </p:nvSpPr>
        <p:spPr bwMode="gray">
          <a:xfrm>
            <a:off x="0" y="1232694"/>
            <a:ext cx="630000" cy="630000"/>
          </a:xfrm>
          <a:solidFill>
            <a:schemeClr val="accent4"/>
          </a:solidFill>
        </p:spPr>
        <p:txBody>
          <a:bodyPr anchor="ctr"/>
          <a:lstStyle>
            <a:lvl1pPr algn="ctr">
              <a:defRPr sz="800" b="0" i="1">
                <a:solidFill>
                  <a:schemeClr val="bg1"/>
                </a:solidFill>
              </a:defRPr>
            </a:lvl1pPr>
          </a:lstStyle>
          <a:p>
            <a:r>
              <a:rPr lang="de-DE" noProof="0" dirty="0"/>
              <a:t>Füge dein</a:t>
            </a:r>
            <a:br>
              <a:rPr lang="de-DE" noProof="0" dirty="0"/>
            </a:br>
            <a:r>
              <a:rPr lang="de-DE" noProof="0" dirty="0"/>
              <a:t>Icon </a:t>
            </a:r>
            <a:br>
              <a:rPr lang="de-DE" noProof="0" dirty="0"/>
            </a:br>
            <a:r>
              <a:rPr lang="de-DE" noProof="0" dirty="0"/>
              <a:t>hier ein</a:t>
            </a:r>
          </a:p>
        </p:txBody>
      </p:sp>
      <p:sp>
        <p:nvSpPr>
          <p:cNvPr id="116" name="Picture Placeholder 3"/>
          <p:cNvSpPr>
            <a:spLocks noGrp="1"/>
          </p:cNvSpPr>
          <p:nvPr>
            <p:ph type="pic" sz="quarter" idx="18" hasCustomPrompt="1"/>
          </p:nvPr>
        </p:nvSpPr>
        <p:spPr bwMode="gray">
          <a:xfrm>
            <a:off x="0" y="0"/>
            <a:ext cx="9143999" cy="5143499"/>
          </a:xfrm>
          <a:custGeom>
            <a:avLst/>
            <a:gdLst/>
            <a:ahLst/>
            <a:cxnLst/>
            <a:rect l="l" t="t" r="r" b="b"/>
            <a:pathLst>
              <a:path w="9143999" h="5143499">
                <a:moveTo>
                  <a:pt x="7750850" y="109788"/>
                </a:moveTo>
                <a:lnTo>
                  <a:pt x="7750850" y="1394988"/>
                </a:lnTo>
                <a:lnTo>
                  <a:pt x="9036050" y="1394988"/>
                </a:lnTo>
                <a:lnTo>
                  <a:pt x="9036050" y="109788"/>
                </a:lnTo>
                <a:close/>
                <a:moveTo>
                  <a:pt x="0" y="0"/>
                </a:moveTo>
                <a:lnTo>
                  <a:pt x="9143999" y="0"/>
                </a:lnTo>
                <a:lnTo>
                  <a:pt x="9143999" y="5143499"/>
                </a:lnTo>
                <a:lnTo>
                  <a:pt x="0" y="5143499"/>
                </a:lnTo>
                <a:close/>
              </a:path>
            </a:pathLst>
          </a:custGeom>
          <a:noFill/>
        </p:spPr>
        <p:txBody>
          <a:bodyPr lIns="5040000" anchor="ctr"/>
          <a:lstStyle>
            <a:lvl1pPr marL="0" marR="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sz="1000">
                <a:solidFill>
                  <a:schemeClr val="tx1"/>
                </a:solidFill>
              </a:defRPr>
            </a:lvl1pPr>
          </a:lstStyle>
          <a:p>
            <a:r>
              <a:rPr lang="de-DE" noProof="0" dirty="0"/>
              <a:t/>
            </a:r>
            <a:br>
              <a:rPr lang="de-DE" noProof="0" dirty="0"/>
            </a:br>
            <a:r>
              <a:rPr lang="de-DE" noProof="0" dirty="0"/>
              <a:t>Klicke auf das Icon, um ein Bild einzufügen</a:t>
            </a:r>
            <a:br>
              <a:rPr lang="de-DE" noProof="0" dirty="0"/>
            </a:br>
            <a:r>
              <a:rPr lang="de-DE" noProof="0" dirty="0"/>
              <a:t/>
            </a:r>
            <a:br>
              <a:rPr lang="de-DE" noProof="0" dirty="0"/>
            </a:br>
            <a:r>
              <a:rPr lang="de-DE" noProof="0" dirty="0"/>
              <a:t>Verschiebe das Bild in den Hintergrund, um den Text zu bearbeiten </a:t>
            </a:r>
            <a:br>
              <a:rPr lang="de-DE" noProof="0" dirty="0"/>
            </a:br>
            <a:r>
              <a:rPr lang="de-DE" noProof="0" dirty="0"/>
              <a:t>(Bild auswählen &gt; Start &gt; Anordnen &gt; „In den Hintergrund“)</a:t>
            </a:r>
            <a:br>
              <a:rPr lang="de-DE" noProof="0" dirty="0"/>
            </a:br>
            <a:r>
              <a:rPr lang="de-DE" noProof="0" dirty="0"/>
              <a:t/>
            </a:r>
            <a:br>
              <a:rPr lang="de-DE" noProof="0" dirty="0"/>
            </a:br>
            <a:r>
              <a:rPr lang="de-DE" noProof="0" dirty="0"/>
              <a:t>Bitte verwende für deine Präsentation vorrangig Bilder aus unserer Folienbibliothek. Solltest du dort kein passendes Motiv finden, dann achte bei der Suche bitte auf unsere Kaufland Bildsprache: </a:t>
            </a:r>
            <a:br>
              <a:rPr lang="de-DE" noProof="0" dirty="0"/>
            </a:br>
            <a:r>
              <a:rPr lang="de-DE" noProof="0" dirty="0"/>
              <a:t/>
            </a:r>
            <a:br>
              <a:rPr lang="de-DE" noProof="0" dirty="0"/>
            </a:br>
            <a:r>
              <a:rPr lang="de-DE" noProof="0" dirty="0"/>
              <a:t>Wir zeigen Menschen, Mitarbeiter und Produkte immer in realistischen Alltagssituationen – </a:t>
            </a:r>
            <a:r>
              <a:rPr lang="de-DE" noProof="0" dirty="0" err="1"/>
              <a:t>ungestellt</a:t>
            </a:r>
            <a:r>
              <a:rPr lang="de-DE" noProof="0" dirty="0"/>
              <a:t>, lebendig und authentisch. </a:t>
            </a:r>
          </a:p>
          <a:p>
            <a:endParaRPr lang="de-DE" noProof="0" dirty="0"/>
          </a:p>
        </p:txBody>
      </p:sp>
      <p:grpSp>
        <p:nvGrpSpPr>
          <p:cNvPr id="137" name="Gruppieren 136"/>
          <p:cNvGrpSpPr/>
          <p:nvPr/>
        </p:nvGrpSpPr>
        <p:grpSpPr>
          <a:xfrm>
            <a:off x="7750850" y="109788"/>
            <a:ext cx="1285200" cy="1285200"/>
            <a:chOff x="-3889375" y="0"/>
            <a:chExt cx="3600450" cy="3600450"/>
          </a:xfrm>
        </p:grpSpPr>
        <p:sp>
          <p:nvSpPr>
            <p:cNvPr id="138" name="AutoShape 169"/>
            <p:cNvSpPr>
              <a:spLocks noChangeAspect="1" noChangeArrowheads="1" noTextEdit="1"/>
            </p:cNvSpPr>
            <p:nvPr userDrawn="1"/>
          </p:nvSpPr>
          <p:spPr bwMode="auto">
            <a:xfrm>
              <a:off x="-3889375" y="0"/>
              <a:ext cx="3600450"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9" name="Freeform 171"/>
            <p:cNvSpPr>
              <a:spLocks/>
            </p:cNvSpPr>
            <p:nvPr userDrawn="1"/>
          </p:nvSpPr>
          <p:spPr bwMode="auto">
            <a:xfrm>
              <a:off x="-3889375" y="0"/>
              <a:ext cx="3600450" cy="3600450"/>
            </a:xfrm>
            <a:custGeom>
              <a:avLst/>
              <a:gdLst>
                <a:gd name="T0" fmla="*/ 2268 w 2268"/>
                <a:gd name="T1" fmla="*/ 0 h 2268"/>
                <a:gd name="T2" fmla="*/ 0 w 2268"/>
                <a:gd name="T3" fmla="*/ 0 h 2268"/>
                <a:gd name="T4" fmla="*/ 0 w 2268"/>
                <a:gd name="T5" fmla="*/ 2268 h 2268"/>
                <a:gd name="T6" fmla="*/ 2268 w 2268"/>
                <a:gd name="T7" fmla="*/ 2268 h 2268"/>
                <a:gd name="T8" fmla="*/ 2268 w 2268"/>
                <a:gd name="T9" fmla="*/ 0 h 2268"/>
                <a:gd name="T10" fmla="*/ 2268 w 2268"/>
                <a:gd name="T11" fmla="*/ 0 h 2268"/>
              </a:gdLst>
              <a:ahLst/>
              <a:cxnLst>
                <a:cxn ang="0">
                  <a:pos x="T0" y="T1"/>
                </a:cxn>
                <a:cxn ang="0">
                  <a:pos x="T2" y="T3"/>
                </a:cxn>
                <a:cxn ang="0">
                  <a:pos x="T4" y="T5"/>
                </a:cxn>
                <a:cxn ang="0">
                  <a:pos x="T6" y="T7"/>
                </a:cxn>
                <a:cxn ang="0">
                  <a:pos x="T8" y="T9"/>
                </a:cxn>
                <a:cxn ang="0">
                  <a:pos x="T10" y="T11"/>
                </a:cxn>
              </a:cxnLst>
              <a:rect l="0" t="0" r="r" b="b"/>
              <a:pathLst>
                <a:path w="2268" h="2268">
                  <a:moveTo>
                    <a:pt x="2268" y="0"/>
                  </a:moveTo>
                  <a:lnTo>
                    <a:pt x="0" y="0"/>
                  </a:lnTo>
                  <a:lnTo>
                    <a:pt x="0" y="2268"/>
                  </a:lnTo>
                  <a:lnTo>
                    <a:pt x="2268" y="2268"/>
                  </a:lnTo>
                  <a:lnTo>
                    <a:pt x="2268" y="0"/>
                  </a:lnTo>
                  <a:lnTo>
                    <a:pt x="226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sp>
          <p:nvSpPr>
            <p:cNvPr id="140" name="Freeform 172"/>
            <p:cNvSpPr>
              <a:spLocks noEditPoints="1"/>
            </p:cNvSpPr>
            <p:nvPr userDrawn="1"/>
          </p:nvSpPr>
          <p:spPr bwMode="auto">
            <a:xfrm>
              <a:off x="-3752850" y="138113"/>
              <a:ext cx="3327400" cy="3325813"/>
            </a:xfrm>
            <a:custGeom>
              <a:avLst/>
              <a:gdLst>
                <a:gd name="T0" fmla="*/ 0 w 2096"/>
                <a:gd name="T1" fmla="*/ 0 h 2095"/>
                <a:gd name="T2" fmla="*/ 0 w 2096"/>
                <a:gd name="T3" fmla="*/ 2095 h 2095"/>
                <a:gd name="T4" fmla="*/ 2096 w 2096"/>
                <a:gd name="T5" fmla="*/ 2095 h 2095"/>
                <a:gd name="T6" fmla="*/ 2096 w 2096"/>
                <a:gd name="T7" fmla="*/ 0 h 2095"/>
                <a:gd name="T8" fmla="*/ 0 w 2096"/>
                <a:gd name="T9" fmla="*/ 0 h 2095"/>
                <a:gd name="T10" fmla="*/ 2009 w 2096"/>
                <a:gd name="T11" fmla="*/ 2008 h 2095"/>
                <a:gd name="T12" fmla="*/ 87 w 2096"/>
                <a:gd name="T13" fmla="*/ 2008 h 2095"/>
                <a:gd name="T14" fmla="*/ 87 w 2096"/>
                <a:gd name="T15" fmla="*/ 86 h 2095"/>
                <a:gd name="T16" fmla="*/ 2009 w 2096"/>
                <a:gd name="T17" fmla="*/ 86 h 2095"/>
                <a:gd name="T18" fmla="*/ 2009 w 2096"/>
                <a:gd name="T19" fmla="*/ 2008 h 2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96" h="2095">
                  <a:moveTo>
                    <a:pt x="0" y="0"/>
                  </a:moveTo>
                  <a:lnTo>
                    <a:pt x="0" y="2095"/>
                  </a:lnTo>
                  <a:lnTo>
                    <a:pt x="2096" y="2095"/>
                  </a:lnTo>
                  <a:lnTo>
                    <a:pt x="2096" y="0"/>
                  </a:lnTo>
                  <a:lnTo>
                    <a:pt x="0" y="0"/>
                  </a:lnTo>
                  <a:close/>
                  <a:moveTo>
                    <a:pt x="2009" y="2008"/>
                  </a:moveTo>
                  <a:lnTo>
                    <a:pt x="87" y="2008"/>
                  </a:lnTo>
                  <a:lnTo>
                    <a:pt x="87" y="86"/>
                  </a:lnTo>
                  <a:lnTo>
                    <a:pt x="2009" y="86"/>
                  </a:lnTo>
                  <a:lnTo>
                    <a:pt x="2009" y="200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1" name="Rectangle 173"/>
            <p:cNvSpPr>
              <a:spLocks noChangeArrowheads="1"/>
            </p:cNvSpPr>
            <p:nvPr userDrawn="1"/>
          </p:nvSpPr>
          <p:spPr bwMode="auto">
            <a:xfrm>
              <a:off x="-2705100" y="1443038"/>
              <a:ext cx="608013" cy="60801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2" name="Freeform 174"/>
            <p:cNvSpPr>
              <a:spLocks/>
            </p:cNvSpPr>
            <p:nvPr userDrawn="1"/>
          </p:nvSpPr>
          <p:spPr bwMode="auto">
            <a:xfrm>
              <a:off x="-2005013" y="1441450"/>
              <a:ext cx="608013" cy="609600"/>
            </a:xfrm>
            <a:custGeom>
              <a:avLst/>
              <a:gdLst>
                <a:gd name="T0" fmla="*/ 0 w 383"/>
                <a:gd name="T1" fmla="*/ 0 h 384"/>
                <a:gd name="T2" fmla="*/ 0 w 383"/>
                <a:gd name="T3" fmla="*/ 384 h 384"/>
                <a:gd name="T4" fmla="*/ 383 w 383"/>
                <a:gd name="T5" fmla="*/ 384 h 384"/>
                <a:gd name="T6" fmla="*/ 0 w 383"/>
                <a:gd name="T7" fmla="*/ 0 h 384"/>
              </a:gdLst>
              <a:ahLst/>
              <a:cxnLst>
                <a:cxn ang="0">
                  <a:pos x="T0" y="T1"/>
                </a:cxn>
                <a:cxn ang="0">
                  <a:pos x="T2" y="T3"/>
                </a:cxn>
                <a:cxn ang="0">
                  <a:pos x="T4" y="T5"/>
                </a:cxn>
                <a:cxn ang="0">
                  <a:pos x="T6" y="T7"/>
                </a:cxn>
              </a:cxnLst>
              <a:rect l="0" t="0" r="r" b="b"/>
              <a:pathLst>
                <a:path w="383" h="384">
                  <a:moveTo>
                    <a:pt x="0" y="0"/>
                  </a:moveTo>
                  <a:lnTo>
                    <a:pt x="0" y="384"/>
                  </a:lnTo>
                  <a:lnTo>
                    <a:pt x="383" y="384"/>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3" name="Rectangle 175"/>
            <p:cNvSpPr>
              <a:spLocks noChangeArrowheads="1"/>
            </p:cNvSpPr>
            <p:nvPr userDrawn="1"/>
          </p:nvSpPr>
          <p:spPr bwMode="auto">
            <a:xfrm>
              <a:off x="-2705100" y="742950"/>
              <a:ext cx="608013" cy="60801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4" name="Freeform 176"/>
            <p:cNvSpPr>
              <a:spLocks/>
            </p:cNvSpPr>
            <p:nvPr userDrawn="1"/>
          </p:nvSpPr>
          <p:spPr bwMode="auto">
            <a:xfrm>
              <a:off x="-2005013" y="742950"/>
              <a:ext cx="608013" cy="608013"/>
            </a:xfrm>
            <a:custGeom>
              <a:avLst/>
              <a:gdLst>
                <a:gd name="T0" fmla="*/ 0 w 383"/>
                <a:gd name="T1" fmla="*/ 0 h 383"/>
                <a:gd name="T2" fmla="*/ 0 w 383"/>
                <a:gd name="T3" fmla="*/ 383 h 383"/>
                <a:gd name="T4" fmla="*/ 383 w 383"/>
                <a:gd name="T5" fmla="*/ 0 h 383"/>
                <a:gd name="T6" fmla="*/ 0 w 383"/>
                <a:gd name="T7" fmla="*/ 0 h 383"/>
              </a:gdLst>
              <a:ahLst/>
              <a:cxnLst>
                <a:cxn ang="0">
                  <a:pos x="T0" y="T1"/>
                </a:cxn>
                <a:cxn ang="0">
                  <a:pos x="T2" y="T3"/>
                </a:cxn>
                <a:cxn ang="0">
                  <a:pos x="T4" y="T5"/>
                </a:cxn>
                <a:cxn ang="0">
                  <a:pos x="T6" y="T7"/>
                </a:cxn>
              </a:cxnLst>
              <a:rect l="0" t="0" r="r" b="b"/>
              <a:pathLst>
                <a:path w="383" h="383">
                  <a:moveTo>
                    <a:pt x="0" y="0"/>
                  </a:moveTo>
                  <a:lnTo>
                    <a:pt x="0" y="383"/>
                  </a:lnTo>
                  <a:lnTo>
                    <a:pt x="383" y="0"/>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5" name="Freeform 177"/>
            <p:cNvSpPr>
              <a:spLocks/>
            </p:cNvSpPr>
            <p:nvPr userDrawn="1"/>
          </p:nvSpPr>
          <p:spPr bwMode="auto">
            <a:xfrm>
              <a:off x="-3346450" y="2409825"/>
              <a:ext cx="358775" cy="441325"/>
            </a:xfrm>
            <a:custGeom>
              <a:avLst/>
              <a:gdLst>
                <a:gd name="T0" fmla="*/ 224 w 226"/>
                <a:gd name="T1" fmla="*/ 0 h 278"/>
                <a:gd name="T2" fmla="*/ 154 w 226"/>
                <a:gd name="T3" fmla="*/ 0 h 278"/>
                <a:gd name="T4" fmla="*/ 62 w 226"/>
                <a:gd name="T5" fmla="*/ 128 h 278"/>
                <a:gd name="T6" fmla="*/ 62 w 226"/>
                <a:gd name="T7" fmla="*/ 0 h 278"/>
                <a:gd name="T8" fmla="*/ 0 w 226"/>
                <a:gd name="T9" fmla="*/ 0 h 278"/>
                <a:gd name="T10" fmla="*/ 0 w 226"/>
                <a:gd name="T11" fmla="*/ 278 h 278"/>
                <a:gd name="T12" fmla="*/ 62 w 226"/>
                <a:gd name="T13" fmla="*/ 278 h 278"/>
                <a:gd name="T14" fmla="*/ 62 w 226"/>
                <a:gd name="T15" fmla="*/ 153 h 278"/>
                <a:gd name="T16" fmla="*/ 154 w 226"/>
                <a:gd name="T17" fmla="*/ 278 h 278"/>
                <a:gd name="T18" fmla="*/ 226 w 226"/>
                <a:gd name="T19" fmla="*/ 278 h 278"/>
                <a:gd name="T20" fmla="*/ 119 w 226"/>
                <a:gd name="T21" fmla="*/ 136 h 278"/>
                <a:gd name="T22" fmla="*/ 224 w 226"/>
                <a:gd name="T23"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6" h="278">
                  <a:moveTo>
                    <a:pt x="224" y="0"/>
                  </a:moveTo>
                  <a:lnTo>
                    <a:pt x="154" y="0"/>
                  </a:lnTo>
                  <a:lnTo>
                    <a:pt x="62" y="128"/>
                  </a:lnTo>
                  <a:lnTo>
                    <a:pt x="62" y="0"/>
                  </a:lnTo>
                  <a:lnTo>
                    <a:pt x="0" y="0"/>
                  </a:lnTo>
                  <a:lnTo>
                    <a:pt x="0" y="278"/>
                  </a:lnTo>
                  <a:lnTo>
                    <a:pt x="62" y="278"/>
                  </a:lnTo>
                  <a:lnTo>
                    <a:pt x="62" y="153"/>
                  </a:lnTo>
                  <a:lnTo>
                    <a:pt x="154" y="278"/>
                  </a:lnTo>
                  <a:lnTo>
                    <a:pt x="226" y="278"/>
                  </a:lnTo>
                  <a:lnTo>
                    <a:pt x="119" y="136"/>
                  </a:lnTo>
                  <a:lnTo>
                    <a:pt x="224"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6" name="Freeform 178"/>
            <p:cNvSpPr>
              <a:spLocks/>
            </p:cNvSpPr>
            <p:nvPr userDrawn="1"/>
          </p:nvSpPr>
          <p:spPr bwMode="auto">
            <a:xfrm>
              <a:off x="-2625725" y="2557463"/>
              <a:ext cx="292100" cy="300038"/>
            </a:xfrm>
            <a:custGeom>
              <a:avLst/>
              <a:gdLst>
                <a:gd name="T0" fmla="*/ 1303 w 1839"/>
                <a:gd name="T1" fmla="*/ 1215 h 1890"/>
                <a:gd name="T2" fmla="*/ 906 w 1839"/>
                <a:gd name="T3" fmla="*/ 1425 h 1890"/>
                <a:gd name="T4" fmla="*/ 544 w 1839"/>
                <a:gd name="T5" fmla="*/ 1036 h 1890"/>
                <a:gd name="T6" fmla="*/ 544 w 1839"/>
                <a:gd name="T7" fmla="*/ 0 h 1890"/>
                <a:gd name="T8" fmla="*/ 0 w 1839"/>
                <a:gd name="T9" fmla="*/ 0 h 1890"/>
                <a:gd name="T10" fmla="*/ 0 w 1839"/>
                <a:gd name="T11" fmla="*/ 1143 h 1890"/>
                <a:gd name="T12" fmla="*/ 711 w 1839"/>
                <a:gd name="T13" fmla="*/ 1890 h 1890"/>
                <a:gd name="T14" fmla="*/ 1303 w 1839"/>
                <a:gd name="T15" fmla="*/ 1627 h 1890"/>
                <a:gd name="T16" fmla="*/ 1303 w 1839"/>
                <a:gd name="T17" fmla="*/ 1850 h 1890"/>
                <a:gd name="T18" fmla="*/ 1839 w 1839"/>
                <a:gd name="T19" fmla="*/ 1850 h 1890"/>
                <a:gd name="T20" fmla="*/ 1839 w 1839"/>
                <a:gd name="T21" fmla="*/ 0 h 1890"/>
                <a:gd name="T22" fmla="*/ 1303 w 1839"/>
                <a:gd name="T23" fmla="*/ 0 h 1890"/>
                <a:gd name="T24" fmla="*/ 1303 w 1839"/>
                <a:gd name="T25" fmla="*/ 1215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9" h="1890">
                  <a:moveTo>
                    <a:pt x="1303" y="1215"/>
                  </a:moveTo>
                  <a:cubicBezTo>
                    <a:pt x="1231" y="1306"/>
                    <a:pt x="1104" y="1425"/>
                    <a:pt x="906" y="1425"/>
                  </a:cubicBezTo>
                  <a:cubicBezTo>
                    <a:pt x="679" y="1425"/>
                    <a:pt x="544" y="1278"/>
                    <a:pt x="544" y="1036"/>
                  </a:cubicBezTo>
                  <a:cubicBezTo>
                    <a:pt x="544" y="0"/>
                    <a:pt x="544" y="0"/>
                    <a:pt x="544" y="0"/>
                  </a:cubicBezTo>
                  <a:cubicBezTo>
                    <a:pt x="0" y="0"/>
                    <a:pt x="0" y="0"/>
                    <a:pt x="0" y="0"/>
                  </a:cubicBezTo>
                  <a:cubicBezTo>
                    <a:pt x="0" y="1143"/>
                    <a:pt x="0" y="1143"/>
                    <a:pt x="0" y="1143"/>
                  </a:cubicBezTo>
                  <a:cubicBezTo>
                    <a:pt x="0" y="1580"/>
                    <a:pt x="251" y="1890"/>
                    <a:pt x="711" y="1890"/>
                  </a:cubicBezTo>
                  <a:cubicBezTo>
                    <a:pt x="1017" y="1890"/>
                    <a:pt x="1207" y="1731"/>
                    <a:pt x="1303" y="1627"/>
                  </a:cubicBezTo>
                  <a:cubicBezTo>
                    <a:pt x="1303" y="1850"/>
                    <a:pt x="1303" y="1850"/>
                    <a:pt x="1303" y="1850"/>
                  </a:cubicBezTo>
                  <a:cubicBezTo>
                    <a:pt x="1839" y="1850"/>
                    <a:pt x="1839" y="1850"/>
                    <a:pt x="1839" y="1850"/>
                  </a:cubicBezTo>
                  <a:cubicBezTo>
                    <a:pt x="1839" y="0"/>
                    <a:pt x="1839" y="0"/>
                    <a:pt x="1839" y="0"/>
                  </a:cubicBezTo>
                  <a:cubicBezTo>
                    <a:pt x="1303" y="0"/>
                    <a:pt x="1303" y="0"/>
                    <a:pt x="1303" y="0"/>
                  </a:cubicBezTo>
                  <a:lnTo>
                    <a:pt x="1303" y="121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7" name="Freeform 179"/>
            <p:cNvSpPr>
              <a:spLocks noEditPoints="1"/>
            </p:cNvSpPr>
            <p:nvPr userDrawn="1"/>
          </p:nvSpPr>
          <p:spPr bwMode="auto">
            <a:xfrm>
              <a:off x="-1865313" y="2551113"/>
              <a:ext cx="314325" cy="306388"/>
            </a:xfrm>
            <a:custGeom>
              <a:avLst/>
              <a:gdLst>
                <a:gd name="T0" fmla="*/ 1441 w 1977"/>
                <a:gd name="T1" fmla="*/ 234 h 1930"/>
                <a:gd name="T2" fmla="*/ 874 w 1977"/>
                <a:gd name="T3" fmla="*/ 0 h 1930"/>
                <a:gd name="T4" fmla="*/ 0 w 1977"/>
                <a:gd name="T5" fmla="*/ 973 h 1930"/>
                <a:gd name="T6" fmla="*/ 874 w 1977"/>
                <a:gd name="T7" fmla="*/ 1930 h 1930"/>
                <a:gd name="T8" fmla="*/ 1441 w 1977"/>
                <a:gd name="T9" fmla="*/ 1699 h 1930"/>
                <a:gd name="T10" fmla="*/ 1441 w 1977"/>
                <a:gd name="T11" fmla="*/ 1890 h 1930"/>
                <a:gd name="T12" fmla="*/ 1977 w 1977"/>
                <a:gd name="T13" fmla="*/ 1890 h 1930"/>
                <a:gd name="T14" fmla="*/ 1977 w 1977"/>
                <a:gd name="T15" fmla="*/ 40 h 1930"/>
                <a:gd name="T16" fmla="*/ 1441 w 1977"/>
                <a:gd name="T17" fmla="*/ 40 h 1930"/>
                <a:gd name="T18" fmla="*/ 1441 w 1977"/>
                <a:gd name="T19" fmla="*/ 234 h 1930"/>
                <a:gd name="T20" fmla="*/ 1441 w 1977"/>
                <a:gd name="T21" fmla="*/ 1298 h 1930"/>
                <a:gd name="T22" fmla="*/ 1048 w 1977"/>
                <a:gd name="T23" fmla="*/ 1473 h 1930"/>
                <a:gd name="T24" fmla="*/ 560 w 1977"/>
                <a:gd name="T25" fmla="*/ 965 h 1930"/>
                <a:gd name="T26" fmla="*/ 1048 w 1977"/>
                <a:gd name="T27" fmla="*/ 457 h 1930"/>
                <a:gd name="T28" fmla="*/ 1441 w 1977"/>
                <a:gd name="T29" fmla="*/ 631 h 1930"/>
                <a:gd name="T30" fmla="*/ 1441 w 1977"/>
                <a:gd name="T31" fmla="*/ 1298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7" h="1930">
                  <a:moveTo>
                    <a:pt x="1441" y="234"/>
                  </a:moveTo>
                  <a:cubicBezTo>
                    <a:pt x="1330" y="127"/>
                    <a:pt x="1140" y="0"/>
                    <a:pt x="874" y="0"/>
                  </a:cubicBezTo>
                  <a:cubicBezTo>
                    <a:pt x="358" y="0"/>
                    <a:pt x="0" y="429"/>
                    <a:pt x="0" y="973"/>
                  </a:cubicBezTo>
                  <a:cubicBezTo>
                    <a:pt x="0" y="1509"/>
                    <a:pt x="354" y="1930"/>
                    <a:pt x="874" y="1930"/>
                  </a:cubicBezTo>
                  <a:cubicBezTo>
                    <a:pt x="1156" y="1930"/>
                    <a:pt x="1342" y="1799"/>
                    <a:pt x="1441" y="1699"/>
                  </a:cubicBezTo>
                  <a:cubicBezTo>
                    <a:pt x="1441" y="1890"/>
                    <a:pt x="1441" y="1890"/>
                    <a:pt x="1441" y="1890"/>
                  </a:cubicBezTo>
                  <a:cubicBezTo>
                    <a:pt x="1977" y="1890"/>
                    <a:pt x="1977" y="1890"/>
                    <a:pt x="1977" y="1890"/>
                  </a:cubicBezTo>
                  <a:cubicBezTo>
                    <a:pt x="1977" y="40"/>
                    <a:pt x="1977" y="40"/>
                    <a:pt x="1977" y="40"/>
                  </a:cubicBezTo>
                  <a:cubicBezTo>
                    <a:pt x="1441" y="40"/>
                    <a:pt x="1441" y="40"/>
                    <a:pt x="1441" y="40"/>
                  </a:cubicBezTo>
                  <a:lnTo>
                    <a:pt x="1441" y="234"/>
                  </a:lnTo>
                  <a:close/>
                  <a:moveTo>
                    <a:pt x="1441" y="1298"/>
                  </a:moveTo>
                  <a:cubicBezTo>
                    <a:pt x="1366" y="1382"/>
                    <a:pt x="1239" y="1473"/>
                    <a:pt x="1048" y="1473"/>
                  </a:cubicBezTo>
                  <a:cubicBezTo>
                    <a:pt x="762" y="1473"/>
                    <a:pt x="560" y="1266"/>
                    <a:pt x="560" y="965"/>
                  </a:cubicBezTo>
                  <a:cubicBezTo>
                    <a:pt x="560" y="663"/>
                    <a:pt x="762" y="457"/>
                    <a:pt x="1048" y="457"/>
                  </a:cubicBezTo>
                  <a:cubicBezTo>
                    <a:pt x="1239" y="457"/>
                    <a:pt x="1366" y="548"/>
                    <a:pt x="1441" y="631"/>
                  </a:cubicBezTo>
                  <a:lnTo>
                    <a:pt x="1441" y="129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8" name="Freeform 180"/>
            <p:cNvSpPr>
              <a:spLocks noEditPoints="1"/>
            </p:cNvSpPr>
            <p:nvPr userDrawn="1"/>
          </p:nvSpPr>
          <p:spPr bwMode="auto">
            <a:xfrm>
              <a:off x="-3000375" y="2551113"/>
              <a:ext cx="314325" cy="306388"/>
            </a:xfrm>
            <a:custGeom>
              <a:avLst/>
              <a:gdLst>
                <a:gd name="T0" fmla="*/ 1441 w 1977"/>
                <a:gd name="T1" fmla="*/ 234 h 1930"/>
                <a:gd name="T2" fmla="*/ 873 w 1977"/>
                <a:gd name="T3" fmla="*/ 0 h 1930"/>
                <a:gd name="T4" fmla="*/ 0 w 1977"/>
                <a:gd name="T5" fmla="*/ 973 h 1930"/>
                <a:gd name="T6" fmla="*/ 873 w 1977"/>
                <a:gd name="T7" fmla="*/ 1930 h 1930"/>
                <a:gd name="T8" fmla="*/ 1441 w 1977"/>
                <a:gd name="T9" fmla="*/ 1699 h 1930"/>
                <a:gd name="T10" fmla="*/ 1441 w 1977"/>
                <a:gd name="T11" fmla="*/ 1890 h 1930"/>
                <a:gd name="T12" fmla="*/ 1977 w 1977"/>
                <a:gd name="T13" fmla="*/ 1890 h 1930"/>
                <a:gd name="T14" fmla="*/ 1977 w 1977"/>
                <a:gd name="T15" fmla="*/ 40 h 1930"/>
                <a:gd name="T16" fmla="*/ 1441 w 1977"/>
                <a:gd name="T17" fmla="*/ 40 h 1930"/>
                <a:gd name="T18" fmla="*/ 1441 w 1977"/>
                <a:gd name="T19" fmla="*/ 234 h 1930"/>
                <a:gd name="T20" fmla="*/ 1441 w 1977"/>
                <a:gd name="T21" fmla="*/ 1298 h 1930"/>
                <a:gd name="T22" fmla="*/ 1048 w 1977"/>
                <a:gd name="T23" fmla="*/ 1473 h 1930"/>
                <a:gd name="T24" fmla="*/ 560 w 1977"/>
                <a:gd name="T25" fmla="*/ 965 h 1930"/>
                <a:gd name="T26" fmla="*/ 1048 w 1977"/>
                <a:gd name="T27" fmla="*/ 457 h 1930"/>
                <a:gd name="T28" fmla="*/ 1441 w 1977"/>
                <a:gd name="T29" fmla="*/ 631 h 1930"/>
                <a:gd name="T30" fmla="*/ 1441 w 1977"/>
                <a:gd name="T31" fmla="*/ 1298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7" h="1930">
                  <a:moveTo>
                    <a:pt x="1441" y="234"/>
                  </a:moveTo>
                  <a:cubicBezTo>
                    <a:pt x="1330" y="127"/>
                    <a:pt x="1139" y="0"/>
                    <a:pt x="873" y="0"/>
                  </a:cubicBezTo>
                  <a:cubicBezTo>
                    <a:pt x="357" y="0"/>
                    <a:pt x="0" y="429"/>
                    <a:pt x="0" y="973"/>
                  </a:cubicBezTo>
                  <a:cubicBezTo>
                    <a:pt x="0" y="1509"/>
                    <a:pt x="353" y="1930"/>
                    <a:pt x="873" y="1930"/>
                  </a:cubicBezTo>
                  <a:cubicBezTo>
                    <a:pt x="1155" y="1930"/>
                    <a:pt x="1342" y="1799"/>
                    <a:pt x="1441" y="1699"/>
                  </a:cubicBezTo>
                  <a:cubicBezTo>
                    <a:pt x="1441" y="1890"/>
                    <a:pt x="1441" y="1890"/>
                    <a:pt x="1441" y="1890"/>
                  </a:cubicBezTo>
                  <a:cubicBezTo>
                    <a:pt x="1977" y="1890"/>
                    <a:pt x="1977" y="1890"/>
                    <a:pt x="1977" y="1890"/>
                  </a:cubicBezTo>
                  <a:cubicBezTo>
                    <a:pt x="1977" y="40"/>
                    <a:pt x="1977" y="40"/>
                    <a:pt x="1977" y="40"/>
                  </a:cubicBezTo>
                  <a:cubicBezTo>
                    <a:pt x="1441" y="40"/>
                    <a:pt x="1441" y="40"/>
                    <a:pt x="1441" y="40"/>
                  </a:cubicBezTo>
                  <a:lnTo>
                    <a:pt x="1441" y="234"/>
                  </a:lnTo>
                  <a:close/>
                  <a:moveTo>
                    <a:pt x="1441" y="1298"/>
                  </a:moveTo>
                  <a:cubicBezTo>
                    <a:pt x="1366" y="1382"/>
                    <a:pt x="1239" y="1473"/>
                    <a:pt x="1048" y="1473"/>
                  </a:cubicBezTo>
                  <a:cubicBezTo>
                    <a:pt x="762" y="1473"/>
                    <a:pt x="560" y="1266"/>
                    <a:pt x="560" y="965"/>
                  </a:cubicBezTo>
                  <a:cubicBezTo>
                    <a:pt x="560" y="663"/>
                    <a:pt x="762" y="457"/>
                    <a:pt x="1048" y="457"/>
                  </a:cubicBezTo>
                  <a:cubicBezTo>
                    <a:pt x="1239" y="457"/>
                    <a:pt x="1366" y="548"/>
                    <a:pt x="1441" y="631"/>
                  </a:cubicBezTo>
                  <a:lnTo>
                    <a:pt x="1441" y="129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9" name="Freeform 181"/>
            <p:cNvSpPr>
              <a:spLocks noEditPoints="1"/>
            </p:cNvSpPr>
            <p:nvPr userDrawn="1"/>
          </p:nvSpPr>
          <p:spPr bwMode="auto">
            <a:xfrm>
              <a:off x="-1149350" y="2409825"/>
              <a:ext cx="317500" cy="447675"/>
            </a:xfrm>
            <a:custGeom>
              <a:avLst/>
              <a:gdLst>
                <a:gd name="T0" fmla="*/ 1461 w 1997"/>
                <a:gd name="T1" fmla="*/ 0 h 2819"/>
                <a:gd name="T2" fmla="*/ 1461 w 1997"/>
                <a:gd name="T3" fmla="*/ 1139 h 2819"/>
                <a:gd name="T4" fmla="*/ 873 w 1997"/>
                <a:gd name="T5" fmla="*/ 889 h 2819"/>
                <a:gd name="T6" fmla="*/ 0 w 1997"/>
                <a:gd name="T7" fmla="*/ 1862 h 2819"/>
                <a:gd name="T8" fmla="*/ 873 w 1997"/>
                <a:gd name="T9" fmla="*/ 2819 h 2819"/>
                <a:gd name="T10" fmla="*/ 1461 w 1997"/>
                <a:gd name="T11" fmla="*/ 2568 h 2819"/>
                <a:gd name="T12" fmla="*/ 1461 w 1997"/>
                <a:gd name="T13" fmla="*/ 2779 h 2819"/>
                <a:gd name="T14" fmla="*/ 1997 w 1997"/>
                <a:gd name="T15" fmla="*/ 2779 h 2819"/>
                <a:gd name="T16" fmla="*/ 1997 w 1997"/>
                <a:gd name="T17" fmla="*/ 0 h 2819"/>
                <a:gd name="T18" fmla="*/ 1461 w 1997"/>
                <a:gd name="T19" fmla="*/ 0 h 2819"/>
                <a:gd name="T20" fmla="*/ 1461 w 1997"/>
                <a:gd name="T21" fmla="*/ 2163 h 2819"/>
                <a:gd name="T22" fmla="*/ 1048 w 1997"/>
                <a:gd name="T23" fmla="*/ 2362 h 2819"/>
                <a:gd name="T24" fmla="*/ 560 w 1997"/>
                <a:gd name="T25" fmla="*/ 1854 h 2819"/>
                <a:gd name="T26" fmla="*/ 1048 w 1997"/>
                <a:gd name="T27" fmla="*/ 1346 h 2819"/>
                <a:gd name="T28" fmla="*/ 1461 w 1997"/>
                <a:gd name="T29" fmla="*/ 1544 h 2819"/>
                <a:gd name="T30" fmla="*/ 1461 w 1997"/>
                <a:gd name="T31" fmla="*/ 2163 h 2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97" h="2819">
                  <a:moveTo>
                    <a:pt x="1461" y="0"/>
                  </a:moveTo>
                  <a:cubicBezTo>
                    <a:pt x="1461" y="1139"/>
                    <a:pt x="1461" y="1139"/>
                    <a:pt x="1461" y="1139"/>
                  </a:cubicBezTo>
                  <a:cubicBezTo>
                    <a:pt x="1366" y="1040"/>
                    <a:pt x="1171" y="889"/>
                    <a:pt x="873" y="889"/>
                  </a:cubicBezTo>
                  <a:cubicBezTo>
                    <a:pt x="353" y="889"/>
                    <a:pt x="0" y="1318"/>
                    <a:pt x="0" y="1862"/>
                  </a:cubicBezTo>
                  <a:cubicBezTo>
                    <a:pt x="0" y="2406"/>
                    <a:pt x="361" y="2819"/>
                    <a:pt x="873" y="2819"/>
                  </a:cubicBezTo>
                  <a:cubicBezTo>
                    <a:pt x="1171" y="2819"/>
                    <a:pt x="1366" y="2672"/>
                    <a:pt x="1461" y="2568"/>
                  </a:cubicBezTo>
                  <a:cubicBezTo>
                    <a:pt x="1461" y="2779"/>
                    <a:pt x="1461" y="2779"/>
                    <a:pt x="1461" y="2779"/>
                  </a:cubicBezTo>
                  <a:cubicBezTo>
                    <a:pt x="1997" y="2779"/>
                    <a:pt x="1997" y="2779"/>
                    <a:pt x="1997" y="2779"/>
                  </a:cubicBezTo>
                  <a:cubicBezTo>
                    <a:pt x="1997" y="0"/>
                    <a:pt x="1997" y="0"/>
                    <a:pt x="1997" y="0"/>
                  </a:cubicBezTo>
                  <a:lnTo>
                    <a:pt x="1461" y="0"/>
                  </a:lnTo>
                  <a:close/>
                  <a:moveTo>
                    <a:pt x="1461" y="2163"/>
                  </a:moveTo>
                  <a:cubicBezTo>
                    <a:pt x="1389" y="2255"/>
                    <a:pt x="1254" y="2362"/>
                    <a:pt x="1048" y="2362"/>
                  </a:cubicBezTo>
                  <a:cubicBezTo>
                    <a:pt x="762" y="2362"/>
                    <a:pt x="560" y="2155"/>
                    <a:pt x="560" y="1854"/>
                  </a:cubicBezTo>
                  <a:cubicBezTo>
                    <a:pt x="560" y="1552"/>
                    <a:pt x="762" y="1346"/>
                    <a:pt x="1048" y="1346"/>
                  </a:cubicBezTo>
                  <a:cubicBezTo>
                    <a:pt x="1254" y="1346"/>
                    <a:pt x="1389" y="1453"/>
                    <a:pt x="1461" y="1544"/>
                  </a:cubicBezTo>
                  <a:lnTo>
                    <a:pt x="1461" y="216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50" name="Freeform 182"/>
            <p:cNvSpPr>
              <a:spLocks/>
            </p:cNvSpPr>
            <p:nvPr userDrawn="1"/>
          </p:nvSpPr>
          <p:spPr bwMode="auto">
            <a:xfrm>
              <a:off x="-1487488" y="2551113"/>
              <a:ext cx="290513" cy="300038"/>
            </a:xfrm>
            <a:custGeom>
              <a:avLst/>
              <a:gdLst>
                <a:gd name="T0" fmla="*/ 1128 w 1839"/>
                <a:gd name="T1" fmla="*/ 0 h 1890"/>
                <a:gd name="T2" fmla="*/ 540 w 1839"/>
                <a:gd name="T3" fmla="*/ 262 h 1890"/>
                <a:gd name="T4" fmla="*/ 540 w 1839"/>
                <a:gd name="T5" fmla="*/ 40 h 1890"/>
                <a:gd name="T6" fmla="*/ 0 w 1839"/>
                <a:gd name="T7" fmla="*/ 40 h 1890"/>
                <a:gd name="T8" fmla="*/ 0 w 1839"/>
                <a:gd name="T9" fmla="*/ 1890 h 1890"/>
                <a:gd name="T10" fmla="*/ 540 w 1839"/>
                <a:gd name="T11" fmla="*/ 1890 h 1890"/>
                <a:gd name="T12" fmla="*/ 540 w 1839"/>
                <a:gd name="T13" fmla="*/ 675 h 1890"/>
                <a:gd name="T14" fmla="*/ 937 w 1839"/>
                <a:gd name="T15" fmla="*/ 464 h 1890"/>
                <a:gd name="T16" fmla="*/ 1295 w 1839"/>
                <a:gd name="T17" fmla="*/ 854 h 1890"/>
                <a:gd name="T18" fmla="*/ 1295 w 1839"/>
                <a:gd name="T19" fmla="*/ 1890 h 1890"/>
                <a:gd name="T20" fmla="*/ 1839 w 1839"/>
                <a:gd name="T21" fmla="*/ 1890 h 1890"/>
                <a:gd name="T22" fmla="*/ 1839 w 1839"/>
                <a:gd name="T23" fmla="*/ 746 h 1890"/>
                <a:gd name="T24" fmla="*/ 1128 w 1839"/>
                <a:gd name="T25" fmla="*/ 0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9" h="1890">
                  <a:moveTo>
                    <a:pt x="1128" y="0"/>
                  </a:moveTo>
                  <a:cubicBezTo>
                    <a:pt x="826" y="0"/>
                    <a:pt x="632" y="159"/>
                    <a:pt x="540" y="262"/>
                  </a:cubicBezTo>
                  <a:cubicBezTo>
                    <a:pt x="540" y="40"/>
                    <a:pt x="540" y="40"/>
                    <a:pt x="540" y="40"/>
                  </a:cubicBezTo>
                  <a:cubicBezTo>
                    <a:pt x="0" y="40"/>
                    <a:pt x="0" y="40"/>
                    <a:pt x="0" y="40"/>
                  </a:cubicBezTo>
                  <a:cubicBezTo>
                    <a:pt x="0" y="1890"/>
                    <a:pt x="0" y="1890"/>
                    <a:pt x="0" y="1890"/>
                  </a:cubicBezTo>
                  <a:cubicBezTo>
                    <a:pt x="540" y="1890"/>
                    <a:pt x="540" y="1890"/>
                    <a:pt x="540" y="1890"/>
                  </a:cubicBezTo>
                  <a:cubicBezTo>
                    <a:pt x="540" y="675"/>
                    <a:pt x="540" y="675"/>
                    <a:pt x="540" y="675"/>
                  </a:cubicBezTo>
                  <a:cubicBezTo>
                    <a:pt x="608" y="580"/>
                    <a:pt x="735" y="464"/>
                    <a:pt x="937" y="464"/>
                  </a:cubicBezTo>
                  <a:cubicBezTo>
                    <a:pt x="1164" y="464"/>
                    <a:pt x="1295" y="611"/>
                    <a:pt x="1295" y="854"/>
                  </a:cubicBezTo>
                  <a:cubicBezTo>
                    <a:pt x="1295" y="1890"/>
                    <a:pt x="1295" y="1890"/>
                    <a:pt x="1295" y="1890"/>
                  </a:cubicBezTo>
                  <a:cubicBezTo>
                    <a:pt x="1839" y="1890"/>
                    <a:pt x="1839" y="1890"/>
                    <a:pt x="1839" y="1890"/>
                  </a:cubicBezTo>
                  <a:cubicBezTo>
                    <a:pt x="1839" y="746"/>
                    <a:pt x="1839" y="746"/>
                    <a:pt x="1839" y="746"/>
                  </a:cubicBezTo>
                  <a:cubicBezTo>
                    <a:pt x="1839" y="310"/>
                    <a:pt x="1588" y="0"/>
                    <a:pt x="1128"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51" name="Freeform 183"/>
            <p:cNvSpPr>
              <a:spLocks/>
            </p:cNvSpPr>
            <p:nvPr userDrawn="1"/>
          </p:nvSpPr>
          <p:spPr bwMode="auto">
            <a:xfrm>
              <a:off x="-2286000" y="2403475"/>
              <a:ext cx="238125" cy="447675"/>
            </a:xfrm>
            <a:custGeom>
              <a:avLst/>
              <a:gdLst>
                <a:gd name="T0" fmla="*/ 1128 w 1505"/>
                <a:gd name="T1" fmla="*/ 449 h 2819"/>
                <a:gd name="T2" fmla="*/ 1418 w 1505"/>
                <a:gd name="T3" fmla="*/ 528 h 2819"/>
                <a:gd name="T4" fmla="*/ 1505 w 1505"/>
                <a:gd name="T5" fmla="*/ 115 h 2819"/>
                <a:gd name="T6" fmla="*/ 1009 w 1505"/>
                <a:gd name="T7" fmla="*/ 0 h 2819"/>
                <a:gd name="T8" fmla="*/ 274 w 1505"/>
                <a:gd name="T9" fmla="*/ 750 h 2819"/>
                <a:gd name="T10" fmla="*/ 274 w 1505"/>
                <a:gd name="T11" fmla="*/ 969 h 2819"/>
                <a:gd name="T12" fmla="*/ 0 w 1505"/>
                <a:gd name="T13" fmla="*/ 969 h 2819"/>
                <a:gd name="T14" fmla="*/ 0 w 1505"/>
                <a:gd name="T15" fmla="*/ 1413 h 2819"/>
                <a:gd name="T16" fmla="*/ 274 w 1505"/>
                <a:gd name="T17" fmla="*/ 1413 h 2819"/>
                <a:gd name="T18" fmla="*/ 274 w 1505"/>
                <a:gd name="T19" fmla="*/ 2819 h 2819"/>
                <a:gd name="T20" fmla="*/ 826 w 1505"/>
                <a:gd name="T21" fmla="*/ 2819 h 2819"/>
                <a:gd name="T22" fmla="*/ 826 w 1505"/>
                <a:gd name="T23" fmla="*/ 1413 h 2819"/>
                <a:gd name="T24" fmla="*/ 1453 w 1505"/>
                <a:gd name="T25" fmla="*/ 1413 h 2819"/>
                <a:gd name="T26" fmla="*/ 1453 w 1505"/>
                <a:gd name="T27" fmla="*/ 969 h 2819"/>
                <a:gd name="T28" fmla="*/ 826 w 1505"/>
                <a:gd name="T29" fmla="*/ 969 h 2819"/>
                <a:gd name="T30" fmla="*/ 826 w 1505"/>
                <a:gd name="T31" fmla="*/ 798 h 2819"/>
                <a:gd name="T32" fmla="*/ 1128 w 1505"/>
                <a:gd name="T33" fmla="*/ 449 h 2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5" h="2819">
                  <a:moveTo>
                    <a:pt x="1128" y="449"/>
                  </a:moveTo>
                  <a:cubicBezTo>
                    <a:pt x="1310" y="449"/>
                    <a:pt x="1418" y="528"/>
                    <a:pt x="1418" y="528"/>
                  </a:cubicBezTo>
                  <a:cubicBezTo>
                    <a:pt x="1505" y="115"/>
                    <a:pt x="1505" y="115"/>
                    <a:pt x="1505" y="115"/>
                  </a:cubicBezTo>
                  <a:cubicBezTo>
                    <a:pt x="1505" y="115"/>
                    <a:pt x="1358" y="0"/>
                    <a:pt x="1009" y="0"/>
                  </a:cubicBezTo>
                  <a:cubicBezTo>
                    <a:pt x="556" y="0"/>
                    <a:pt x="274" y="262"/>
                    <a:pt x="274" y="750"/>
                  </a:cubicBezTo>
                  <a:cubicBezTo>
                    <a:pt x="274" y="969"/>
                    <a:pt x="274" y="969"/>
                    <a:pt x="274" y="969"/>
                  </a:cubicBezTo>
                  <a:cubicBezTo>
                    <a:pt x="0" y="969"/>
                    <a:pt x="0" y="969"/>
                    <a:pt x="0" y="969"/>
                  </a:cubicBezTo>
                  <a:cubicBezTo>
                    <a:pt x="0" y="1413"/>
                    <a:pt x="0" y="1413"/>
                    <a:pt x="0" y="1413"/>
                  </a:cubicBezTo>
                  <a:cubicBezTo>
                    <a:pt x="274" y="1413"/>
                    <a:pt x="274" y="1413"/>
                    <a:pt x="274" y="1413"/>
                  </a:cubicBezTo>
                  <a:cubicBezTo>
                    <a:pt x="274" y="2819"/>
                    <a:pt x="274" y="2819"/>
                    <a:pt x="274" y="2819"/>
                  </a:cubicBezTo>
                  <a:cubicBezTo>
                    <a:pt x="826" y="2819"/>
                    <a:pt x="826" y="2819"/>
                    <a:pt x="826" y="2819"/>
                  </a:cubicBezTo>
                  <a:cubicBezTo>
                    <a:pt x="826" y="1413"/>
                    <a:pt x="826" y="1413"/>
                    <a:pt x="826" y="1413"/>
                  </a:cubicBezTo>
                  <a:cubicBezTo>
                    <a:pt x="1453" y="1413"/>
                    <a:pt x="1453" y="1413"/>
                    <a:pt x="1453" y="1413"/>
                  </a:cubicBezTo>
                  <a:cubicBezTo>
                    <a:pt x="1453" y="969"/>
                    <a:pt x="1453" y="969"/>
                    <a:pt x="1453" y="969"/>
                  </a:cubicBezTo>
                  <a:cubicBezTo>
                    <a:pt x="826" y="969"/>
                    <a:pt x="826" y="969"/>
                    <a:pt x="826" y="969"/>
                  </a:cubicBezTo>
                  <a:cubicBezTo>
                    <a:pt x="826" y="798"/>
                    <a:pt x="826" y="798"/>
                    <a:pt x="826" y="798"/>
                  </a:cubicBezTo>
                  <a:cubicBezTo>
                    <a:pt x="826" y="564"/>
                    <a:pt x="933" y="449"/>
                    <a:pt x="1128" y="44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52" name="Rectangle 184"/>
            <p:cNvSpPr>
              <a:spLocks noChangeArrowheads="1"/>
            </p:cNvSpPr>
            <p:nvPr userDrawn="1"/>
          </p:nvSpPr>
          <p:spPr bwMode="auto">
            <a:xfrm>
              <a:off x="-2006600" y="2409825"/>
              <a:ext cx="87313" cy="441325"/>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3" name="Datumsplatzhalter 2"/>
          <p:cNvSpPr>
            <a:spLocks noGrp="1"/>
          </p:cNvSpPr>
          <p:nvPr>
            <p:ph type="dt" sz="half" idx="19"/>
          </p:nvPr>
        </p:nvSpPr>
        <p:spPr>
          <a:xfrm>
            <a:off x="7985795" y="4836160"/>
            <a:ext cx="540059" cy="136050"/>
          </a:xfrm>
          <a:prstGeom prst="rect">
            <a:avLst/>
          </a:prstGeom>
        </p:spPr>
        <p:txBody>
          <a:bodyPr/>
          <a:lstStyle>
            <a:lvl1pPr>
              <a:defRPr>
                <a:noFill/>
              </a:defRPr>
            </a:lvl1pPr>
          </a:lstStyle>
          <a:p>
            <a:endParaRPr lang="de-DE" dirty="0"/>
          </a:p>
        </p:txBody>
      </p:sp>
      <p:sp>
        <p:nvSpPr>
          <p:cNvPr id="4" name="Fußzeilenplatzhalter 3"/>
          <p:cNvSpPr>
            <a:spLocks noGrp="1"/>
          </p:cNvSpPr>
          <p:nvPr>
            <p:ph type="ftr" sz="quarter" idx="20"/>
          </p:nvPr>
        </p:nvSpPr>
        <p:spPr>
          <a:xfrm>
            <a:off x="5788992" y="4836160"/>
            <a:ext cx="2196803" cy="136050"/>
          </a:xfrm>
          <a:prstGeom prst="rect">
            <a:avLst/>
          </a:prstGeom>
        </p:spPr>
        <p:txBody>
          <a:bodyPr/>
          <a:lstStyle>
            <a:lvl1pPr>
              <a:defRPr>
                <a:noFill/>
              </a:defRPr>
            </a:lvl1pPr>
          </a:lstStyle>
          <a:p>
            <a:endParaRPr lang="de-DE" dirty="0"/>
          </a:p>
        </p:txBody>
      </p:sp>
      <p:sp>
        <p:nvSpPr>
          <p:cNvPr id="5" name="Foliennummernplatzhalter 4"/>
          <p:cNvSpPr>
            <a:spLocks noGrp="1"/>
          </p:cNvSpPr>
          <p:nvPr>
            <p:ph type="sldNum" sz="quarter" idx="21"/>
          </p:nvPr>
        </p:nvSpPr>
        <p:spPr>
          <a:xfrm>
            <a:off x="8532440" y="4836160"/>
            <a:ext cx="611561" cy="136050"/>
          </a:xfrm>
          <a:prstGeom prst="rect">
            <a:avLst/>
          </a:prstGeom>
        </p:spPr>
        <p:txBody>
          <a:bodyPr/>
          <a:lstStyle>
            <a:lvl1pPr>
              <a:defRPr>
                <a:noFill/>
              </a:defRPr>
            </a:lvl1pPr>
          </a:lstStyle>
          <a:p>
            <a:r>
              <a:rPr lang="de-DE"/>
              <a:t> </a:t>
            </a:r>
            <a:r>
              <a:rPr lang="de-DE">
                <a:sym typeface="Wingdings"/>
              </a:rPr>
              <a:t>  </a:t>
            </a:r>
            <a:fld id="{443B15C8-972D-49F6-9B7C-5A2154A8C95F}" type="slidenum">
              <a:rPr lang="de-DE" smtClean="0"/>
              <a:pPr/>
              <a:t>‹Nr.›</a:t>
            </a:fld>
            <a:endParaRPr lang="de-DE" dirty="0"/>
          </a:p>
        </p:txBody>
      </p:sp>
      <p:grpSp>
        <p:nvGrpSpPr>
          <p:cNvPr id="45" name="Gruppieren 44"/>
          <p:cNvGrpSpPr/>
          <p:nvPr/>
        </p:nvGrpSpPr>
        <p:grpSpPr>
          <a:xfrm>
            <a:off x="-373329" y="-380578"/>
            <a:ext cx="9664396" cy="5679553"/>
            <a:chOff x="-373329" y="-380578"/>
            <a:chExt cx="9664396" cy="5679553"/>
          </a:xfrm>
        </p:grpSpPr>
        <p:sp>
          <p:nvSpPr>
            <p:cNvPr id="46" name="Textfeld 125"/>
            <p:cNvSpPr txBox="1"/>
            <p:nvPr userDrawn="1"/>
          </p:nvSpPr>
          <p:spPr bwMode="gray">
            <a:xfrm>
              <a:off x="169614" y="-137946"/>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11,60</a:t>
              </a:r>
            </a:p>
          </p:txBody>
        </p:sp>
        <p:cxnSp>
          <p:nvCxnSpPr>
            <p:cNvPr id="47" name="Gerade Verbindung 88"/>
            <p:cNvCxnSpPr/>
            <p:nvPr userDrawn="1"/>
          </p:nvCxnSpPr>
          <p:spPr bwMode="gray">
            <a:xfrm>
              <a:off x="395287" y="-380578"/>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48" name="Textfeld 125"/>
            <p:cNvSpPr txBox="1"/>
            <p:nvPr userDrawn="1"/>
          </p:nvSpPr>
          <p:spPr bwMode="gray">
            <a:xfrm>
              <a:off x="4468316" y="-247911"/>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0</a:t>
              </a:r>
            </a:p>
          </p:txBody>
        </p:sp>
        <p:cxnSp>
          <p:nvCxnSpPr>
            <p:cNvPr id="49" name="Gerade Verbindung 90"/>
            <p:cNvCxnSpPr/>
            <p:nvPr userDrawn="1"/>
          </p:nvCxnSpPr>
          <p:spPr bwMode="gray">
            <a:xfrm>
              <a:off x="4572000" y="-164554"/>
              <a:ext cx="0" cy="9465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50" name="Textfeld 125"/>
            <p:cNvSpPr txBox="1"/>
            <p:nvPr userDrawn="1"/>
          </p:nvSpPr>
          <p:spPr bwMode="gray">
            <a:xfrm>
              <a:off x="8765420" y="-137946"/>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11,60</a:t>
              </a:r>
            </a:p>
          </p:txBody>
        </p:sp>
        <p:cxnSp>
          <p:nvCxnSpPr>
            <p:cNvPr id="51" name="Gerade Verbindung 95"/>
            <p:cNvCxnSpPr/>
            <p:nvPr userDrawn="1"/>
          </p:nvCxnSpPr>
          <p:spPr bwMode="gray">
            <a:xfrm>
              <a:off x="8745367" y="-380578"/>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Gerade Verbindung 96"/>
            <p:cNvCxnSpPr/>
            <p:nvPr userDrawn="1"/>
          </p:nvCxnSpPr>
          <p:spPr bwMode="gray">
            <a:xfrm>
              <a:off x="395287" y="5205375"/>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3" name="Gerade Verbindung 97"/>
            <p:cNvCxnSpPr/>
            <p:nvPr userDrawn="1"/>
          </p:nvCxnSpPr>
          <p:spPr bwMode="gray">
            <a:xfrm>
              <a:off x="4572000" y="5205375"/>
              <a:ext cx="0"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p:cNvCxnSpPr/>
            <p:nvPr userDrawn="1"/>
          </p:nvCxnSpPr>
          <p:spPr bwMode="gray">
            <a:xfrm>
              <a:off x="8745367" y="5205375"/>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55" name="Textfeld 125"/>
            <p:cNvSpPr txBox="1"/>
            <p:nvPr userDrawn="1"/>
          </p:nvSpPr>
          <p:spPr bwMode="gray">
            <a:xfrm>
              <a:off x="-270016" y="4604219"/>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5,</a:t>
              </a:r>
              <a:r>
                <a:rPr lang="de-DE" sz="600" noProof="0" dirty="0">
                  <a:solidFill>
                    <a:schemeClr val="tx2"/>
                  </a:solidFill>
                </a:rPr>
                <a:t>6</a:t>
              </a:r>
              <a:r>
                <a:rPr lang="pl-PL" sz="600" noProof="0" dirty="0">
                  <a:solidFill>
                    <a:schemeClr val="tx2"/>
                  </a:solidFill>
                </a:rPr>
                <a:t>0</a:t>
              </a:r>
            </a:p>
          </p:txBody>
        </p:sp>
        <p:cxnSp>
          <p:nvCxnSpPr>
            <p:cNvPr id="56" name="Gerade Verbindung 103"/>
            <p:cNvCxnSpPr/>
            <p:nvPr userDrawn="1"/>
          </p:nvCxnSpPr>
          <p:spPr bwMode="gray">
            <a:xfrm rot="5400000">
              <a:off x="-217989" y="4425629"/>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57" name="Textfeld 125"/>
            <p:cNvSpPr txBox="1"/>
            <p:nvPr userDrawn="1"/>
          </p:nvSpPr>
          <p:spPr bwMode="gray">
            <a:xfrm>
              <a:off x="-270016" y="1042102"/>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4,00</a:t>
              </a:r>
            </a:p>
          </p:txBody>
        </p:sp>
        <p:cxnSp>
          <p:nvCxnSpPr>
            <p:cNvPr id="58" name="Gerade Verbindung 105"/>
            <p:cNvCxnSpPr/>
            <p:nvPr userDrawn="1"/>
          </p:nvCxnSpPr>
          <p:spPr bwMode="gray">
            <a:xfrm rot="5400000">
              <a:off x="-217989" y="970017"/>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59" name="Textfeld 125"/>
            <p:cNvSpPr txBox="1"/>
            <p:nvPr userDrawn="1"/>
          </p:nvSpPr>
          <p:spPr bwMode="gray">
            <a:xfrm>
              <a:off x="-325696" y="2825353"/>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0</a:t>
              </a:r>
              <a:r>
                <a:rPr lang="de-DE" sz="600" noProof="0" dirty="0">
                  <a:solidFill>
                    <a:schemeClr val="tx2"/>
                  </a:solidFill>
                </a:rPr>
                <a:t>,8</a:t>
              </a:r>
              <a:endParaRPr lang="pl-PL" sz="600" noProof="0" dirty="0">
                <a:solidFill>
                  <a:schemeClr val="tx2"/>
                </a:solidFill>
              </a:endParaRPr>
            </a:p>
          </p:txBody>
        </p:sp>
        <p:cxnSp>
          <p:nvCxnSpPr>
            <p:cNvPr id="60" name="Gerade Verbindung 107"/>
            <p:cNvCxnSpPr/>
            <p:nvPr userDrawn="1"/>
          </p:nvCxnSpPr>
          <p:spPr bwMode="gray">
            <a:xfrm rot="16200000">
              <a:off x="-109977" y="2815134"/>
              <a:ext cx="0" cy="9465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Gerade Verbindung 108"/>
            <p:cNvCxnSpPr/>
            <p:nvPr userDrawn="1"/>
          </p:nvCxnSpPr>
          <p:spPr bwMode="gray">
            <a:xfrm rot="5400000">
              <a:off x="9244266" y="4534169"/>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2" name="Gerade Verbindung 109"/>
            <p:cNvCxnSpPr/>
            <p:nvPr userDrawn="1"/>
          </p:nvCxnSpPr>
          <p:spPr bwMode="gray">
            <a:xfrm rot="5400000">
              <a:off x="9244266" y="1078557"/>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 name="Gerade Verbindung 110"/>
            <p:cNvCxnSpPr/>
            <p:nvPr userDrawn="1"/>
          </p:nvCxnSpPr>
          <p:spPr bwMode="gray">
            <a:xfrm rot="16200000">
              <a:off x="9244266" y="2815662"/>
              <a:ext cx="0"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7707074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7101566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292" name="think-cell Folie" r:id="rId4" imgW="245" imgH="245" progId="TCLayout.ActiveDocument.1">
                  <p:embed/>
                </p:oleObj>
              </mc:Choice>
              <mc:Fallback>
                <p:oleObj name="think-cell Folie" r:id="rId4" imgW="245" imgH="24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7" name="Text Placeholder 2"/>
          <p:cNvSpPr>
            <a:spLocks noGrp="1"/>
          </p:cNvSpPr>
          <p:nvPr>
            <p:ph type="body" sz="quarter" idx="10" hasCustomPrompt="1"/>
          </p:nvPr>
        </p:nvSpPr>
        <p:spPr bwMode="gray">
          <a:xfrm>
            <a:off x="3077988" y="123269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28" name="Text Placeholder 2"/>
          <p:cNvSpPr>
            <a:spLocks noGrp="1"/>
          </p:cNvSpPr>
          <p:nvPr>
            <p:ph type="body" sz="quarter" idx="11" hasCustomPrompt="1"/>
          </p:nvPr>
        </p:nvSpPr>
        <p:spPr bwMode="gray">
          <a:xfrm>
            <a:off x="3077988" y="173401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29" name="Text Placeholder 2"/>
          <p:cNvSpPr>
            <a:spLocks noGrp="1"/>
          </p:cNvSpPr>
          <p:nvPr>
            <p:ph type="body" sz="quarter" idx="12" hasCustomPrompt="1"/>
          </p:nvPr>
        </p:nvSpPr>
        <p:spPr bwMode="gray">
          <a:xfrm>
            <a:off x="3077988" y="223533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0" name="Text Placeholder 2"/>
          <p:cNvSpPr>
            <a:spLocks noGrp="1"/>
          </p:cNvSpPr>
          <p:nvPr>
            <p:ph type="body" sz="quarter" idx="13" hasCustomPrompt="1"/>
          </p:nvPr>
        </p:nvSpPr>
        <p:spPr bwMode="gray">
          <a:xfrm>
            <a:off x="3077988" y="273665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2" name="Text Placeholder 2"/>
          <p:cNvSpPr>
            <a:spLocks noGrp="1"/>
          </p:cNvSpPr>
          <p:nvPr>
            <p:ph type="body" sz="quarter" idx="14" hasCustomPrompt="1"/>
          </p:nvPr>
        </p:nvSpPr>
        <p:spPr bwMode="gray">
          <a:xfrm>
            <a:off x="3077988" y="3237972"/>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3" name="Text Placeholder 2"/>
          <p:cNvSpPr>
            <a:spLocks noGrp="1"/>
          </p:cNvSpPr>
          <p:nvPr>
            <p:ph type="body" sz="quarter" idx="15" hasCustomPrompt="1"/>
          </p:nvPr>
        </p:nvSpPr>
        <p:spPr bwMode="gray">
          <a:xfrm>
            <a:off x="5688013" y="123269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4" name="Text Placeholder 2"/>
          <p:cNvSpPr>
            <a:spLocks noGrp="1"/>
          </p:cNvSpPr>
          <p:nvPr>
            <p:ph type="body" sz="quarter" idx="16" hasCustomPrompt="1"/>
          </p:nvPr>
        </p:nvSpPr>
        <p:spPr bwMode="gray">
          <a:xfrm>
            <a:off x="5688013" y="173401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5" name="Text Placeholder 2"/>
          <p:cNvSpPr>
            <a:spLocks noGrp="1"/>
          </p:cNvSpPr>
          <p:nvPr>
            <p:ph type="body" sz="quarter" idx="17" hasCustomPrompt="1"/>
          </p:nvPr>
        </p:nvSpPr>
        <p:spPr bwMode="gray">
          <a:xfrm>
            <a:off x="5688013" y="223533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6" name="Text Placeholder 2"/>
          <p:cNvSpPr>
            <a:spLocks noGrp="1"/>
          </p:cNvSpPr>
          <p:nvPr>
            <p:ph type="body" sz="quarter" idx="18" hasCustomPrompt="1"/>
          </p:nvPr>
        </p:nvSpPr>
        <p:spPr bwMode="gray">
          <a:xfrm>
            <a:off x="5688013" y="273665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7" name="Text Placeholder 2"/>
          <p:cNvSpPr>
            <a:spLocks noGrp="1"/>
          </p:cNvSpPr>
          <p:nvPr>
            <p:ph type="body" sz="quarter" idx="19" hasCustomPrompt="1"/>
          </p:nvPr>
        </p:nvSpPr>
        <p:spPr bwMode="gray">
          <a:xfrm>
            <a:off x="5688013" y="3237972"/>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9" name="Text Placeholder 4"/>
          <p:cNvSpPr>
            <a:spLocks noGrp="1"/>
          </p:cNvSpPr>
          <p:nvPr>
            <p:ph type="body" sz="quarter" idx="20" hasCustomPrompt="1"/>
          </p:nvPr>
        </p:nvSpPr>
        <p:spPr bwMode="gray">
          <a:xfrm>
            <a:off x="3600450" y="1233488"/>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baseline="0">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4" name="Text Placeholder 4"/>
          <p:cNvSpPr>
            <a:spLocks noGrp="1"/>
          </p:cNvSpPr>
          <p:nvPr>
            <p:ph type="body" sz="quarter" idx="21" hasCustomPrompt="1"/>
          </p:nvPr>
        </p:nvSpPr>
        <p:spPr bwMode="gray">
          <a:xfrm>
            <a:off x="3600450" y="1734609"/>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5" name="Text Placeholder 4"/>
          <p:cNvSpPr>
            <a:spLocks noGrp="1"/>
          </p:cNvSpPr>
          <p:nvPr>
            <p:ph type="body" sz="quarter" idx="22" hasCustomPrompt="1"/>
          </p:nvPr>
        </p:nvSpPr>
        <p:spPr bwMode="gray">
          <a:xfrm>
            <a:off x="3600450" y="2235730"/>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6" name="Text Placeholder 4"/>
          <p:cNvSpPr>
            <a:spLocks noGrp="1"/>
          </p:cNvSpPr>
          <p:nvPr>
            <p:ph type="body" sz="quarter" idx="23" hasCustomPrompt="1"/>
          </p:nvPr>
        </p:nvSpPr>
        <p:spPr bwMode="gray">
          <a:xfrm>
            <a:off x="3600450" y="2736851"/>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7" name="Text Placeholder 4"/>
          <p:cNvSpPr>
            <a:spLocks noGrp="1"/>
          </p:cNvSpPr>
          <p:nvPr>
            <p:ph type="body" sz="quarter" idx="24" hasCustomPrompt="1"/>
          </p:nvPr>
        </p:nvSpPr>
        <p:spPr bwMode="gray">
          <a:xfrm>
            <a:off x="3600450" y="3237972"/>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8" name="Text Placeholder 4"/>
          <p:cNvSpPr>
            <a:spLocks noGrp="1"/>
          </p:cNvSpPr>
          <p:nvPr>
            <p:ph type="body" sz="quarter" idx="25" hasCustomPrompt="1"/>
          </p:nvPr>
        </p:nvSpPr>
        <p:spPr bwMode="gray">
          <a:xfrm>
            <a:off x="6210475" y="1233488"/>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9" name="Text Placeholder 4"/>
          <p:cNvSpPr>
            <a:spLocks noGrp="1"/>
          </p:cNvSpPr>
          <p:nvPr>
            <p:ph type="body" sz="quarter" idx="26" hasCustomPrompt="1"/>
          </p:nvPr>
        </p:nvSpPr>
        <p:spPr bwMode="gray">
          <a:xfrm>
            <a:off x="6210475" y="1734609"/>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4" name="Text Placeholder 4"/>
          <p:cNvSpPr>
            <a:spLocks noGrp="1"/>
          </p:cNvSpPr>
          <p:nvPr>
            <p:ph type="body" sz="quarter" idx="27" hasCustomPrompt="1"/>
          </p:nvPr>
        </p:nvSpPr>
        <p:spPr bwMode="gray">
          <a:xfrm>
            <a:off x="6210475" y="2235730"/>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5" name="Text Placeholder 4"/>
          <p:cNvSpPr>
            <a:spLocks noGrp="1"/>
          </p:cNvSpPr>
          <p:nvPr>
            <p:ph type="body" sz="quarter" idx="28" hasCustomPrompt="1"/>
          </p:nvPr>
        </p:nvSpPr>
        <p:spPr bwMode="gray">
          <a:xfrm>
            <a:off x="6210475" y="2736851"/>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6" name="Text Placeholder 4"/>
          <p:cNvSpPr>
            <a:spLocks noGrp="1"/>
          </p:cNvSpPr>
          <p:nvPr>
            <p:ph type="body" sz="quarter" idx="29" hasCustomPrompt="1"/>
          </p:nvPr>
        </p:nvSpPr>
        <p:spPr bwMode="gray">
          <a:xfrm>
            <a:off x="6210475" y="3237972"/>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2" name="Titel 1"/>
          <p:cNvSpPr>
            <a:spLocks noGrp="1"/>
          </p:cNvSpPr>
          <p:nvPr>
            <p:ph type="title" hasCustomPrompt="1"/>
          </p:nvPr>
        </p:nvSpPr>
        <p:spPr>
          <a:xfrm>
            <a:off x="395288" y="1527175"/>
            <a:ext cx="2160587" cy="1941196"/>
          </a:xfrm>
        </p:spPr>
        <p:txBody>
          <a:bodyPr anchor="ctr"/>
          <a:lstStyle>
            <a:lvl1pPr>
              <a:defRPr sz="1800" b="1" cap="all" baseline="0"/>
            </a:lvl1pPr>
          </a:lstStyle>
          <a:p>
            <a:r>
              <a:rPr lang="de-DE" dirty="0"/>
              <a:t>Agenda</a:t>
            </a:r>
            <a:endParaRPr lang="en-US" dirty="0"/>
          </a:p>
        </p:txBody>
      </p:sp>
      <p:sp>
        <p:nvSpPr>
          <p:cNvPr id="3" name="Datumsplatzhalter 2"/>
          <p:cNvSpPr>
            <a:spLocks noGrp="1"/>
          </p:cNvSpPr>
          <p:nvPr>
            <p:ph type="dt" sz="half" idx="30"/>
          </p:nvPr>
        </p:nvSpPr>
        <p:spPr>
          <a:xfrm>
            <a:off x="7985795" y="4836160"/>
            <a:ext cx="540059" cy="136050"/>
          </a:xfrm>
          <a:prstGeom prst="rect">
            <a:avLst/>
          </a:prstGeom>
        </p:spPr>
        <p:txBody>
          <a:bodyPr/>
          <a:lstStyle>
            <a:lvl1pPr>
              <a:defRPr>
                <a:solidFill>
                  <a:schemeClr val="bg1"/>
                </a:solidFill>
              </a:defRPr>
            </a:lvl1pPr>
          </a:lstStyle>
          <a:p>
            <a:endParaRPr lang="de-DE" dirty="0"/>
          </a:p>
        </p:txBody>
      </p:sp>
      <p:sp>
        <p:nvSpPr>
          <p:cNvPr id="4" name="Fußzeilenplatzhalter 3"/>
          <p:cNvSpPr>
            <a:spLocks noGrp="1"/>
          </p:cNvSpPr>
          <p:nvPr>
            <p:ph type="ftr" sz="quarter" idx="31"/>
          </p:nvPr>
        </p:nvSpPr>
        <p:spPr>
          <a:xfrm>
            <a:off x="5788992" y="4836160"/>
            <a:ext cx="2196803" cy="136050"/>
          </a:xfrm>
          <a:prstGeom prst="rect">
            <a:avLst/>
          </a:prstGeom>
        </p:spPr>
        <p:txBody>
          <a:bodyPr/>
          <a:lstStyle>
            <a:lvl1pPr>
              <a:defRPr>
                <a:solidFill>
                  <a:schemeClr val="bg1"/>
                </a:solidFill>
              </a:defRPr>
            </a:lvl1pPr>
          </a:lstStyle>
          <a:p>
            <a:endParaRPr lang="de-DE" dirty="0"/>
          </a:p>
        </p:txBody>
      </p:sp>
      <p:sp>
        <p:nvSpPr>
          <p:cNvPr id="5" name="Foliennummernplatzhalter 4"/>
          <p:cNvSpPr>
            <a:spLocks noGrp="1"/>
          </p:cNvSpPr>
          <p:nvPr>
            <p:ph type="sldNum" sz="quarter" idx="32"/>
          </p:nvPr>
        </p:nvSpPr>
        <p:spPr>
          <a:xfrm>
            <a:off x="8532440" y="4836160"/>
            <a:ext cx="611561" cy="136050"/>
          </a:xfrm>
          <a:prstGeom prst="rect">
            <a:avLst/>
          </a:prstGeom>
        </p:spPr>
        <p:txBody>
          <a:bodyPr/>
          <a:lstStyle>
            <a:lvl1pPr>
              <a:defRPr>
                <a:solidFill>
                  <a:schemeClr val="bg1"/>
                </a:solidFill>
              </a:defRPr>
            </a:lvl1pPr>
          </a:lstStyle>
          <a:p>
            <a:r>
              <a:rPr lang="de-DE"/>
              <a:t> </a:t>
            </a:r>
            <a:r>
              <a:rPr lang="de-DE">
                <a:sym typeface="Wingdings"/>
              </a:rPr>
              <a:t>  </a:t>
            </a:r>
            <a:fld id="{443B15C8-972D-49F6-9B7C-5A2154A8C95F}" type="slidenum">
              <a:rPr lang="de-DE" smtClean="0"/>
              <a:pPr/>
              <a:t>‹Nr.›</a:t>
            </a:fld>
            <a:endParaRPr lang="de-DE" dirty="0"/>
          </a:p>
        </p:txBody>
      </p:sp>
    </p:spTree>
    <p:extLst>
      <p:ext uri="{BB962C8B-B14F-4D97-AF65-F5344CB8AC3E}">
        <p14:creationId xmlns:p14="http://schemas.microsoft.com/office/powerpoint/2010/main" val="290708105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bwMode="gray">
          <a:xfrm>
            <a:off x="395289" y="1131889"/>
            <a:ext cx="8353424" cy="3456085"/>
          </a:xfrm>
        </p:spPr>
        <p:txBody>
          <a:bodyPr/>
          <a:lstStyle>
            <a:lvl1pPr>
              <a:defRPr/>
            </a:lvl1pPr>
            <a:lvl9pPr>
              <a:defRPr>
                <a:solidFill>
                  <a:schemeClr val="tx2"/>
                </a:solidFill>
              </a:defRPr>
            </a:lvl9pPr>
          </a:lstStyle>
          <a:p>
            <a:pPr lvl="0"/>
            <a:r>
              <a:rPr lang="de-DE" noProof="0" dirty="0"/>
              <a:t>Schreibe hier deinen Text.</a:t>
            </a:r>
          </a:p>
        </p:txBody>
      </p:sp>
      <p:sp>
        <p:nvSpPr>
          <p:cNvPr id="12" name="Text Placeholder 4"/>
          <p:cNvSpPr>
            <a:spLocks noGrp="1"/>
          </p:cNvSpPr>
          <p:nvPr>
            <p:ph type="body" sz="quarter" idx="20" hasCustomPrompt="1"/>
          </p:nvPr>
        </p:nvSpPr>
        <p:spPr bwMode="gray">
          <a:xfrm>
            <a:off x="395287" y="267494"/>
            <a:ext cx="8350079" cy="180181"/>
          </a:xfrm>
        </p:spPr>
        <p:txBody>
          <a:bodyPr wrap="none" bIns="18000" anchor="b"/>
          <a:lstStyle>
            <a:lvl1pPr marL="0" indent="0">
              <a:lnSpc>
                <a:spcPct val="100000"/>
              </a:lnSpc>
              <a:spcBef>
                <a:spcPts val="0"/>
              </a:spcBef>
              <a:spcAft>
                <a:spcPts val="0"/>
              </a:spcAft>
              <a:buFont typeface="Arial" panose="020B0604020202020204" pitchFamily="34" charset="0"/>
              <a:buNone/>
              <a:defRPr sz="1000" b="0" cap="all" baseline="0">
                <a:solidFill>
                  <a:schemeClr val="accent4"/>
                </a:solidFill>
              </a:defRPr>
            </a:lvl1pPr>
            <a:lvl2pPr marL="0" indent="0">
              <a:lnSpc>
                <a:spcPct val="100000"/>
              </a:lnSpc>
              <a:spcBef>
                <a:spcPts val="0"/>
              </a:spcBef>
              <a:spcAft>
                <a:spcPts val="0"/>
              </a:spcAft>
              <a:buNone/>
              <a:defRPr sz="1000" b="1" cap="all">
                <a:solidFill>
                  <a:schemeClr val="accent4"/>
                </a:solidFill>
              </a:defRPr>
            </a:lvl2pPr>
            <a:lvl3pPr marL="0" indent="0">
              <a:lnSpc>
                <a:spcPct val="100000"/>
              </a:lnSpc>
              <a:spcBef>
                <a:spcPts val="0"/>
              </a:spcBef>
              <a:spcAft>
                <a:spcPts val="0"/>
              </a:spcAft>
              <a:buNone/>
              <a:defRPr sz="1000" b="1" cap="all">
                <a:solidFill>
                  <a:schemeClr val="accent4"/>
                </a:solidFill>
              </a:defRPr>
            </a:lvl3pPr>
            <a:lvl4pPr marL="0" indent="0">
              <a:lnSpc>
                <a:spcPct val="100000"/>
              </a:lnSpc>
              <a:spcBef>
                <a:spcPts val="0"/>
              </a:spcBef>
              <a:spcAft>
                <a:spcPts val="0"/>
              </a:spcAft>
              <a:buFont typeface="Arial" panose="020B0604020202020204" pitchFamily="34" charset="0"/>
              <a:buNone/>
              <a:defRPr sz="1000" b="1" cap="all">
                <a:solidFill>
                  <a:schemeClr val="accent4"/>
                </a:solidFill>
              </a:defRPr>
            </a:lvl4pPr>
            <a:lvl5pPr marL="0" indent="0">
              <a:lnSpc>
                <a:spcPct val="100000"/>
              </a:lnSpc>
              <a:spcBef>
                <a:spcPts val="0"/>
              </a:spcBef>
              <a:spcAft>
                <a:spcPts val="0"/>
              </a:spcAft>
              <a:buFont typeface="Arial" panose="020B0604020202020204" pitchFamily="34" charset="0"/>
              <a:buNone/>
              <a:defRPr sz="1000" b="1" cap="all">
                <a:solidFill>
                  <a:schemeClr val="accent4"/>
                </a:solidFill>
              </a:defRPr>
            </a:lvl5pPr>
            <a:lvl6pPr marL="0" indent="0">
              <a:lnSpc>
                <a:spcPct val="100000"/>
              </a:lnSpc>
              <a:spcBef>
                <a:spcPts val="0"/>
              </a:spcBef>
              <a:spcAft>
                <a:spcPts val="0"/>
              </a:spcAft>
              <a:buFont typeface="Arial" panose="020B0604020202020204" pitchFamily="34" charset="0"/>
              <a:buNone/>
              <a:defRPr sz="1000" b="1" cap="all">
                <a:solidFill>
                  <a:schemeClr val="accent4"/>
                </a:solidFill>
              </a:defRPr>
            </a:lvl6pPr>
            <a:lvl7pPr marL="0" indent="0">
              <a:lnSpc>
                <a:spcPct val="100000"/>
              </a:lnSpc>
              <a:spcBef>
                <a:spcPts val="0"/>
              </a:spcBef>
              <a:spcAft>
                <a:spcPts val="0"/>
              </a:spcAft>
              <a:buFont typeface="Arial" panose="020B0604020202020204" pitchFamily="34" charset="0"/>
              <a:buNone/>
              <a:defRPr sz="1000" b="1" cap="all">
                <a:solidFill>
                  <a:schemeClr val="accent4"/>
                </a:solidFill>
              </a:defRPr>
            </a:lvl7pPr>
            <a:lvl8pPr marL="0" indent="0">
              <a:lnSpc>
                <a:spcPct val="100000"/>
              </a:lnSpc>
              <a:spcBef>
                <a:spcPts val="0"/>
              </a:spcBef>
              <a:spcAft>
                <a:spcPts val="0"/>
              </a:spcAft>
              <a:buFont typeface="Arial" panose="020B0604020202020204" pitchFamily="34" charset="0"/>
              <a:buNone/>
              <a:defRPr sz="1000" b="1" cap="all">
                <a:solidFill>
                  <a:schemeClr val="accent4"/>
                </a:solidFill>
              </a:defRPr>
            </a:lvl8pPr>
            <a:lvl9pPr marL="0" indent="0">
              <a:lnSpc>
                <a:spcPct val="100000"/>
              </a:lnSpc>
              <a:spcBef>
                <a:spcPts val="0"/>
              </a:spcBef>
              <a:spcAft>
                <a:spcPts val="0"/>
              </a:spcAft>
              <a:buFont typeface="Arial" panose="020B0604020202020204" pitchFamily="34" charset="0"/>
              <a:buNone/>
              <a:defRPr sz="1000" b="1" cap="all">
                <a:solidFill>
                  <a:schemeClr val="accent4"/>
                </a:solidFill>
              </a:defRPr>
            </a:lvl9pPr>
          </a:lstStyle>
          <a:p>
            <a:pPr lvl="0"/>
            <a:r>
              <a:rPr lang="de-DE" noProof="0" dirty="0"/>
              <a:t>Kapitelüberschrift (OPTIONAL)</a:t>
            </a:r>
          </a:p>
        </p:txBody>
      </p:sp>
      <p:sp>
        <p:nvSpPr>
          <p:cNvPr id="3" name="Titel 2"/>
          <p:cNvSpPr>
            <a:spLocks noGrp="1"/>
          </p:cNvSpPr>
          <p:nvPr>
            <p:ph type="title"/>
          </p:nvPr>
        </p:nvSpPr>
        <p:spPr/>
        <p:txBody>
          <a:bodyPr/>
          <a:lstStyle/>
          <a:p>
            <a:r>
              <a:rPr lang="de-DE"/>
              <a:t>Titelmasterformat durch Klicken bearbeiten</a:t>
            </a:r>
            <a:endParaRPr lang="en-US" dirty="0"/>
          </a:p>
        </p:txBody>
      </p:sp>
      <p:sp>
        <p:nvSpPr>
          <p:cNvPr id="9"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1" name="Datumsplatzhalter 10"/>
          <p:cNvSpPr>
            <a:spLocks noGrp="1"/>
          </p:cNvSpPr>
          <p:nvPr>
            <p:ph type="dt" sz="half" idx="29"/>
          </p:nvPr>
        </p:nvSpPr>
        <p:spPr/>
        <p:txBody>
          <a:bodyPr/>
          <a:lstStyle/>
          <a:p>
            <a:endParaRPr lang="cs-CZ" dirty="0"/>
          </a:p>
        </p:txBody>
      </p:sp>
      <p:sp>
        <p:nvSpPr>
          <p:cNvPr id="13" name="Fußzeilenplatzhalter 12"/>
          <p:cNvSpPr>
            <a:spLocks noGrp="1"/>
          </p:cNvSpPr>
          <p:nvPr>
            <p:ph type="ftr" sz="quarter" idx="30"/>
          </p:nvPr>
        </p:nvSpPr>
        <p:spPr/>
        <p:txBody>
          <a:bodyPr/>
          <a:lstStyle/>
          <a:p>
            <a:endParaRPr lang="cs-CZ" noProof="0" dirty="0"/>
          </a:p>
        </p:txBody>
      </p:sp>
      <p:sp>
        <p:nvSpPr>
          <p:cNvPr id="14" name="Foliennummernplatzhalter 13"/>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1327961246"/>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x tex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bwMode="gray">
          <a:xfrm>
            <a:off x="395288" y="1131889"/>
            <a:ext cx="4104712" cy="3456085"/>
          </a:xfrm>
        </p:spPr>
        <p:txBody>
          <a:bodyPr/>
          <a:lstStyle/>
          <a:p>
            <a:pPr lvl="0"/>
            <a:r>
              <a:rPr lang="de-DE" noProof="0" dirty="0"/>
              <a:t>Schreibe hier deinen Text.</a:t>
            </a:r>
          </a:p>
        </p:txBody>
      </p:sp>
      <p:sp>
        <p:nvSpPr>
          <p:cNvPr id="7" name="Text Placeholder 7"/>
          <p:cNvSpPr>
            <a:spLocks noGrp="1"/>
          </p:cNvSpPr>
          <p:nvPr>
            <p:ph type="body" sz="quarter" idx="17" hasCustomPrompt="1"/>
          </p:nvPr>
        </p:nvSpPr>
        <p:spPr bwMode="gray">
          <a:xfrm>
            <a:off x="4644000" y="1131889"/>
            <a:ext cx="4104712" cy="3456085"/>
          </a:xfrm>
        </p:spPr>
        <p:txBody>
          <a:bodyPr lIns="0"/>
          <a:lstStyle/>
          <a:p>
            <a:pPr lvl="0"/>
            <a:r>
              <a:rPr lang="de-DE" noProof="0" dirty="0"/>
              <a:t>Schreibe hier deinen Text.</a:t>
            </a:r>
          </a:p>
        </p:txBody>
      </p:sp>
      <p:sp>
        <p:nvSpPr>
          <p:cNvPr id="3" name="Titel 2"/>
          <p:cNvSpPr>
            <a:spLocks noGrp="1"/>
          </p:cNvSpPr>
          <p:nvPr>
            <p:ph type="title"/>
          </p:nvPr>
        </p:nvSpPr>
        <p:spPr/>
        <p:txBody>
          <a:bodyPr/>
          <a:lstStyle/>
          <a:p>
            <a:r>
              <a:rPr lang="de-DE"/>
              <a:t>Titelmasterformat durch Klicken bearbeiten</a:t>
            </a:r>
            <a:endParaRPr lang="en-US" dirty="0"/>
          </a:p>
        </p:txBody>
      </p:sp>
      <p:sp>
        <p:nvSpPr>
          <p:cNvPr id="10"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3"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2" name="Datumsplatzhalter 11"/>
          <p:cNvSpPr>
            <a:spLocks noGrp="1"/>
          </p:cNvSpPr>
          <p:nvPr>
            <p:ph type="dt" sz="half" idx="29"/>
          </p:nvPr>
        </p:nvSpPr>
        <p:spPr/>
        <p:txBody>
          <a:bodyPr/>
          <a:lstStyle/>
          <a:p>
            <a:endParaRPr lang="cs-CZ" dirty="0"/>
          </a:p>
        </p:txBody>
      </p:sp>
      <p:sp>
        <p:nvSpPr>
          <p:cNvPr id="14" name="Fußzeilenplatzhalter 13"/>
          <p:cNvSpPr>
            <a:spLocks noGrp="1"/>
          </p:cNvSpPr>
          <p:nvPr>
            <p:ph type="ftr" sz="quarter" idx="30"/>
          </p:nvPr>
        </p:nvSpPr>
        <p:spPr/>
        <p:txBody>
          <a:bodyPr/>
          <a:lstStyle/>
          <a:p>
            <a:endParaRPr lang="cs-CZ" noProof="0" dirty="0"/>
          </a:p>
        </p:txBody>
      </p:sp>
      <p:sp>
        <p:nvSpPr>
          <p:cNvPr id="15" name="Foliennummernplatzhalter 14"/>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302282285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 x tex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bwMode="gray">
          <a:xfrm>
            <a:off x="395288" y="1131889"/>
            <a:ext cx="1980355" cy="3456085"/>
          </a:xfrm>
        </p:spPr>
        <p:txBody>
          <a:bodyPr/>
          <a:lstStyle/>
          <a:p>
            <a:pPr lvl="0"/>
            <a:r>
              <a:rPr lang="de-DE" noProof="0" dirty="0"/>
              <a:t>Schreibe hier deinen Text.</a:t>
            </a:r>
          </a:p>
        </p:txBody>
      </p:sp>
      <p:sp>
        <p:nvSpPr>
          <p:cNvPr id="7" name="Text Placeholder 7"/>
          <p:cNvSpPr>
            <a:spLocks noGrp="1"/>
          </p:cNvSpPr>
          <p:nvPr>
            <p:ph type="body" sz="quarter" idx="17" hasCustomPrompt="1"/>
          </p:nvPr>
        </p:nvSpPr>
        <p:spPr bwMode="gray">
          <a:xfrm>
            <a:off x="2519644" y="1131889"/>
            <a:ext cx="1979860" cy="3456085"/>
          </a:xfrm>
        </p:spPr>
        <p:txBody>
          <a:bodyPr/>
          <a:lstStyle/>
          <a:p>
            <a:pPr lvl="0"/>
            <a:r>
              <a:rPr lang="de-DE" noProof="0" dirty="0"/>
              <a:t>Schreibe hier deinen Text.</a:t>
            </a:r>
          </a:p>
        </p:txBody>
      </p:sp>
      <p:sp>
        <p:nvSpPr>
          <p:cNvPr id="12" name="Text Placeholder 7"/>
          <p:cNvSpPr>
            <a:spLocks noGrp="1"/>
          </p:cNvSpPr>
          <p:nvPr>
            <p:ph type="body" sz="quarter" idx="21" hasCustomPrompt="1"/>
          </p:nvPr>
        </p:nvSpPr>
        <p:spPr bwMode="gray">
          <a:xfrm>
            <a:off x="4644496" y="1131889"/>
            <a:ext cx="1979860" cy="3456085"/>
          </a:xfrm>
        </p:spPr>
        <p:txBody>
          <a:bodyPr/>
          <a:lstStyle/>
          <a:p>
            <a:pPr lvl="0"/>
            <a:r>
              <a:rPr lang="de-DE" noProof="0" dirty="0"/>
              <a:t>Schreibe hier deinen Text.</a:t>
            </a:r>
          </a:p>
        </p:txBody>
      </p:sp>
      <p:sp>
        <p:nvSpPr>
          <p:cNvPr id="13" name="Text Placeholder 7"/>
          <p:cNvSpPr>
            <a:spLocks noGrp="1"/>
          </p:cNvSpPr>
          <p:nvPr>
            <p:ph type="body" sz="quarter" idx="22" hasCustomPrompt="1"/>
          </p:nvPr>
        </p:nvSpPr>
        <p:spPr bwMode="gray">
          <a:xfrm>
            <a:off x="6768355" y="1131889"/>
            <a:ext cx="1977011" cy="3456085"/>
          </a:xfrm>
        </p:spPr>
        <p:txBody>
          <a:bodyPr/>
          <a:lstStyle/>
          <a:p>
            <a:pPr lvl="0"/>
            <a:r>
              <a:rPr lang="de-DE" noProof="0" dirty="0"/>
              <a:t>Schreibe hier deinen Text.</a:t>
            </a:r>
          </a:p>
        </p:txBody>
      </p:sp>
      <p:sp>
        <p:nvSpPr>
          <p:cNvPr id="4" name="Titel 3"/>
          <p:cNvSpPr>
            <a:spLocks noGrp="1"/>
          </p:cNvSpPr>
          <p:nvPr>
            <p:ph type="title"/>
          </p:nvPr>
        </p:nvSpPr>
        <p:spPr/>
        <p:txBody>
          <a:bodyPr/>
          <a:lstStyle/>
          <a:p>
            <a:r>
              <a:rPr lang="de-DE"/>
              <a:t>Titelmasterformat durch Klicken bearbeiten</a:t>
            </a:r>
            <a:endParaRPr lang="en-US"/>
          </a:p>
        </p:txBody>
      </p:sp>
      <p:sp>
        <p:nvSpPr>
          <p:cNvPr id="18"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5"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1" name="Datumsplatzhalter 10"/>
          <p:cNvSpPr>
            <a:spLocks noGrp="1"/>
          </p:cNvSpPr>
          <p:nvPr>
            <p:ph type="dt" sz="half" idx="29"/>
          </p:nvPr>
        </p:nvSpPr>
        <p:spPr/>
        <p:txBody>
          <a:bodyPr/>
          <a:lstStyle/>
          <a:p>
            <a:endParaRPr lang="cs-CZ" dirty="0"/>
          </a:p>
        </p:txBody>
      </p:sp>
      <p:sp>
        <p:nvSpPr>
          <p:cNvPr id="14" name="Fußzeilenplatzhalter 13"/>
          <p:cNvSpPr>
            <a:spLocks noGrp="1"/>
          </p:cNvSpPr>
          <p:nvPr>
            <p:ph type="ftr" sz="quarter" idx="30"/>
          </p:nvPr>
        </p:nvSpPr>
        <p:spPr/>
        <p:txBody>
          <a:bodyPr/>
          <a:lstStyle/>
          <a:p>
            <a:endParaRPr lang="cs-CZ" noProof="0" dirty="0"/>
          </a:p>
        </p:txBody>
      </p:sp>
      <p:sp>
        <p:nvSpPr>
          <p:cNvPr id="16" name="Foliennummernplatzhalter 15"/>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420778481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xt + image">
    <p:spTree>
      <p:nvGrpSpPr>
        <p:cNvPr id="1" name=""/>
        <p:cNvGrpSpPr/>
        <p:nvPr/>
      </p:nvGrpSpPr>
      <p:grpSpPr>
        <a:xfrm>
          <a:off x="0" y="0"/>
          <a:ext cx="0" cy="0"/>
          <a:chOff x="0" y="0"/>
          <a:chExt cx="0" cy="0"/>
        </a:xfrm>
      </p:grpSpPr>
      <p:sp>
        <p:nvSpPr>
          <p:cNvPr id="7" name="Picture Placeholder 3"/>
          <p:cNvSpPr>
            <a:spLocks noGrp="1"/>
          </p:cNvSpPr>
          <p:nvPr>
            <p:ph type="pic" sz="quarter" idx="18" hasCustomPrompt="1"/>
          </p:nvPr>
        </p:nvSpPr>
        <p:spPr bwMode="gray">
          <a:xfrm>
            <a:off x="395286" y="1131889"/>
            <a:ext cx="5794920" cy="3456085"/>
          </a:xfrm>
          <a:solidFill>
            <a:schemeClr val="accent3"/>
          </a:solidFill>
        </p:spPr>
        <p:txBody>
          <a:bodyPr anchor="ctr"/>
          <a:lstStyle>
            <a:lvl1pPr algn="ctr">
              <a:defRPr>
                <a:solidFill>
                  <a:schemeClr val="tx1"/>
                </a:solidFill>
              </a:defRPr>
            </a:lvl1pPr>
          </a:lstStyle>
          <a:p>
            <a:r>
              <a:rPr lang="de-DE" noProof="0" dirty="0"/>
              <a:t>Klicke auf das Icon, um ein Bild einzufügen</a:t>
            </a:r>
            <a:br>
              <a:rPr lang="de-DE" noProof="0" dirty="0"/>
            </a:br>
            <a:endParaRPr lang="de-DE" noProof="0" dirty="0"/>
          </a:p>
        </p:txBody>
      </p:sp>
      <p:sp>
        <p:nvSpPr>
          <p:cNvPr id="8" name="Text Placeholder 7"/>
          <p:cNvSpPr>
            <a:spLocks noGrp="1"/>
          </p:cNvSpPr>
          <p:nvPr>
            <p:ph type="body" sz="quarter" idx="13" hasCustomPrompt="1"/>
          </p:nvPr>
        </p:nvSpPr>
        <p:spPr bwMode="gray">
          <a:xfrm>
            <a:off x="6334206" y="1131889"/>
            <a:ext cx="2411161" cy="3456085"/>
          </a:xfrm>
        </p:spPr>
        <p:txBody>
          <a:bodyPr lIns="0"/>
          <a:lstStyle/>
          <a:p>
            <a:pPr lvl="0"/>
            <a:r>
              <a:rPr lang="de-DE" noProof="0" dirty="0"/>
              <a:t>Schreibe hier deinen Text.</a:t>
            </a:r>
          </a:p>
        </p:txBody>
      </p:sp>
      <p:sp>
        <p:nvSpPr>
          <p:cNvPr id="3" name="Titel 2"/>
          <p:cNvSpPr>
            <a:spLocks noGrp="1"/>
          </p:cNvSpPr>
          <p:nvPr>
            <p:ph type="title"/>
          </p:nvPr>
        </p:nvSpPr>
        <p:spPr/>
        <p:txBody>
          <a:bodyPr/>
          <a:lstStyle/>
          <a:p>
            <a:r>
              <a:rPr lang="de-DE"/>
              <a:t>Titelmasterformat durch Klicken bearbeiten</a:t>
            </a:r>
            <a:endParaRPr lang="en-US"/>
          </a:p>
        </p:txBody>
      </p:sp>
      <p:sp>
        <p:nvSpPr>
          <p:cNvPr id="10"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2"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3" name="Datumsplatzhalter 12"/>
          <p:cNvSpPr>
            <a:spLocks noGrp="1"/>
          </p:cNvSpPr>
          <p:nvPr>
            <p:ph type="dt" sz="half" idx="29"/>
          </p:nvPr>
        </p:nvSpPr>
        <p:spPr/>
        <p:txBody>
          <a:bodyPr/>
          <a:lstStyle/>
          <a:p>
            <a:endParaRPr lang="cs-CZ" dirty="0"/>
          </a:p>
        </p:txBody>
      </p:sp>
      <p:sp>
        <p:nvSpPr>
          <p:cNvPr id="14" name="Fußzeilenplatzhalter 13"/>
          <p:cNvSpPr>
            <a:spLocks noGrp="1"/>
          </p:cNvSpPr>
          <p:nvPr>
            <p:ph type="ftr" sz="quarter" idx="30"/>
          </p:nvPr>
        </p:nvSpPr>
        <p:spPr/>
        <p:txBody>
          <a:bodyPr/>
          <a:lstStyle/>
          <a:p>
            <a:endParaRPr lang="cs-CZ" noProof="0" dirty="0"/>
          </a:p>
        </p:txBody>
      </p:sp>
      <p:sp>
        <p:nvSpPr>
          <p:cNvPr id="15" name="Foliennummernplatzhalter 14"/>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222378836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7101566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46" name="think-cell Folie" r:id="rId4" imgW="245" imgH="245" progId="TCLayout.ActiveDocument.1">
                  <p:embed/>
                </p:oleObj>
              </mc:Choice>
              <mc:Fallback>
                <p:oleObj name="think-cell Folie" r:id="rId4" imgW="245" imgH="24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7" name="Text Placeholder 2"/>
          <p:cNvSpPr>
            <a:spLocks noGrp="1"/>
          </p:cNvSpPr>
          <p:nvPr>
            <p:ph type="body" sz="quarter" idx="10" hasCustomPrompt="1"/>
          </p:nvPr>
        </p:nvSpPr>
        <p:spPr bwMode="gray">
          <a:xfrm>
            <a:off x="3077988" y="123269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28" name="Text Placeholder 2"/>
          <p:cNvSpPr>
            <a:spLocks noGrp="1"/>
          </p:cNvSpPr>
          <p:nvPr>
            <p:ph type="body" sz="quarter" idx="11" hasCustomPrompt="1"/>
          </p:nvPr>
        </p:nvSpPr>
        <p:spPr bwMode="gray">
          <a:xfrm>
            <a:off x="3077988" y="173401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29" name="Text Placeholder 2"/>
          <p:cNvSpPr>
            <a:spLocks noGrp="1"/>
          </p:cNvSpPr>
          <p:nvPr>
            <p:ph type="body" sz="quarter" idx="12" hasCustomPrompt="1"/>
          </p:nvPr>
        </p:nvSpPr>
        <p:spPr bwMode="gray">
          <a:xfrm>
            <a:off x="3077988" y="223533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0" name="Text Placeholder 2"/>
          <p:cNvSpPr>
            <a:spLocks noGrp="1"/>
          </p:cNvSpPr>
          <p:nvPr>
            <p:ph type="body" sz="quarter" idx="13" hasCustomPrompt="1"/>
          </p:nvPr>
        </p:nvSpPr>
        <p:spPr bwMode="gray">
          <a:xfrm>
            <a:off x="3077988" y="273665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2" name="Text Placeholder 2"/>
          <p:cNvSpPr>
            <a:spLocks noGrp="1"/>
          </p:cNvSpPr>
          <p:nvPr>
            <p:ph type="body" sz="quarter" idx="14" hasCustomPrompt="1"/>
          </p:nvPr>
        </p:nvSpPr>
        <p:spPr bwMode="gray">
          <a:xfrm>
            <a:off x="3077988" y="3237972"/>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3" name="Text Placeholder 2"/>
          <p:cNvSpPr>
            <a:spLocks noGrp="1"/>
          </p:cNvSpPr>
          <p:nvPr>
            <p:ph type="body" sz="quarter" idx="15" hasCustomPrompt="1"/>
          </p:nvPr>
        </p:nvSpPr>
        <p:spPr bwMode="gray">
          <a:xfrm>
            <a:off x="5688013" y="123269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4" name="Text Placeholder 2"/>
          <p:cNvSpPr>
            <a:spLocks noGrp="1"/>
          </p:cNvSpPr>
          <p:nvPr>
            <p:ph type="body" sz="quarter" idx="16" hasCustomPrompt="1"/>
          </p:nvPr>
        </p:nvSpPr>
        <p:spPr bwMode="gray">
          <a:xfrm>
            <a:off x="5688013" y="173401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5" name="Text Placeholder 2"/>
          <p:cNvSpPr>
            <a:spLocks noGrp="1"/>
          </p:cNvSpPr>
          <p:nvPr>
            <p:ph type="body" sz="quarter" idx="17" hasCustomPrompt="1"/>
          </p:nvPr>
        </p:nvSpPr>
        <p:spPr bwMode="gray">
          <a:xfrm>
            <a:off x="5688013" y="223533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6" name="Text Placeholder 2"/>
          <p:cNvSpPr>
            <a:spLocks noGrp="1"/>
          </p:cNvSpPr>
          <p:nvPr>
            <p:ph type="body" sz="quarter" idx="18" hasCustomPrompt="1"/>
          </p:nvPr>
        </p:nvSpPr>
        <p:spPr bwMode="gray">
          <a:xfrm>
            <a:off x="5688013" y="273665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7" name="Text Placeholder 2"/>
          <p:cNvSpPr>
            <a:spLocks noGrp="1"/>
          </p:cNvSpPr>
          <p:nvPr>
            <p:ph type="body" sz="quarter" idx="19" hasCustomPrompt="1"/>
          </p:nvPr>
        </p:nvSpPr>
        <p:spPr bwMode="gray">
          <a:xfrm>
            <a:off x="5688013" y="3237972"/>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9" name="Text Placeholder 4"/>
          <p:cNvSpPr>
            <a:spLocks noGrp="1"/>
          </p:cNvSpPr>
          <p:nvPr>
            <p:ph type="body" sz="quarter" idx="20" hasCustomPrompt="1"/>
          </p:nvPr>
        </p:nvSpPr>
        <p:spPr bwMode="gray">
          <a:xfrm>
            <a:off x="3600450" y="1233488"/>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baseline="0">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4" name="Text Placeholder 4"/>
          <p:cNvSpPr>
            <a:spLocks noGrp="1"/>
          </p:cNvSpPr>
          <p:nvPr>
            <p:ph type="body" sz="quarter" idx="21" hasCustomPrompt="1"/>
          </p:nvPr>
        </p:nvSpPr>
        <p:spPr bwMode="gray">
          <a:xfrm>
            <a:off x="3600450" y="1734609"/>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5" name="Text Placeholder 4"/>
          <p:cNvSpPr>
            <a:spLocks noGrp="1"/>
          </p:cNvSpPr>
          <p:nvPr>
            <p:ph type="body" sz="quarter" idx="22" hasCustomPrompt="1"/>
          </p:nvPr>
        </p:nvSpPr>
        <p:spPr bwMode="gray">
          <a:xfrm>
            <a:off x="3600450" y="2235730"/>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6" name="Text Placeholder 4"/>
          <p:cNvSpPr>
            <a:spLocks noGrp="1"/>
          </p:cNvSpPr>
          <p:nvPr>
            <p:ph type="body" sz="quarter" idx="23" hasCustomPrompt="1"/>
          </p:nvPr>
        </p:nvSpPr>
        <p:spPr bwMode="gray">
          <a:xfrm>
            <a:off x="3600450" y="2736851"/>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7" name="Text Placeholder 4"/>
          <p:cNvSpPr>
            <a:spLocks noGrp="1"/>
          </p:cNvSpPr>
          <p:nvPr>
            <p:ph type="body" sz="quarter" idx="24" hasCustomPrompt="1"/>
          </p:nvPr>
        </p:nvSpPr>
        <p:spPr bwMode="gray">
          <a:xfrm>
            <a:off x="3600450" y="3237972"/>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8" name="Text Placeholder 4"/>
          <p:cNvSpPr>
            <a:spLocks noGrp="1"/>
          </p:cNvSpPr>
          <p:nvPr>
            <p:ph type="body" sz="quarter" idx="25" hasCustomPrompt="1"/>
          </p:nvPr>
        </p:nvSpPr>
        <p:spPr bwMode="gray">
          <a:xfrm>
            <a:off x="6210475" y="1233488"/>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9" name="Text Placeholder 4"/>
          <p:cNvSpPr>
            <a:spLocks noGrp="1"/>
          </p:cNvSpPr>
          <p:nvPr>
            <p:ph type="body" sz="quarter" idx="26" hasCustomPrompt="1"/>
          </p:nvPr>
        </p:nvSpPr>
        <p:spPr bwMode="gray">
          <a:xfrm>
            <a:off x="6210475" y="1734609"/>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4" name="Text Placeholder 4"/>
          <p:cNvSpPr>
            <a:spLocks noGrp="1"/>
          </p:cNvSpPr>
          <p:nvPr>
            <p:ph type="body" sz="quarter" idx="27" hasCustomPrompt="1"/>
          </p:nvPr>
        </p:nvSpPr>
        <p:spPr bwMode="gray">
          <a:xfrm>
            <a:off x="6210475" y="2235730"/>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5" name="Text Placeholder 4"/>
          <p:cNvSpPr>
            <a:spLocks noGrp="1"/>
          </p:cNvSpPr>
          <p:nvPr>
            <p:ph type="body" sz="quarter" idx="28" hasCustomPrompt="1"/>
          </p:nvPr>
        </p:nvSpPr>
        <p:spPr bwMode="gray">
          <a:xfrm>
            <a:off x="6210475" y="2736851"/>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6" name="Text Placeholder 4"/>
          <p:cNvSpPr>
            <a:spLocks noGrp="1"/>
          </p:cNvSpPr>
          <p:nvPr>
            <p:ph type="body" sz="quarter" idx="29" hasCustomPrompt="1"/>
          </p:nvPr>
        </p:nvSpPr>
        <p:spPr bwMode="gray">
          <a:xfrm>
            <a:off x="6210475" y="3237972"/>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2" name="Titel 1"/>
          <p:cNvSpPr>
            <a:spLocks noGrp="1"/>
          </p:cNvSpPr>
          <p:nvPr>
            <p:ph type="title" hasCustomPrompt="1"/>
          </p:nvPr>
        </p:nvSpPr>
        <p:spPr>
          <a:xfrm>
            <a:off x="395288" y="1527175"/>
            <a:ext cx="2160587" cy="1941196"/>
          </a:xfrm>
        </p:spPr>
        <p:txBody>
          <a:bodyPr anchor="ctr"/>
          <a:lstStyle>
            <a:lvl1pPr>
              <a:defRPr sz="1800" b="1" cap="all" baseline="0"/>
            </a:lvl1pPr>
          </a:lstStyle>
          <a:p>
            <a:r>
              <a:rPr lang="de-DE" dirty="0"/>
              <a:t>Agenda</a:t>
            </a:r>
            <a:endParaRPr lang="en-US" dirty="0"/>
          </a:p>
        </p:txBody>
      </p:sp>
      <p:sp>
        <p:nvSpPr>
          <p:cNvPr id="3" name="Datumsplatzhalter 2"/>
          <p:cNvSpPr>
            <a:spLocks noGrp="1"/>
          </p:cNvSpPr>
          <p:nvPr>
            <p:ph type="dt" sz="half" idx="30"/>
          </p:nvPr>
        </p:nvSpPr>
        <p:spPr>
          <a:xfrm>
            <a:off x="7985795" y="4836160"/>
            <a:ext cx="540059" cy="136050"/>
          </a:xfrm>
          <a:prstGeom prst="rect">
            <a:avLst/>
          </a:prstGeom>
        </p:spPr>
        <p:txBody>
          <a:bodyPr/>
          <a:lstStyle>
            <a:lvl1pPr>
              <a:defRPr>
                <a:solidFill>
                  <a:schemeClr val="bg1"/>
                </a:solidFill>
              </a:defRPr>
            </a:lvl1pPr>
          </a:lstStyle>
          <a:p>
            <a:endParaRPr lang="de-DE" dirty="0"/>
          </a:p>
        </p:txBody>
      </p:sp>
      <p:sp>
        <p:nvSpPr>
          <p:cNvPr id="4" name="Fußzeilenplatzhalter 3"/>
          <p:cNvSpPr>
            <a:spLocks noGrp="1"/>
          </p:cNvSpPr>
          <p:nvPr>
            <p:ph type="ftr" sz="quarter" idx="31"/>
          </p:nvPr>
        </p:nvSpPr>
        <p:spPr>
          <a:xfrm>
            <a:off x="5788992" y="4836160"/>
            <a:ext cx="2196803" cy="136050"/>
          </a:xfrm>
          <a:prstGeom prst="rect">
            <a:avLst/>
          </a:prstGeom>
        </p:spPr>
        <p:txBody>
          <a:bodyPr/>
          <a:lstStyle>
            <a:lvl1pPr>
              <a:defRPr>
                <a:solidFill>
                  <a:schemeClr val="bg1"/>
                </a:solidFill>
              </a:defRPr>
            </a:lvl1pPr>
          </a:lstStyle>
          <a:p>
            <a:endParaRPr lang="de-DE" dirty="0"/>
          </a:p>
        </p:txBody>
      </p:sp>
      <p:sp>
        <p:nvSpPr>
          <p:cNvPr id="5" name="Foliennummernplatzhalter 4"/>
          <p:cNvSpPr>
            <a:spLocks noGrp="1"/>
          </p:cNvSpPr>
          <p:nvPr>
            <p:ph type="sldNum" sz="quarter" idx="32"/>
          </p:nvPr>
        </p:nvSpPr>
        <p:spPr>
          <a:xfrm>
            <a:off x="8532440" y="4836160"/>
            <a:ext cx="611561" cy="136050"/>
          </a:xfrm>
          <a:prstGeom prst="rect">
            <a:avLst/>
          </a:prstGeom>
        </p:spPr>
        <p:txBody>
          <a:bodyPr/>
          <a:lstStyle>
            <a:lvl1pPr>
              <a:defRPr>
                <a:solidFill>
                  <a:schemeClr val="bg1"/>
                </a:solidFill>
              </a:defRPr>
            </a:lvl1pPr>
          </a:lstStyle>
          <a:p>
            <a:r>
              <a:rPr lang="de-DE"/>
              <a:t> </a:t>
            </a:r>
            <a:r>
              <a:rPr lang="de-DE">
                <a:sym typeface="Wingdings"/>
              </a:rPr>
              <a:t>  </a:t>
            </a:r>
            <a:fld id="{443B15C8-972D-49F6-9B7C-5A2154A8C95F}" type="slidenum">
              <a:rPr lang="de-DE" smtClean="0"/>
              <a:pPr/>
              <a:t>‹Nr.›</a:t>
            </a:fld>
            <a:endParaRPr lang="de-DE" dirty="0"/>
          </a:p>
        </p:txBody>
      </p:sp>
    </p:spTree>
    <p:extLst>
      <p:ext uri="{BB962C8B-B14F-4D97-AF65-F5344CB8AC3E}">
        <p14:creationId xmlns:p14="http://schemas.microsoft.com/office/powerpoint/2010/main" val="290708105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 x images">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bwMode="gray">
          <a:xfrm>
            <a:off x="395288" y="1131889"/>
            <a:ext cx="4104712" cy="2323603"/>
          </a:xfrm>
          <a:solidFill>
            <a:schemeClr val="accent3"/>
          </a:solidFill>
        </p:spPr>
        <p:txBody>
          <a:bodyPr anchor="ctr"/>
          <a:lstStyle>
            <a:lvl1pPr algn="ctr">
              <a:defRPr>
                <a:solidFill>
                  <a:schemeClr val="tx1"/>
                </a:solidFill>
              </a:defRPr>
            </a:lvl1pPr>
          </a:lstStyle>
          <a:p>
            <a:r>
              <a:rPr lang="de-DE" noProof="0" dirty="0"/>
              <a:t>Klicke auf das Icon, um ein Bild einzufügen</a:t>
            </a:r>
            <a:br>
              <a:rPr lang="de-DE" noProof="0" dirty="0"/>
            </a:br>
            <a:endParaRPr lang="de-DE" noProof="0" dirty="0"/>
          </a:p>
        </p:txBody>
      </p:sp>
      <p:sp>
        <p:nvSpPr>
          <p:cNvPr id="7" name="Picture Placeholder 3"/>
          <p:cNvSpPr>
            <a:spLocks noGrp="1"/>
          </p:cNvSpPr>
          <p:nvPr>
            <p:ph type="pic" sz="quarter" idx="18" hasCustomPrompt="1"/>
          </p:nvPr>
        </p:nvSpPr>
        <p:spPr bwMode="gray">
          <a:xfrm>
            <a:off x="4644000" y="1131889"/>
            <a:ext cx="4104712" cy="2323603"/>
          </a:xfrm>
          <a:solidFill>
            <a:schemeClr val="accent3"/>
          </a:solidFill>
        </p:spPr>
        <p:txBody>
          <a:bodyPr anchor="ctr"/>
          <a:lstStyle>
            <a:lvl1pPr algn="ctr">
              <a:defRPr>
                <a:solidFill>
                  <a:schemeClr val="tx1"/>
                </a:solidFill>
              </a:defRPr>
            </a:lvl1pPr>
          </a:lstStyle>
          <a:p>
            <a:r>
              <a:rPr lang="de-DE" noProof="0" dirty="0"/>
              <a:t>Klicke auf das Icon, um ein Bild einzufügen</a:t>
            </a:r>
            <a:br>
              <a:rPr lang="de-DE" noProof="0" dirty="0"/>
            </a:br>
            <a:endParaRPr lang="de-DE" noProof="0" dirty="0"/>
          </a:p>
        </p:txBody>
      </p:sp>
      <p:sp>
        <p:nvSpPr>
          <p:cNvPr id="3" name="Titel 2"/>
          <p:cNvSpPr>
            <a:spLocks noGrp="1"/>
          </p:cNvSpPr>
          <p:nvPr>
            <p:ph type="title"/>
          </p:nvPr>
        </p:nvSpPr>
        <p:spPr/>
        <p:txBody>
          <a:bodyPr/>
          <a:lstStyle/>
          <a:p>
            <a:r>
              <a:rPr lang="de-DE"/>
              <a:t>Titelmasterformat durch Klicken bearbeiten</a:t>
            </a:r>
            <a:endParaRPr lang="en-US"/>
          </a:p>
        </p:txBody>
      </p:sp>
      <p:sp>
        <p:nvSpPr>
          <p:cNvPr id="13"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4" name="Text Placeholder 7"/>
          <p:cNvSpPr>
            <a:spLocks noGrp="1"/>
          </p:cNvSpPr>
          <p:nvPr>
            <p:ph type="body" sz="quarter" idx="13" hasCustomPrompt="1"/>
          </p:nvPr>
        </p:nvSpPr>
        <p:spPr bwMode="gray">
          <a:xfrm>
            <a:off x="395287" y="3455492"/>
            <a:ext cx="4104713" cy="1132482"/>
          </a:xfrm>
        </p:spPr>
        <p:txBody>
          <a:bodyPr lIns="0" tIns="144000"/>
          <a:lstStyle/>
          <a:p>
            <a:pPr lvl="0"/>
            <a:r>
              <a:rPr lang="de-DE" noProof="0" dirty="0"/>
              <a:t>Schreibe hier deinen Text.</a:t>
            </a:r>
          </a:p>
        </p:txBody>
      </p:sp>
      <p:sp>
        <p:nvSpPr>
          <p:cNvPr id="15" name="Text Placeholder 7"/>
          <p:cNvSpPr>
            <a:spLocks noGrp="1"/>
          </p:cNvSpPr>
          <p:nvPr>
            <p:ph type="body" sz="quarter" idx="28" hasCustomPrompt="1"/>
          </p:nvPr>
        </p:nvSpPr>
        <p:spPr bwMode="gray">
          <a:xfrm>
            <a:off x="4643999" y="3455492"/>
            <a:ext cx="4104713" cy="1132482"/>
          </a:xfrm>
        </p:spPr>
        <p:txBody>
          <a:bodyPr lIns="0" tIns="144000"/>
          <a:lstStyle/>
          <a:p>
            <a:pPr lvl="0"/>
            <a:r>
              <a:rPr lang="de-DE" noProof="0" dirty="0"/>
              <a:t>Schreibe hier deinen Text.</a:t>
            </a:r>
          </a:p>
        </p:txBody>
      </p:sp>
      <p:sp>
        <p:nvSpPr>
          <p:cNvPr id="16" name="Textplatzhalter 4"/>
          <p:cNvSpPr>
            <a:spLocks noGrp="1"/>
          </p:cNvSpPr>
          <p:nvPr>
            <p:ph type="body" sz="quarter" idx="33"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2" name="Datumsplatzhalter 11"/>
          <p:cNvSpPr>
            <a:spLocks noGrp="1"/>
          </p:cNvSpPr>
          <p:nvPr>
            <p:ph type="dt" sz="half" idx="34"/>
          </p:nvPr>
        </p:nvSpPr>
        <p:spPr/>
        <p:txBody>
          <a:bodyPr/>
          <a:lstStyle/>
          <a:p>
            <a:endParaRPr lang="cs-CZ" dirty="0"/>
          </a:p>
        </p:txBody>
      </p:sp>
      <p:sp>
        <p:nvSpPr>
          <p:cNvPr id="17" name="Fußzeilenplatzhalter 16"/>
          <p:cNvSpPr>
            <a:spLocks noGrp="1"/>
          </p:cNvSpPr>
          <p:nvPr>
            <p:ph type="ftr" sz="quarter" idx="35"/>
          </p:nvPr>
        </p:nvSpPr>
        <p:spPr/>
        <p:txBody>
          <a:bodyPr/>
          <a:lstStyle/>
          <a:p>
            <a:endParaRPr lang="cs-CZ" noProof="0" dirty="0"/>
          </a:p>
        </p:txBody>
      </p:sp>
      <p:sp>
        <p:nvSpPr>
          <p:cNvPr id="18" name="Foliennummernplatzhalter 17"/>
          <p:cNvSpPr>
            <a:spLocks noGrp="1"/>
          </p:cNvSpPr>
          <p:nvPr>
            <p:ph type="sldNum" sz="quarter" idx="36"/>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374752205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Image fullsiz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556921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316" name="think-cell Folie" r:id="rId4" imgW="245" imgH="245" progId="TCLayout.ActiveDocument.1">
                  <p:embed/>
                </p:oleObj>
              </mc:Choice>
              <mc:Fallback>
                <p:oleObj name="think-cell Folie" r:id="rId4" imgW="245" imgH="24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3"/>
          <p:cNvSpPr>
            <a:spLocks noGrp="1"/>
          </p:cNvSpPr>
          <p:nvPr>
            <p:ph type="pic" sz="quarter" idx="18" hasCustomPrompt="1"/>
          </p:nvPr>
        </p:nvSpPr>
        <p:spPr bwMode="gray">
          <a:xfrm>
            <a:off x="0" y="0"/>
            <a:ext cx="9144000" cy="4675499"/>
          </a:xfrm>
          <a:prstGeom prst="rect">
            <a:avLst/>
          </a:prstGeom>
          <a:solidFill>
            <a:schemeClr val="accent3"/>
          </a:solidFill>
        </p:spPr>
        <p:txBody>
          <a:bodyPr anchor="ctr"/>
          <a:lstStyle>
            <a:lvl1pPr algn="ctr">
              <a:defRPr>
                <a:solidFill>
                  <a:schemeClr val="tx1"/>
                </a:solidFill>
              </a:defRPr>
            </a:lvl1pPr>
          </a:lstStyle>
          <a:p>
            <a:r>
              <a:rPr lang="de-DE" noProof="0" dirty="0"/>
              <a:t>Klicke auf das Icon, um ein Bild einzufügen</a:t>
            </a:r>
            <a:br>
              <a:rPr lang="de-DE" noProof="0" dirty="0"/>
            </a:br>
            <a:endParaRPr lang="de-DE" noProof="0" dirty="0"/>
          </a:p>
        </p:txBody>
      </p:sp>
      <p:sp>
        <p:nvSpPr>
          <p:cNvPr id="4" name="Titel 3"/>
          <p:cNvSpPr>
            <a:spLocks noGrp="1"/>
          </p:cNvSpPr>
          <p:nvPr>
            <p:ph type="title"/>
          </p:nvPr>
        </p:nvSpPr>
        <p:spPr>
          <a:xfrm>
            <a:off x="-1" y="4675500"/>
            <a:ext cx="9144001" cy="468000"/>
          </a:xfrm>
          <a:solidFill>
            <a:schemeClr val="tx1"/>
          </a:solidFill>
        </p:spPr>
        <p:txBody>
          <a:bodyPr anchor="ctr"/>
          <a:lstStyle>
            <a:lvl1pPr algn="ctr">
              <a:defRPr>
                <a:solidFill>
                  <a:schemeClr val="bg1"/>
                </a:solidFill>
              </a:defRPr>
            </a:lvl1pPr>
          </a:lstStyle>
          <a:p>
            <a:r>
              <a:rPr lang="de-DE"/>
              <a:t>Titelmasterformat durch Klicken bearbeiten</a:t>
            </a:r>
            <a:endParaRPr lang="en-US" dirty="0"/>
          </a:p>
        </p:txBody>
      </p:sp>
      <p:sp>
        <p:nvSpPr>
          <p:cNvPr id="5" name="Datumsplatzhalter 4"/>
          <p:cNvSpPr>
            <a:spLocks noGrp="1"/>
          </p:cNvSpPr>
          <p:nvPr>
            <p:ph type="dt" sz="half" idx="19"/>
          </p:nvPr>
        </p:nvSpPr>
        <p:spPr>
          <a:xfrm>
            <a:off x="7776356" y="5200042"/>
            <a:ext cx="720079" cy="136050"/>
          </a:xfrm>
          <a:prstGeom prst="rect">
            <a:avLst/>
          </a:prstGeom>
        </p:spPr>
        <p:txBody>
          <a:bodyPr/>
          <a:lstStyle/>
          <a:p>
            <a:endParaRPr lang="de-DE" dirty="0"/>
          </a:p>
        </p:txBody>
      </p:sp>
      <p:sp>
        <p:nvSpPr>
          <p:cNvPr id="6" name="Fußzeilenplatzhalter 5"/>
          <p:cNvSpPr>
            <a:spLocks noGrp="1"/>
          </p:cNvSpPr>
          <p:nvPr>
            <p:ph type="ftr" sz="quarter" idx="20"/>
          </p:nvPr>
        </p:nvSpPr>
        <p:spPr>
          <a:xfrm>
            <a:off x="5543550" y="5200042"/>
            <a:ext cx="2232806" cy="136050"/>
          </a:xfrm>
          <a:prstGeom prst="rect">
            <a:avLst/>
          </a:prstGeom>
        </p:spPr>
        <p:txBody>
          <a:bodyPr/>
          <a:lstStyle/>
          <a:p>
            <a:endParaRPr lang="de-DE" dirty="0"/>
          </a:p>
        </p:txBody>
      </p:sp>
      <p:sp>
        <p:nvSpPr>
          <p:cNvPr id="7" name="Foliennummernplatzhalter 6"/>
          <p:cNvSpPr>
            <a:spLocks noGrp="1"/>
          </p:cNvSpPr>
          <p:nvPr>
            <p:ph type="sldNum" sz="quarter" idx="21"/>
          </p:nvPr>
        </p:nvSpPr>
        <p:spPr>
          <a:xfrm>
            <a:off x="8496436" y="5200042"/>
            <a:ext cx="647565" cy="136050"/>
          </a:xfrm>
          <a:prstGeom prst="rect">
            <a:avLst/>
          </a:prstGeom>
        </p:spPr>
        <p:txBody>
          <a:bodyPr/>
          <a:lstStyle/>
          <a:p>
            <a:r>
              <a:rPr lang="de-DE" dirty="0">
                <a:sym typeface="Wingdings"/>
              </a:rPr>
              <a:t>  </a:t>
            </a:r>
            <a:fld id="{443B15C8-972D-49F6-9B7C-5A2154A8C95F}" type="slidenum">
              <a:rPr lang="de-DE" smtClean="0"/>
              <a:pPr/>
              <a:t>‹Nr.›</a:t>
            </a:fld>
            <a:endParaRPr lang="de-DE" dirty="0"/>
          </a:p>
        </p:txBody>
      </p:sp>
    </p:spTree>
    <p:extLst>
      <p:ext uri="{BB962C8B-B14F-4D97-AF65-F5344CB8AC3E}">
        <p14:creationId xmlns:p14="http://schemas.microsoft.com/office/powerpoint/2010/main" val="102750217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a:t>Titelmasterformat durch Klicken bearbeiten</a:t>
            </a:r>
            <a:endParaRPr lang="en-US"/>
          </a:p>
        </p:txBody>
      </p:sp>
      <p:sp>
        <p:nvSpPr>
          <p:cNvPr id="8"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0"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9" name="Datumsplatzhalter 8"/>
          <p:cNvSpPr>
            <a:spLocks noGrp="1"/>
          </p:cNvSpPr>
          <p:nvPr>
            <p:ph type="dt" sz="half" idx="29"/>
          </p:nvPr>
        </p:nvSpPr>
        <p:spPr/>
        <p:txBody>
          <a:bodyPr/>
          <a:lstStyle/>
          <a:p>
            <a:endParaRPr lang="cs-CZ" dirty="0"/>
          </a:p>
        </p:txBody>
      </p:sp>
      <p:sp>
        <p:nvSpPr>
          <p:cNvPr id="11" name="Fußzeilenplatzhalter 10"/>
          <p:cNvSpPr>
            <a:spLocks noGrp="1"/>
          </p:cNvSpPr>
          <p:nvPr>
            <p:ph type="ftr" sz="quarter" idx="30"/>
          </p:nvPr>
        </p:nvSpPr>
        <p:spPr/>
        <p:txBody>
          <a:bodyPr/>
          <a:lstStyle/>
          <a:p>
            <a:endParaRPr lang="cs-CZ" noProof="0" dirty="0"/>
          </a:p>
        </p:txBody>
      </p:sp>
      <p:sp>
        <p:nvSpPr>
          <p:cNvPr id="12" name="Foliennummernplatzhalter 11"/>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342346363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3500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340" name="think-cell Folie" r:id="rId4" imgW="245" imgH="245" progId="TCLayout.ActiveDocument.1">
                  <p:embed/>
                </p:oleObj>
              </mc:Choice>
              <mc:Fallback>
                <p:oleObj name="think-cell Folie" r:id="rId4" imgW="245" imgH="24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bwMode="gray">
          <a:xfrm>
            <a:off x="0" y="0"/>
            <a:ext cx="9144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 name="Title 1"/>
          <p:cNvSpPr>
            <a:spLocks noGrp="1"/>
          </p:cNvSpPr>
          <p:nvPr>
            <p:ph type="title" hasCustomPrompt="1"/>
          </p:nvPr>
        </p:nvSpPr>
        <p:spPr bwMode="gray">
          <a:xfrm>
            <a:off x="468312" y="1527176"/>
            <a:ext cx="5075238" cy="3060798"/>
          </a:xfrm>
        </p:spPr>
        <p:txBody>
          <a:bodyPr anchor="b"/>
          <a:lstStyle>
            <a:lvl1pPr>
              <a:defRPr sz="4400" baseline="0">
                <a:solidFill>
                  <a:schemeClr val="bg1"/>
                </a:solidFill>
              </a:defRPr>
            </a:lvl1pPr>
          </a:lstStyle>
          <a:p>
            <a:r>
              <a:rPr lang="de-DE" noProof="0" dirty="0" err="1"/>
              <a:t>Kapiteltrenner</a:t>
            </a:r>
            <a:r>
              <a:rPr lang="de-DE" noProof="0" dirty="0"/>
              <a:t> - </a:t>
            </a:r>
            <a:br>
              <a:rPr lang="de-DE" noProof="0" dirty="0"/>
            </a:br>
            <a:r>
              <a:rPr lang="de-DE" noProof="0" dirty="0"/>
              <a:t>Text eintragen</a:t>
            </a:r>
          </a:p>
        </p:txBody>
      </p:sp>
      <p:sp>
        <p:nvSpPr>
          <p:cNvPr id="13" name="Date Placeholder 4"/>
          <p:cNvSpPr>
            <a:spLocks noGrp="1"/>
          </p:cNvSpPr>
          <p:nvPr>
            <p:ph type="dt" sz="half" idx="10"/>
          </p:nvPr>
        </p:nvSpPr>
        <p:spPr>
          <a:xfrm>
            <a:off x="7956376" y="5236046"/>
            <a:ext cx="657959" cy="136050"/>
          </a:xfrm>
          <a:prstGeom prst="rect">
            <a:avLst/>
          </a:prstGeom>
        </p:spPr>
        <p:txBody>
          <a:bodyPr/>
          <a:lstStyle>
            <a:lvl1pPr>
              <a:defRPr>
                <a:solidFill>
                  <a:schemeClr val="accent1">
                    <a:alpha val="0"/>
                  </a:schemeClr>
                </a:solidFill>
              </a:defRPr>
            </a:lvl1pPr>
          </a:lstStyle>
          <a:p>
            <a:endParaRPr lang="de-DE" noProof="0" dirty="0"/>
          </a:p>
        </p:txBody>
      </p:sp>
      <p:sp>
        <p:nvSpPr>
          <p:cNvPr id="14" name="Footer Placeholder 5"/>
          <p:cNvSpPr>
            <a:spLocks noGrp="1"/>
          </p:cNvSpPr>
          <p:nvPr>
            <p:ph type="ftr" sz="quarter" idx="11"/>
          </p:nvPr>
        </p:nvSpPr>
        <p:spPr>
          <a:xfrm>
            <a:off x="5543550" y="5236046"/>
            <a:ext cx="2412826" cy="136050"/>
          </a:xfrm>
          <a:prstGeom prst="rect">
            <a:avLst/>
          </a:prstGeom>
        </p:spPr>
        <p:txBody>
          <a:bodyPr/>
          <a:lstStyle>
            <a:lvl1pPr>
              <a:defRPr>
                <a:solidFill>
                  <a:schemeClr val="accent1">
                    <a:alpha val="0"/>
                  </a:schemeClr>
                </a:solidFill>
              </a:defRPr>
            </a:lvl1pPr>
          </a:lstStyle>
          <a:p>
            <a:endParaRPr lang="de-DE" noProof="0" dirty="0"/>
          </a:p>
        </p:txBody>
      </p:sp>
      <p:sp>
        <p:nvSpPr>
          <p:cNvPr id="15" name="Slide Number Placeholder 6"/>
          <p:cNvSpPr>
            <a:spLocks noGrp="1"/>
          </p:cNvSpPr>
          <p:nvPr>
            <p:ph type="sldNum" sz="quarter" idx="12"/>
          </p:nvPr>
        </p:nvSpPr>
        <p:spPr>
          <a:xfrm>
            <a:off x="8580769" y="5236046"/>
            <a:ext cx="563231" cy="136050"/>
          </a:xfrm>
          <a:prstGeom prst="rect">
            <a:avLst/>
          </a:prstGeom>
        </p:spPr>
        <p:txBody>
          <a:bodyPr/>
          <a:lstStyle>
            <a:lvl1pPr>
              <a:defRPr>
                <a:solidFill>
                  <a:schemeClr val="accent1">
                    <a:alpha val="0"/>
                  </a:schemeClr>
                </a:solidFill>
              </a:defRPr>
            </a:lvl1pPr>
          </a:lstStyle>
          <a:p>
            <a:r>
              <a:rPr lang="de-DE" noProof="0" dirty="0"/>
              <a:t> </a:t>
            </a:r>
            <a:r>
              <a:rPr lang="de-DE" noProof="0" dirty="0">
                <a:sym typeface="Wingdings"/>
              </a:rPr>
              <a:t>  </a:t>
            </a:r>
            <a:fld id="{443B15C8-972D-49F6-9B7C-5A2154A8C95F}" type="slidenum">
              <a:rPr lang="de-DE" noProof="0" smtClean="0"/>
              <a:pPr/>
              <a:t>‹Nr.›</a:t>
            </a:fld>
            <a:endParaRPr lang="de-DE" noProof="0" dirty="0"/>
          </a:p>
        </p:txBody>
      </p:sp>
    </p:spTree>
    <p:extLst>
      <p:ext uri="{BB962C8B-B14F-4D97-AF65-F5344CB8AC3E}">
        <p14:creationId xmlns:p14="http://schemas.microsoft.com/office/powerpoint/2010/main" val="56493607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enutzerdefiniertes Layout">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endParaRPr lang="cs-CZ" dirty="0"/>
          </a:p>
        </p:txBody>
      </p:sp>
      <p:sp>
        <p:nvSpPr>
          <p:cNvPr id="4" name="Fußzeilenplatzhalter 3"/>
          <p:cNvSpPr>
            <a:spLocks noGrp="1"/>
          </p:cNvSpPr>
          <p:nvPr>
            <p:ph type="ftr" sz="quarter" idx="11"/>
          </p:nvPr>
        </p:nvSpPr>
        <p:spPr/>
        <p:txBody>
          <a:bodyPr/>
          <a:lstStyle/>
          <a:p>
            <a:endParaRPr lang="cs-CZ" noProof="0" dirty="0"/>
          </a:p>
        </p:txBody>
      </p:sp>
      <p:sp>
        <p:nvSpPr>
          <p:cNvPr id="5" name="Foliennummernplatzhalter 4"/>
          <p:cNvSpPr>
            <a:spLocks noGrp="1"/>
          </p:cNvSpPr>
          <p:nvPr>
            <p:ph type="sldNum" sz="quarter" idx="12"/>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28681845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3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Objekt 2" hidden="1"/>
          <p:cNvPicPr>
            <a:picLocks noChangeAspect="1"/>
          </p:cNvPicPr>
          <p:nvPr>
            <p:custDataLst>
              <p:tags r:id="rId3"/>
            </p:custDataLst>
          </p:nvPr>
        </p:nvPicPr>
        <p:blipFill>
          <a:blip r:embed="rId7"/>
          <a:stretch>
            <a:fillRect/>
          </a:stretch>
        </p:blipFill>
        <p:spPr>
          <a:xfrm>
            <a:off x="1588" y="1588"/>
            <a:ext cx="1587" cy="1587"/>
          </a:xfrm>
          <a:prstGeom prst="rect">
            <a:avLst/>
          </a:prstGeom>
        </p:spPr>
      </p:pic>
      <p:sp>
        <p:nvSpPr>
          <p:cNvPr id="2" name="Title 1"/>
          <p:cNvSpPr>
            <a:spLocks noGrp="1"/>
          </p:cNvSpPr>
          <p:nvPr>
            <p:ph type="title" hasCustomPrompt="1"/>
          </p:nvPr>
        </p:nvSpPr>
        <p:spPr bwMode="gray"/>
        <p:txBody>
          <a:bodyPr/>
          <a:lstStyle/>
          <a:p>
            <a:r>
              <a:rPr lang="de-DE" noProof="0" dirty="0"/>
              <a:t>Folientitel</a:t>
            </a:r>
          </a:p>
        </p:txBody>
      </p:sp>
      <p:sp>
        <p:nvSpPr>
          <p:cNvPr id="12" name="Text Placeholder 4"/>
          <p:cNvSpPr>
            <a:spLocks noGrp="1"/>
          </p:cNvSpPr>
          <p:nvPr>
            <p:ph type="body" sz="quarter" idx="20" hasCustomPrompt="1"/>
          </p:nvPr>
        </p:nvSpPr>
        <p:spPr bwMode="gray">
          <a:xfrm>
            <a:off x="468312" y="339725"/>
            <a:ext cx="5075238" cy="144463"/>
          </a:xfrm>
        </p:spPr>
        <p:txBody>
          <a:bodyPr wrap="none" bIns="18000" anchor="b"/>
          <a:lstStyle>
            <a:lvl1pPr marL="0" indent="0">
              <a:lnSpc>
                <a:spcPct val="100000"/>
              </a:lnSpc>
              <a:spcBef>
                <a:spcPts val="0"/>
              </a:spcBef>
              <a:spcAft>
                <a:spcPts val="0"/>
              </a:spcAft>
              <a:buFont typeface="Arial" panose="020B0604020202020204" pitchFamily="34" charset="0"/>
              <a:buNone/>
              <a:defRPr sz="1000" b="1" cap="all" baseline="0">
                <a:solidFill>
                  <a:schemeClr val="accent4"/>
                </a:solidFill>
              </a:defRPr>
            </a:lvl1pPr>
            <a:lvl2pPr marL="0" indent="0">
              <a:lnSpc>
                <a:spcPct val="100000"/>
              </a:lnSpc>
              <a:spcBef>
                <a:spcPts val="0"/>
              </a:spcBef>
              <a:spcAft>
                <a:spcPts val="0"/>
              </a:spcAft>
              <a:buNone/>
              <a:defRPr sz="1000" b="1" cap="all">
                <a:solidFill>
                  <a:schemeClr val="accent4"/>
                </a:solidFill>
              </a:defRPr>
            </a:lvl2pPr>
            <a:lvl3pPr marL="0" indent="0">
              <a:lnSpc>
                <a:spcPct val="100000"/>
              </a:lnSpc>
              <a:spcBef>
                <a:spcPts val="0"/>
              </a:spcBef>
              <a:spcAft>
                <a:spcPts val="0"/>
              </a:spcAft>
              <a:buNone/>
              <a:defRPr sz="1000" b="1" cap="all">
                <a:solidFill>
                  <a:schemeClr val="accent4"/>
                </a:solidFill>
              </a:defRPr>
            </a:lvl3pPr>
            <a:lvl4pPr marL="0" indent="0">
              <a:lnSpc>
                <a:spcPct val="100000"/>
              </a:lnSpc>
              <a:spcBef>
                <a:spcPts val="0"/>
              </a:spcBef>
              <a:spcAft>
                <a:spcPts val="0"/>
              </a:spcAft>
              <a:buFont typeface="Arial" panose="020B0604020202020204" pitchFamily="34" charset="0"/>
              <a:buNone/>
              <a:defRPr sz="1000" b="1" cap="all">
                <a:solidFill>
                  <a:schemeClr val="accent4"/>
                </a:solidFill>
              </a:defRPr>
            </a:lvl4pPr>
            <a:lvl5pPr marL="0" indent="0">
              <a:lnSpc>
                <a:spcPct val="100000"/>
              </a:lnSpc>
              <a:spcBef>
                <a:spcPts val="0"/>
              </a:spcBef>
              <a:spcAft>
                <a:spcPts val="0"/>
              </a:spcAft>
              <a:buFont typeface="Arial" panose="020B0604020202020204" pitchFamily="34" charset="0"/>
              <a:buNone/>
              <a:defRPr sz="1000" b="1" cap="all">
                <a:solidFill>
                  <a:schemeClr val="accent4"/>
                </a:solidFill>
              </a:defRPr>
            </a:lvl5pPr>
            <a:lvl6pPr marL="0" indent="0">
              <a:lnSpc>
                <a:spcPct val="100000"/>
              </a:lnSpc>
              <a:spcBef>
                <a:spcPts val="0"/>
              </a:spcBef>
              <a:spcAft>
                <a:spcPts val="0"/>
              </a:spcAft>
              <a:buFont typeface="Arial" panose="020B0604020202020204" pitchFamily="34" charset="0"/>
              <a:buNone/>
              <a:defRPr sz="1000" b="1" cap="all">
                <a:solidFill>
                  <a:schemeClr val="accent4"/>
                </a:solidFill>
              </a:defRPr>
            </a:lvl6pPr>
            <a:lvl7pPr marL="0" indent="0">
              <a:lnSpc>
                <a:spcPct val="100000"/>
              </a:lnSpc>
              <a:spcBef>
                <a:spcPts val="0"/>
              </a:spcBef>
              <a:spcAft>
                <a:spcPts val="0"/>
              </a:spcAft>
              <a:buFont typeface="Arial" panose="020B0604020202020204" pitchFamily="34" charset="0"/>
              <a:buNone/>
              <a:defRPr sz="1000" b="1" cap="all">
                <a:solidFill>
                  <a:schemeClr val="accent4"/>
                </a:solidFill>
              </a:defRPr>
            </a:lvl7pPr>
            <a:lvl8pPr marL="0" indent="0">
              <a:lnSpc>
                <a:spcPct val="100000"/>
              </a:lnSpc>
              <a:spcBef>
                <a:spcPts val="0"/>
              </a:spcBef>
              <a:spcAft>
                <a:spcPts val="0"/>
              </a:spcAft>
              <a:buFont typeface="Arial" panose="020B0604020202020204" pitchFamily="34" charset="0"/>
              <a:buNone/>
              <a:defRPr sz="1000" b="1" cap="all">
                <a:solidFill>
                  <a:schemeClr val="accent4"/>
                </a:solidFill>
              </a:defRPr>
            </a:lvl8pPr>
            <a:lvl9pPr marL="0" indent="0">
              <a:lnSpc>
                <a:spcPct val="100000"/>
              </a:lnSpc>
              <a:spcBef>
                <a:spcPts val="0"/>
              </a:spcBef>
              <a:spcAft>
                <a:spcPts val="0"/>
              </a:spcAft>
              <a:buFont typeface="Arial" panose="020B0604020202020204" pitchFamily="34" charset="0"/>
              <a:buNone/>
              <a:defRPr sz="1000" b="1" cap="all">
                <a:solidFill>
                  <a:schemeClr val="accent4"/>
                </a:solidFill>
              </a:defRPr>
            </a:lvl9pPr>
          </a:lstStyle>
          <a:p>
            <a:pPr lvl="0"/>
            <a:r>
              <a:rPr lang="de-DE" noProof="0" dirty="0"/>
              <a:t>Kapitelüberschrift (OPTIONAL)</a:t>
            </a:r>
          </a:p>
        </p:txBody>
      </p:sp>
      <p:sp>
        <p:nvSpPr>
          <p:cNvPr id="11" name="ClipArt Placeholder 5"/>
          <p:cNvSpPr>
            <a:spLocks noGrp="1"/>
          </p:cNvSpPr>
          <p:nvPr>
            <p:ph type="clipArt" sz="quarter" idx="24"/>
          </p:nvPr>
        </p:nvSpPr>
        <p:spPr>
          <a:xfrm>
            <a:off x="7895176" y="4874400"/>
            <a:ext cx="61200" cy="61200"/>
          </a:xfrm>
          <a:solidFill>
            <a:schemeClr val="accent1"/>
          </a:solidFill>
        </p:spPr>
        <p:txBody>
          <a:bodyPr wrap="none" rIns="0"/>
          <a:lstStyle>
            <a:lvl1pPr algn="ctr">
              <a:defRPr sz="100">
                <a:solidFill>
                  <a:schemeClr val="tx1">
                    <a:alpha val="0"/>
                  </a:schemeClr>
                </a:solidFill>
              </a:defRPr>
            </a:lvl1pPr>
          </a:lstStyle>
          <a:p>
            <a:r>
              <a:rPr lang="de-DE" noProof="0"/>
              <a:t>ClipArt durch Klicken auf Symbol hinzufügen</a:t>
            </a:r>
            <a:endParaRPr lang="de-DE" noProof="0" dirty="0"/>
          </a:p>
        </p:txBody>
      </p:sp>
      <p:sp>
        <p:nvSpPr>
          <p:cNvPr id="13" name="Date Placeholder 12"/>
          <p:cNvSpPr>
            <a:spLocks noGrp="1"/>
          </p:cNvSpPr>
          <p:nvPr>
            <p:ph type="dt" sz="half" idx="25"/>
          </p:nvPr>
        </p:nvSpPr>
        <p:spPr>
          <a:xfrm>
            <a:off x="7956376" y="4836160"/>
            <a:ext cx="657959" cy="136050"/>
          </a:xfrm>
          <a:prstGeom prst="rect">
            <a:avLst/>
          </a:prstGeom>
        </p:spPr>
        <p:txBody>
          <a:bodyPr/>
          <a:lstStyle/>
          <a:p>
            <a:endParaRPr lang="de-DE" noProof="0" dirty="0"/>
          </a:p>
        </p:txBody>
      </p:sp>
      <p:sp>
        <p:nvSpPr>
          <p:cNvPr id="14" name="Footer Placeholder 16"/>
          <p:cNvSpPr>
            <a:spLocks noGrp="1"/>
          </p:cNvSpPr>
          <p:nvPr>
            <p:ph type="ftr" sz="quarter" idx="26"/>
          </p:nvPr>
        </p:nvSpPr>
        <p:spPr>
          <a:xfrm>
            <a:off x="5543550" y="4836160"/>
            <a:ext cx="2412826" cy="136050"/>
          </a:xfrm>
          <a:prstGeom prst="rect">
            <a:avLst/>
          </a:prstGeom>
        </p:spPr>
        <p:txBody>
          <a:bodyPr/>
          <a:lstStyle>
            <a:lvl1pPr>
              <a:defRPr/>
            </a:lvl1pPr>
          </a:lstStyle>
          <a:p>
            <a:endParaRPr lang="de-DE" noProof="0" dirty="0"/>
          </a:p>
        </p:txBody>
      </p:sp>
      <p:sp>
        <p:nvSpPr>
          <p:cNvPr id="15" name="Slide Number Placeholder 17"/>
          <p:cNvSpPr>
            <a:spLocks noGrp="1"/>
          </p:cNvSpPr>
          <p:nvPr>
            <p:ph type="sldNum" sz="quarter" idx="27"/>
          </p:nvPr>
        </p:nvSpPr>
        <p:spPr>
          <a:xfrm>
            <a:off x="8580769" y="4836160"/>
            <a:ext cx="563231" cy="136050"/>
          </a:xfrm>
          <a:prstGeom prst="rect">
            <a:avLst/>
          </a:prstGeom>
        </p:spPr>
        <p:txBody>
          <a:bodyPr/>
          <a:lstStyle/>
          <a:p>
            <a:r>
              <a:rPr lang="de-DE" noProof="0" dirty="0"/>
              <a:t> </a:t>
            </a:r>
            <a:r>
              <a:rPr lang="de-DE" noProof="0" dirty="0">
                <a:sym typeface="Wingdings"/>
              </a:rPr>
              <a:t>  </a:t>
            </a:r>
            <a:fld id="{443B15C8-972D-49F6-9B7C-5A2154A8C95F}" type="slidenum">
              <a:rPr lang="de-DE" noProof="0" smtClean="0"/>
              <a:pPr/>
              <a:t>‹Nr.›</a:t>
            </a:fld>
            <a:endParaRPr lang="de-DE" noProof="0" dirty="0"/>
          </a:p>
        </p:txBody>
      </p:sp>
    </p:spTree>
    <p:extLst>
      <p:ext uri="{BB962C8B-B14F-4D97-AF65-F5344CB8AC3E}">
        <p14:creationId xmlns:p14="http://schemas.microsoft.com/office/powerpoint/2010/main" val="334306636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41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gray"/>
        <p:txBody>
          <a:bodyPr/>
          <a:lstStyle/>
          <a:p>
            <a:r>
              <a:rPr lang="de-DE" noProof="0" dirty="0"/>
              <a:t>Folientitel</a:t>
            </a:r>
          </a:p>
        </p:txBody>
      </p:sp>
      <p:sp>
        <p:nvSpPr>
          <p:cNvPr id="12" name="Text Placeholder 4"/>
          <p:cNvSpPr>
            <a:spLocks noGrp="1"/>
          </p:cNvSpPr>
          <p:nvPr>
            <p:ph type="body" sz="quarter" idx="20" hasCustomPrompt="1"/>
          </p:nvPr>
        </p:nvSpPr>
        <p:spPr bwMode="gray">
          <a:xfrm>
            <a:off x="468312" y="339725"/>
            <a:ext cx="5075238" cy="144463"/>
          </a:xfrm>
        </p:spPr>
        <p:txBody>
          <a:bodyPr wrap="none" bIns="18000" anchor="b"/>
          <a:lstStyle>
            <a:lvl1pPr marL="0" indent="0">
              <a:lnSpc>
                <a:spcPct val="100000"/>
              </a:lnSpc>
              <a:spcBef>
                <a:spcPts val="0"/>
              </a:spcBef>
              <a:spcAft>
                <a:spcPts val="0"/>
              </a:spcAft>
              <a:buFont typeface="Arial" panose="020B0604020202020204" pitchFamily="34" charset="0"/>
              <a:buNone/>
              <a:defRPr sz="1000" b="1" cap="all" baseline="0">
                <a:solidFill>
                  <a:schemeClr val="accent4"/>
                </a:solidFill>
              </a:defRPr>
            </a:lvl1pPr>
            <a:lvl2pPr marL="0" indent="0">
              <a:lnSpc>
                <a:spcPct val="100000"/>
              </a:lnSpc>
              <a:spcBef>
                <a:spcPts val="0"/>
              </a:spcBef>
              <a:spcAft>
                <a:spcPts val="0"/>
              </a:spcAft>
              <a:buNone/>
              <a:defRPr sz="1000" b="1" cap="all">
                <a:solidFill>
                  <a:schemeClr val="accent4"/>
                </a:solidFill>
              </a:defRPr>
            </a:lvl2pPr>
            <a:lvl3pPr marL="0" indent="0">
              <a:lnSpc>
                <a:spcPct val="100000"/>
              </a:lnSpc>
              <a:spcBef>
                <a:spcPts val="0"/>
              </a:spcBef>
              <a:spcAft>
                <a:spcPts val="0"/>
              </a:spcAft>
              <a:buNone/>
              <a:defRPr sz="1000" b="1" cap="all">
                <a:solidFill>
                  <a:schemeClr val="accent4"/>
                </a:solidFill>
              </a:defRPr>
            </a:lvl3pPr>
            <a:lvl4pPr marL="0" indent="0">
              <a:lnSpc>
                <a:spcPct val="100000"/>
              </a:lnSpc>
              <a:spcBef>
                <a:spcPts val="0"/>
              </a:spcBef>
              <a:spcAft>
                <a:spcPts val="0"/>
              </a:spcAft>
              <a:buFont typeface="Arial" panose="020B0604020202020204" pitchFamily="34" charset="0"/>
              <a:buNone/>
              <a:defRPr sz="1000" b="1" cap="all">
                <a:solidFill>
                  <a:schemeClr val="accent4"/>
                </a:solidFill>
              </a:defRPr>
            </a:lvl4pPr>
            <a:lvl5pPr marL="0" indent="0">
              <a:lnSpc>
                <a:spcPct val="100000"/>
              </a:lnSpc>
              <a:spcBef>
                <a:spcPts val="0"/>
              </a:spcBef>
              <a:spcAft>
                <a:spcPts val="0"/>
              </a:spcAft>
              <a:buFont typeface="Arial" panose="020B0604020202020204" pitchFamily="34" charset="0"/>
              <a:buNone/>
              <a:defRPr sz="1000" b="1" cap="all">
                <a:solidFill>
                  <a:schemeClr val="accent4"/>
                </a:solidFill>
              </a:defRPr>
            </a:lvl5pPr>
            <a:lvl6pPr marL="0" indent="0">
              <a:lnSpc>
                <a:spcPct val="100000"/>
              </a:lnSpc>
              <a:spcBef>
                <a:spcPts val="0"/>
              </a:spcBef>
              <a:spcAft>
                <a:spcPts val="0"/>
              </a:spcAft>
              <a:buFont typeface="Arial" panose="020B0604020202020204" pitchFamily="34" charset="0"/>
              <a:buNone/>
              <a:defRPr sz="1000" b="1" cap="all">
                <a:solidFill>
                  <a:schemeClr val="accent4"/>
                </a:solidFill>
              </a:defRPr>
            </a:lvl6pPr>
            <a:lvl7pPr marL="0" indent="0">
              <a:lnSpc>
                <a:spcPct val="100000"/>
              </a:lnSpc>
              <a:spcBef>
                <a:spcPts val="0"/>
              </a:spcBef>
              <a:spcAft>
                <a:spcPts val="0"/>
              </a:spcAft>
              <a:buFont typeface="Arial" panose="020B0604020202020204" pitchFamily="34" charset="0"/>
              <a:buNone/>
              <a:defRPr sz="1000" b="1" cap="all">
                <a:solidFill>
                  <a:schemeClr val="accent4"/>
                </a:solidFill>
              </a:defRPr>
            </a:lvl7pPr>
            <a:lvl8pPr marL="0" indent="0">
              <a:lnSpc>
                <a:spcPct val="100000"/>
              </a:lnSpc>
              <a:spcBef>
                <a:spcPts val="0"/>
              </a:spcBef>
              <a:spcAft>
                <a:spcPts val="0"/>
              </a:spcAft>
              <a:buFont typeface="Arial" panose="020B0604020202020204" pitchFamily="34" charset="0"/>
              <a:buNone/>
              <a:defRPr sz="1000" b="1" cap="all">
                <a:solidFill>
                  <a:schemeClr val="accent4"/>
                </a:solidFill>
              </a:defRPr>
            </a:lvl8pPr>
            <a:lvl9pPr marL="0" indent="0">
              <a:lnSpc>
                <a:spcPct val="100000"/>
              </a:lnSpc>
              <a:spcBef>
                <a:spcPts val="0"/>
              </a:spcBef>
              <a:spcAft>
                <a:spcPts val="0"/>
              </a:spcAft>
              <a:buFont typeface="Arial" panose="020B0604020202020204" pitchFamily="34" charset="0"/>
              <a:buNone/>
              <a:defRPr sz="1000" b="1" cap="all">
                <a:solidFill>
                  <a:schemeClr val="accent4"/>
                </a:solidFill>
              </a:defRPr>
            </a:lvl9pPr>
          </a:lstStyle>
          <a:p>
            <a:pPr lvl="0"/>
            <a:r>
              <a:rPr lang="de-DE" noProof="0" dirty="0"/>
              <a:t>Kapitelüberschrift (OPTIONAL)</a:t>
            </a:r>
          </a:p>
        </p:txBody>
      </p:sp>
      <p:sp>
        <p:nvSpPr>
          <p:cNvPr id="15" name="Slide Number Placeholder 17"/>
          <p:cNvSpPr>
            <a:spLocks noGrp="1"/>
          </p:cNvSpPr>
          <p:nvPr>
            <p:ph type="sldNum" sz="quarter" idx="27"/>
          </p:nvPr>
        </p:nvSpPr>
        <p:spPr>
          <a:xfrm>
            <a:off x="8580769" y="4836160"/>
            <a:ext cx="563231" cy="136050"/>
          </a:xfrm>
          <a:prstGeom prst="rect">
            <a:avLst/>
          </a:prstGeom>
        </p:spPr>
        <p:txBody>
          <a:bodyPr/>
          <a:lstStyle/>
          <a:p>
            <a:r>
              <a:rPr lang="de-DE" noProof="0" dirty="0"/>
              <a:t> </a:t>
            </a:r>
            <a:r>
              <a:rPr lang="de-DE" noProof="0" dirty="0">
                <a:sym typeface="Wingdings"/>
              </a:rPr>
              <a:t>  </a:t>
            </a:r>
            <a:fld id="{443B15C8-972D-49F6-9B7C-5A2154A8C95F}" type="slidenum">
              <a:rPr lang="de-DE" noProof="0" smtClean="0"/>
              <a:pPr/>
              <a:t>‹Nr.›</a:t>
            </a:fld>
            <a:endParaRPr lang="de-DE" noProof="0" dirty="0"/>
          </a:p>
        </p:txBody>
      </p:sp>
    </p:spTree>
    <p:extLst>
      <p:ext uri="{BB962C8B-B14F-4D97-AF65-F5344CB8AC3E}">
        <p14:creationId xmlns:p14="http://schemas.microsoft.com/office/powerpoint/2010/main" val="233041428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elfoli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1083517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01" name="think-cell Folie" r:id="rId4" imgW="245" imgH="245" progId="TCLayout.ActiveDocument.1">
                  <p:embed/>
                </p:oleObj>
              </mc:Choice>
              <mc:Fallback>
                <p:oleObj name="think-cell Folie" r:id="rId4" imgW="245" imgH="24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bwMode="gray">
          <a:xfrm>
            <a:off x="773357" y="2008981"/>
            <a:ext cx="4770193" cy="1609225"/>
          </a:xfrm>
          <a:solidFill>
            <a:schemeClr val="accent4"/>
          </a:solidFill>
        </p:spPr>
        <p:txBody>
          <a:bodyPr lIns="180000" tIns="144000" rIns="180000" bIns="144000">
            <a:noAutofit/>
          </a:bodyPr>
          <a:lstStyle>
            <a:lvl1pPr>
              <a:defRPr sz="3200">
                <a:solidFill>
                  <a:schemeClr val="bg1"/>
                </a:solidFill>
              </a:defRPr>
            </a:lvl1pPr>
          </a:lstStyle>
          <a:p>
            <a:r>
              <a:rPr lang="de-DE" noProof="0" dirty="0"/>
              <a:t>Präsentationstitel</a:t>
            </a:r>
            <a:br>
              <a:rPr lang="de-DE" noProof="0" dirty="0"/>
            </a:br>
            <a:r>
              <a:rPr lang="de-DE" noProof="0" dirty="0"/>
              <a:t>- maximal 2 Zeilen</a:t>
            </a:r>
          </a:p>
        </p:txBody>
      </p:sp>
      <p:sp>
        <p:nvSpPr>
          <p:cNvPr id="28" name="Subtitle 2"/>
          <p:cNvSpPr>
            <a:spLocks noGrp="1"/>
          </p:cNvSpPr>
          <p:nvPr>
            <p:ph type="subTitle" idx="1" hasCustomPrompt="1"/>
          </p:nvPr>
        </p:nvSpPr>
        <p:spPr bwMode="gray">
          <a:xfrm>
            <a:off x="773356" y="3075807"/>
            <a:ext cx="4770193" cy="542400"/>
          </a:xfrm>
        </p:spPr>
        <p:txBody>
          <a:bodyPr lIns="180000" tIns="108000" rIns="180000" bIns="108000" anchor="b"/>
          <a:lstStyle>
            <a:lvl1pPr marL="0" indent="0" algn="l">
              <a:lnSpc>
                <a:spcPct val="110000"/>
              </a:lnSpc>
              <a:spcBef>
                <a:spcPts val="0"/>
              </a:spcBef>
              <a:spcAft>
                <a:spcPts val="0"/>
              </a:spcAft>
              <a:buNone/>
              <a:defRPr sz="1200" cap="all" baseline="0">
                <a:solidFill>
                  <a:schemeClr val="bg1"/>
                </a:solidFill>
              </a:defRPr>
            </a:lvl1pPr>
            <a:lvl2pPr marL="0" indent="0" algn="l">
              <a:lnSpc>
                <a:spcPct val="110000"/>
              </a:lnSpc>
              <a:spcBef>
                <a:spcPts val="0"/>
              </a:spcBef>
              <a:spcAft>
                <a:spcPts val="0"/>
              </a:spcAft>
              <a:buNone/>
              <a:defRPr sz="1200" b="0" cap="all">
                <a:solidFill>
                  <a:schemeClr val="bg1"/>
                </a:solidFill>
              </a:defRPr>
            </a:lvl2pPr>
            <a:lvl3pPr marL="0" indent="0" algn="l">
              <a:lnSpc>
                <a:spcPct val="110000"/>
              </a:lnSpc>
              <a:spcBef>
                <a:spcPts val="0"/>
              </a:spcBef>
              <a:spcAft>
                <a:spcPts val="0"/>
              </a:spcAft>
              <a:buNone/>
              <a:defRPr sz="1200" b="0" cap="all">
                <a:solidFill>
                  <a:schemeClr val="bg1"/>
                </a:solidFill>
              </a:defRPr>
            </a:lvl3pPr>
            <a:lvl4pPr marL="0" indent="0" algn="l">
              <a:lnSpc>
                <a:spcPct val="110000"/>
              </a:lnSpc>
              <a:spcBef>
                <a:spcPts val="0"/>
              </a:spcBef>
              <a:spcAft>
                <a:spcPts val="0"/>
              </a:spcAft>
              <a:buNone/>
              <a:defRPr sz="1200" b="0" cap="all">
                <a:solidFill>
                  <a:schemeClr val="bg1"/>
                </a:solidFill>
              </a:defRPr>
            </a:lvl4pPr>
            <a:lvl5pPr marL="0" indent="0" algn="l">
              <a:lnSpc>
                <a:spcPct val="110000"/>
              </a:lnSpc>
              <a:spcBef>
                <a:spcPts val="0"/>
              </a:spcBef>
              <a:spcAft>
                <a:spcPts val="0"/>
              </a:spcAft>
              <a:buNone/>
              <a:defRPr sz="1200" b="0" cap="all">
                <a:solidFill>
                  <a:schemeClr val="bg1"/>
                </a:solidFill>
              </a:defRPr>
            </a:lvl5pPr>
            <a:lvl6pPr marL="0" indent="0" algn="l">
              <a:lnSpc>
                <a:spcPct val="110000"/>
              </a:lnSpc>
              <a:spcBef>
                <a:spcPts val="0"/>
              </a:spcBef>
              <a:spcAft>
                <a:spcPts val="0"/>
              </a:spcAft>
              <a:buNone/>
              <a:defRPr sz="1200" b="0" cap="all">
                <a:solidFill>
                  <a:schemeClr val="bg1"/>
                </a:solidFill>
              </a:defRPr>
            </a:lvl6pPr>
            <a:lvl7pPr marL="0" indent="0" algn="l">
              <a:lnSpc>
                <a:spcPct val="110000"/>
              </a:lnSpc>
              <a:spcBef>
                <a:spcPts val="0"/>
              </a:spcBef>
              <a:spcAft>
                <a:spcPts val="0"/>
              </a:spcAft>
              <a:buNone/>
              <a:defRPr sz="1200" b="0" cap="all">
                <a:solidFill>
                  <a:schemeClr val="bg1"/>
                </a:solidFill>
              </a:defRPr>
            </a:lvl7pPr>
            <a:lvl8pPr marL="0" indent="0" algn="l">
              <a:lnSpc>
                <a:spcPct val="110000"/>
              </a:lnSpc>
              <a:spcBef>
                <a:spcPts val="0"/>
              </a:spcBef>
              <a:spcAft>
                <a:spcPts val="0"/>
              </a:spcAft>
              <a:buNone/>
              <a:defRPr sz="1200" b="0" cap="all">
                <a:solidFill>
                  <a:schemeClr val="bg1"/>
                </a:solidFill>
              </a:defRPr>
            </a:lvl8pPr>
            <a:lvl9pPr marL="0" indent="0" algn="l">
              <a:lnSpc>
                <a:spcPct val="110000"/>
              </a:lnSpc>
              <a:spcBef>
                <a:spcPts val="0"/>
              </a:spcBef>
              <a:spcAft>
                <a:spcPts val="0"/>
              </a:spcAft>
              <a:buNone/>
              <a:defRPr sz="1200" b="0" cap="all">
                <a:solidFill>
                  <a:schemeClr val="bg1"/>
                </a:solidFill>
              </a:defRPr>
            </a:lvl9pPr>
          </a:lstStyle>
          <a:p>
            <a:pPr lvl="0"/>
            <a:r>
              <a:rPr lang="de-DE" noProof="0" dirty="0"/>
              <a:t>UNTERTITEL BEI BEDARF</a:t>
            </a:r>
            <a:br>
              <a:rPr lang="de-DE" noProof="0" dirty="0"/>
            </a:br>
            <a:r>
              <a:rPr lang="de-DE" noProof="0" dirty="0"/>
              <a:t>AUTOR, ORT, DATUM</a:t>
            </a:r>
          </a:p>
        </p:txBody>
      </p:sp>
      <p:sp>
        <p:nvSpPr>
          <p:cNvPr id="22" name="ClipArt Placeholder 88"/>
          <p:cNvSpPr>
            <a:spLocks noGrp="1"/>
          </p:cNvSpPr>
          <p:nvPr>
            <p:ph type="clipArt" sz="quarter" idx="13" hasCustomPrompt="1"/>
          </p:nvPr>
        </p:nvSpPr>
        <p:spPr bwMode="gray">
          <a:xfrm>
            <a:off x="0" y="1232694"/>
            <a:ext cx="630000" cy="630000"/>
          </a:xfrm>
          <a:solidFill>
            <a:schemeClr val="accent4"/>
          </a:solidFill>
        </p:spPr>
        <p:txBody>
          <a:bodyPr anchor="ctr"/>
          <a:lstStyle>
            <a:lvl1pPr algn="ctr">
              <a:defRPr sz="800" b="0" i="1">
                <a:solidFill>
                  <a:schemeClr val="bg1"/>
                </a:solidFill>
              </a:defRPr>
            </a:lvl1pPr>
          </a:lstStyle>
          <a:p>
            <a:r>
              <a:rPr lang="de-DE" noProof="0" dirty="0"/>
              <a:t>Füge dein</a:t>
            </a:r>
            <a:br>
              <a:rPr lang="de-DE" noProof="0" dirty="0"/>
            </a:br>
            <a:r>
              <a:rPr lang="de-DE" noProof="0" dirty="0"/>
              <a:t>Icon </a:t>
            </a:r>
            <a:br>
              <a:rPr lang="de-DE" noProof="0" dirty="0"/>
            </a:br>
            <a:r>
              <a:rPr lang="de-DE" noProof="0" dirty="0"/>
              <a:t>hier ein</a:t>
            </a:r>
          </a:p>
        </p:txBody>
      </p:sp>
      <p:sp>
        <p:nvSpPr>
          <p:cNvPr id="116" name="Picture Placeholder 3"/>
          <p:cNvSpPr>
            <a:spLocks noGrp="1"/>
          </p:cNvSpPr>
          <p:nvPr>
            <p:ph type="pic" sz="quarter" idx="18" hasCustomPrompt="1"/>
          </p:nvPr>
        </p:nvSpPr>
        <p:spPr bwMode="gray">
          <a:xfrm>
            <a:off x="0" y="0"/>
            <a:ext cx="9143999" cy="5143499"/>
          </a:xfrm>
          <a:custGeom>
            <a:avLst/>
            <a:gdLst/>
            <a:ahLst/>
            <a:cxnLst/>
            <a:rect l="l" t="t" r="r" b="b"/>
            <a:pathLst>
              <a:path w="9143999" h="5143499">
                <a:moveTo>
                  <a:pt x="7750850" y="109788"/>
                </a:moveTo>
                <a:lnTo>
                  <a:pt x="7750850" y="1394988"/>
                </a:lnTo>
                <a:lnTo>
                  <a:pt x="9036050" y="1394988"/>
                </a:lnTo>
                <a:lnTo>
                  <a:pt x="9036050" y="109788"/>
                </a:lnTo>
                <a:close/>
                <a:moveTo>
                  <a:pt x="0" y="0"/>
                </a:moveTo>
                <a:lnTo>
                  <a:pt x="9143999" y="0"/>
                </a:lnTo>
                <a:lnTo>
                  <a:pt x="9143999" y="5143499"/>
                </a:lnTo>
                <a:lnTo>
                  <a:pt x="0" y="5143499"/>
                </a:lnTo>
                <a:close/>
              </a:path>
            </a:pathLst>
          </a:custGeom>
          <a:noFill/>
        </p:spPr>
        <p:txBody>
          <a:bodyPr lIns="5040000" anchor="ctr"/>
          <a:lstStyle>
            <a:lvl1pPr marL="0" marR="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sz="1000">
                <a:solidFill>
                  <a:schemeClr val="tx1"/>
                </a:solidFill>
              </a:defRPr>
            </a:lvl1pPr>
          </a:lstStyle>
          <a:p>
            <a:r>
              <a:rPr lang="de-DE" noProof="0" dirty="0"/>
              <a:t/>
            </a:r>
            <a:br>
              <a:rPr lang="de-DE" noProof="0" dirty="0"/>
            </a:br>
            <a:r>
              <a:rPr lang="de-DE" noProof="0" dirty="0"/>
              <a:t>Klicke auf das Icon, um ein Bild einzufügen</a:t>
            </a:r>
            <a:br>
              <a:rPr lang="de-DE" noProof="0" dirty="0"/>
            </a:br>
            <a:r>
              <a:rPr lang="de-DE" noProof="0" dirty="0"/>
              <a:t/>
            </a:r>
            <a:br>
              <a:rPr lang="de-DE" noProof="0" dirty="0"/>
            </a:br>
            <a:r>
              <a:rPr lang="de-DE" noProof="0" dirty="0"/>
              <a:t>Verschiebe das Bild in den Hintergrund, um den Text zu bearbeiten </a:t>
            </a:r>
            <a:br>
              <a:rPr lang="de-DE" noProof="0" dirty="0"/>
            </a:br>
            <a:r>
              <a:rPr lang="de-DE" noProof="0" dirty="0"/>
              <a:t>(Bild auswählen &gt; Start &gt; Anordnen &gt; „In den Hintergrund“)</a:t>
            </a:r>
            <a:br>
              <a:rPr lang="de-DE" noProof="0" dirty="0"/>
            </a:br>
            <a:r>
              <a:rPr lang="de-DE" noProof="0" dirty="0"/>
              <a:t/>
            </a:r>
            <a:br>
              <a:rPr lang="de-DE" noProof="0" dirty="0"/>
            </a:br>
            <a:r>
              <a:rPr lang="de-DE" noProof="0" dirty="0"/>
              <a:t>Bitte verwende für deine Präsentation vorrangig Bilder aus unserer Folienbibliothek. Solltest du dort kein passendes Motiv finden, dann achte bei der Suche bitte auf unsere Kaufland Bildsprache: </a:t>
            </a:r>
            <a:br>
              <a:rPr lang="de-DE" noProof="0" dirty="0"/>
            </a:br>
            <a:r>
              <a:rPr lang="de-DE" noProof="0" dirty="0"/>
              <a:t/>
            </a:r>
            <a:br>
              <a:rPr lang="de-DE" noProof="0" dirty="0"/>
            </a:br>
            <a:r>
              <a:rPr lang="de-DE" noProof="0" dirty="0"/>
              <a:t>Wir zeigen Menschen, Mitarbeiter und Produkte immer in realistischen Alltagssituationen – </a:t>
            </a:r>
            <a:r>
              <a:rPr lang="de-DE" noProof="0" dirty="0" err="1"/>
              <a:t>ungestellt</a:t>
            </a:r>
            <a:r>
              <a:rPr lang="de-DE" noProof="0" dirty="0"/>
              <a:t>, lebendig und authentisch. </a:t>
            </a:r>
          </a:p>
          <a:p>
            <a:endParaRPr lang="de-DE" noProof="0" dirty="0"/>
          </a:p>
        </p:txBody>
      </p:sp>
      <p:grpSp>
        <p:nvGrpSpPr>
          <p:cNvPr id="137" name="Gruppieren 136"/>
          <p:cNvGrpSpPr/>
          <p:nvPr/>
        </p:nvGrpSpPr>
        <p:grpSpPr>
          <a:xfrm>
            <a:off x="7750850" y="109788"/>
            <a:ext cx="1285200" cy="1285200"/>
            <a:chOff x="-3889375" y="0"/>
            <a:chExt cx="3600450" cy="3600450"/>
          </a:xfrm>
        </p:grpSpPr>
        <p:sp>
          <p:nvSpPr>
            <p:cNvPr id="138" name="AutoShape 169"/>
            <p:cNvSpPr>
              <a:spLocks noChangeAspect="1" noChangeArrowheads="1" noTextEdit="1"/>
            </p:cNvSpPr>
            <p:nvPr userDrawn="1"/>
          </p:nvSpPr>
          <p:spPr bwMode="auto">
            <a:xfrm>
              <a:off x="-3889375" y="0"/>
              <a:ext cx="3600450"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9" name="Freeform 171"/>
            <p:cNvSpPr>
              <a:spLocks/>
            </p:cNvSpPr>
            <p:nvPr userDrawn="1"/>
          </p:nvSpPr>
          <p:spPr bwMode="auto">
            <a:xfrm>
              <a:off x="-3889375" y="0"/>
              <a:ext cx="3600450" cy="3600450"/>
            </a:xfrm>
            <a:custGeom>
              <a:avLst/>
              <a:gdLst>
                <a:gd name="T0" fmla="*/ 2268 w 2268"/>
                <a:gd name="T1" fmla="*/ 0 h 2268"/>
                <a:gd name="T2" fmla="*/ 0 w 2268"/>
                <a:gd name="T3" fmla="*/ 0 h 2268"/>
                <a:gd name="T4" fmla="*/ 0 w 2268"/>
                <a:gd name="T5" fmla="*/ 2268 h 2268"/>
                <a:gd name="T6" fmla="*/ 2268 w 2268"/>
                <a:gd name="T7" fmla="*/ 2268 h 2268"/>
                <a:gd name="T8" fmla="*/ 2268 w 2268"/>
                <a:gd name="T9" fmla="*/ 0 h 2268"/>
                <a:gd name="T10" fmla="*/ 2268 w 2268"/>
                <a:gd name="T11" fmla="*/ 0 h 2268"/>
              </a:gdLst>
              <a:ahLst/>
              <a:cxnLst>
                <a:cxn ang="0">
                  <a:pos x="T0" y="T1"/>
                </a:cxn>
                <a:cxn ang="0">
                  <a:pos x="T2" y="T3"/>
                </a:cxn>
                <a:cxn ang="0">
                  <a:pos x="T4" y="T5"/>
                </a:cxn>
                <a:cxn ang="0">
                  <a:pos x="T6" y="T7"/>
                </a:cxn>
                <a:cxn ang="0">
                  <a:pos x="T8" y="T9"/>
                </a:cxn>
                <a:cxn ang="0">
                  <a:pos x="T10" y="T11"/>
                </a:cxn>
              </a:cxnLst>
              <a:rect l="0" t="0" r="r" b="b"/>
              <a:pathLst>
                <a:path w="2268" h="2268">
                  <a:moveTo>
                    <a:pt x="2268" y="0"/>
                  </a:moveTo>
                  <a:lnTo>
                    <a:pt x="0" y="0"/>
                  </a:lnTo>
                  <a:lnTo>
                    <a:pt x="0" y="2268"/>
                  </a:lnTo>
                  <a:lnTo>
                    <a:pt x="2268" y="2268"/>
                  </a:lnTo>
                  <a:lnTo>
                    <a:pt x="2268" y="0"/>
                  </a:lnTo>
                  <a:lnTo>
                    <a:pt x="226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sp>
          <p:nvSpPr>
            <p:cNvPr id="140" name="Freeform 172"/>
            <p:cNvSpPr>
              <a:spLocks noEditPoints="1"/>
            </p:cNvSpPr>
            <p:nvPr userDrawn="1"/>
          </p:nvSpPr>
          <p:spPr bwMode="auto">
            <a:xfrm>
              <a:off x="-3752850" y="138113"/>
              <a:ext cx="3327400" cy="3325813"/>
            </a:xfrm>
            <a:custGeom>
              <a:avLst/>
              <a:gdLst>
                <a:gd name="T0" fmla="*/ 0 w 2096"/>
                <a:gd name="T1" fmla="*/ 0 h 2095"/>
                <a:gd name="T2" fmla="*/ 0 w 2096"/>
                <a:gd name="T3" fmla="*/ 2095 h 2095"/>
                <a:gd name="T4" fmla="*/ 2096 w 2096"/>
                <a:gd name="T5" fmla="*/ 2095 h 2095"/>
                <a:gd name="T6" fmla="*/ 2096 w 2096"/>
                <a:gd name="T7" fmla="*/ 0 h 2095"/>
                <a:gd name="T8" fmla="*/ 0 w 2096"/>
                <a:gd name="T9" fmla="*/ 0 h 2095"/>
                <a:gd name="T10" fmla="*/ 2009 w 2096"/>
                <a:gd name="T11" fmla="*/ 2008 h 2095"/>
                <a:gd name="T12" fmla="*/ 87 w 2096"/>
                <a:gd name="T13" fmla="*/ 2008 h 2095"/>
                <a:gd name="T14" fmla="*/ 87 w 2096"/>
                <a:gd name="T15" fmla="*/ 86 h 2095"/>
                <a:gd name="T16" fmla="*/ 2009 w 2096"/>
                <a:gd name="T17" fmla="*/ 86 h 2095"/>
                <a:gd name="T18" fmla="*/ 2009 w 2096"/>
                <a:gd name="T19" fmla="*/ 2008 h 2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96" h="2095">
                  <a:moveTo>
                    <a:pt x="0" y="0"/>
                  </a:moveTo>
                  <a:lnTo>
                    <a:pt x="0" y="2095"/>
                  </a:lnTo>
                  <a:lnTo>
                    <a:pt x="2096" y="2095"/>
                  </a:lnTo>
                  <a:lnTo>
                    <a:pt x="2096" y="0"/>
                  </a:lnTo>
                  <a:lnTo>
                    <a:pt x="0" y="0"/>
                  </a:lnTo>
                  <a:close/>
                  <a:moveTo>
                    <a:pt x="2009" y="2008"/>
                  </a:moveTo>
                  <a:lnTo>
                    <a:pt x="87" y="2008"/>
                  </a:lnTo>
                  <a:lnTo>
                    <a:pt x="87" y="86"/>
                  </a:lnTo>
                  <a:lnTo>
                    <a:pt x="2009" y="86"/>
                  </a:lnTo>
                  <a:lnTo>
                    <a:pt x="2009" y="200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1" name="Rectangle 173"/>
            <p:cNvSpPr>
              <a:spLocks noChangeArrowheads="1"/>
            </p:cNvSpPr>
            <p:nvPr userDrawn="1"/>
          </p:nvSpPr>
          <p:spPr bwMode="auto">
            <a:xfrm>
              <a:off x="-2705100" y="1443038"/>
              <a:ext cx="608013" cy="60801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2" name="Freeform 174"/>
            <p:cNvSpPr>
              <a:spLocks/>
            </p:cNvSpPr>
            <p:nvPr userDrawn="1"/>
          </p:nvSpPr>
          <p:spPr bwMode="auto">
            <a:xfrm>
              <a:off x="-2005013" y="1441450"/>
              <a:ext cx="608013" cy="609600"/>
            </a:xfrm>
            <a:custGeom>
              <a:avLst/>
              <a:gdLst>
                <a:gd name="T0" fmla="*/ 0 w 383"/>
                <a:gd name="T1" fmla="*/ 0 h 384"/>
                <a:gd name="T2" fmla="*/ 0 w 383"/>
                <a:gd name="T3" fmla="*/ 384 h 384"/>
                <a:gd name="T4" fmla="*/ 383 w 383"/>
                <a:gd name="T5" fmla="*/ 384 h 384"/>
                <a:gd name="T6" fmla="*/ 0 w 383"/>
                <a:gd name="T7" fmla="*/ 0 h 384"/>
              </a:gdLst>
              <a:ahLst/>
              <a:cxnLst>
                <a:cxn ang="0">
                  <a:pos x="T0" y="T1"/>
                </a:cxn>
                <a:cxn ang="0">
                  <a:pos x="T2" y="T3"/>
                </a:cxn>
                <a:cxn ang="0">
                  <a:pos x="T4" y="T5"/>
                </a:cxn>
                <a:cxn ang="0">
                  <a:pos x="T6" y="T7"/>
                </a:cxn>
              </a:cxnLst>
              <a:rect l="0" t="0" r="r" b="b"/>
              <a:pathLst>
                <a:path w="383" h="384">
                  <a:moveTo>
                    <a:pt x="0" y="0"/>
                  </a:moveTo>
                  <a:lnTo>
                    <a:pt x="0" y="384"/>
                  </a:lnTo>
                  <a:lnTo>
                    <a:pt x="383" y="384"/>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3" name="Rectangle 175"/>
            <p:cNvSpPr>
              <a:spLocks noChangeArrowheads="1"/>
            </p:cNvSpPr>
            <p:nvPr userDrawn="1"/>
          </p:nvSpPr>
          <p:spPr bwMode="auto">
            <a:xfrm>
              <a:off x="-2705100" y="742950"/>
              <a:ext cx="608013" cy="60801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4" name="Freeform 176"/>
            <p:cNvSpPr>
              <a:spLocks/>
            </p:cNvSpPr>
            <p:nvPr userDrawn="1"/>
          </p:nvSpPr>
          <p:spPr bwMode="auto">
            <a:xfrm>
              <a:off x="-2005013" y="742950"/>
              <a:ext cx="608013" cy="608013"/>
            </a:xfrm>
            <a:custGeom>
              <a:avLst/>
              <a:gdLst>
                <a:gd name="T0" fmla="*/ 0 w 383"/>
                <a:gd name="T1" fmla="*/ 0 h 383"/>
                <a:gd name="T2" fmla="*/ 0 w 383"/>
                <a:gd name="T3" fmla="*/ 383 h 383"/>
                <a:gd name="T4" fmla="*/ 383 w 383"/>
                <a:gd name="T5" fmla="*/ 0 h 383"/>
                <a:gd name="T6" fmla="*/ 0 w 383"/>
                <a:gd name="T7" fmla="*/ 0 h 383"/>
              </a:gdLst>
              <a:ahLst/>
              <a:cxnLst>
                <a:cxn ang="0">
                  <a:pos x="T0" y="T1"/>
                </a:cxn>
                <a:cxn ang="0">
                  <a:pos x="T2" y="T3"/>
                </a:cxn>
                <a:cxn ang="0">
                  <a:pos x="T4" y="T5"/>
                </a:cxn>
                <a:cxn ang="0">
                  <a:pos x="T6" y="T7"/>
                </a:cxn>
              </a:cxnLst>
              <a:rect l="0" t="0" r="r" b="b"/>
              <a:pathLst>
                <a:path w="383" h="383">
                  <a:moveTo>
                    <a:pt x="0" y="0"/>
                  </a:moveTo>
                  <a:lnTo>
                    <a:pt x="0" y="383"/>
                  </a:lnTo>
                  <a:lnTo>
                    <a:pt x="383" y="0"/>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5" name="Freeform 177"/>
            <p:cNvSpPr>
              <a:spLocks/>
            </p:cNvSpPr>
            <p:nvPr userDrawn="1"/>
          </p:nvSpPr>
          <p:spPr bwMode="auto">
            <a:xfrm>
              <a:off x="-3346450" y="2409825"/>
              <a:ext cx="358775" cy="441325"/>
            </a:xfrm>
            <a:custGeom>
              <a:avLst/>
              <a:gdLst>
                <a:gd name="T0" fmla="*/ 224 w 226"/>
                <a:gd name="T1" fmla="*/ 0 h 278"/>
                <a:gd name="T2" fmla="*/ 154 w 226"/>
                <a:gd name="T3" fmla="*/ 0 h 278"/>
                <a:gd name="T4" fmla="*/ 62 w 226"/>
                <a:gd name="T5" fmla="*/ 128 h 278"/>
                <a:gd name="T6" fmla="*/ 62 w 226"/>
                <a:gd name="T7" fmla="*/ 0 h 278"/>
                <a:gd name="T8" fmla="*/ 0 w 226"/>
                <a:gd name="T9" fmla="*/ 0 h 278"/>
                <a:gd name="T10" fmla="*/ 0 w 226"/>
                <a:gd name="T11" fmla="*/ 278 h 278"/>
                <a:gd name="T12" fmla="*/ 62 w 226"/>
                <a:gd name="T13" fmla="*/ 278 h 278"/>
                <a:gd name="T14" fmla="*/ 62 w 226"/>
                <a:gd name="T15" fmla="*/ 153 h 278"/>
                <a:gd name="T16" fmla="*/ 154 w 226"/>
                <a:gd name="T17" fmla="*/ 278 h 278"/>
                <a:gd name="T18" fmla="*/ 226 w 226"/>
                <a:gd name="T19" fmla="*/ 278 h 278"/>
                <a:gd name="T20" fmla="*/ 119 w 226"/>
                <a:gd name="T21" fmla="*/ 136 h 278"/>
                <a:gd name="T22" fmla="*/ 224 w 226"/>
                <a:gd name="T23"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6" h="278">
                  <a:moveTo>
                    <a:pt x="224" y="0"/>
                  </a:moveTo>
                  <a:lnTo>
                    <a:pt x="154" y="0"/>
                  </a:lnTo>
                  <a:lnTo>
                    <a:pt x="62" y="128"/>
                  </a:lnTo>
                  <a:lnTo>
                    <a:pt x="62" y="0"/>
                  </a:lnTo>
                  <a:lnTo>
                    <a:pt x="0" y="0"/>
                  </a:lnTo>
                  <a:lnTo>
                    <a:pt x="0" y="278"/>
                  </a:lnTo>
                  <a:lnTo>
                    <a:pt x="62" y="278"/>
                  </a:lnTo>
                  <a:lnTo>
                    <a:pt x="62" y="153"/>
                  </a:lnTo>
                  <a:lnTo>
                    <a:pt x="154" y="278"/>
                  </a:lnTo>
                  <a:lnTo>
                    <a:pt x="226" y="278"/>
                  </a:lnTo>
                  <a:lnTo>
                    <a:pt x="119" y="136"/>
                  </a:lnTo>
                  <a:lnTo>
                    <a:pt x="224"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6" name="Freeform 178"/>
            <p:cNvSpPr>
              <a:spLocks/>
            </p:cNvSpPr>
            <p:nvPr userDrawn="1"/>
          </p:nvSpPr>
          <p:spPr bwMode="auto">
            <a:xfrm>
              <a:off x="-2625725" y="2557463"/>
              <a:ext cx="292100" cy="300038"/>
            </a:xfrm>
            <a:custGeom>
              <a:avLst/>
              <a:gdLst>
                <a:gd name="T0" fmla="*/ 1303 w 1839"/>
                <a:gd name="T1" fmla="*/ 1215 h 1890"/>
                <a:gd name="T2" fmla="*/ 906 w 1839"/>
                <a:gd name="T3" fmla="*/ 1425 h 1890"/>
                <a:gd name="T4" fmla="*/ 544 w 1839"/>
                <a:gd name="T5" fmla="*/ 1036 h 1890"/>
                <a:gd name="T6" fmla="*/ 544 w 1839"/>
                <a:gd name="T7" fmla="*/ 0 h 1890"/>
                <a:gd name="T8" fmla="*/ 0 w 1839"/>
                <a:gd name="T9" fmla="*/ 0 h 1890"/>
                <a:gd name="T10" fmla="*/ 0 w 1839"/>
                <a:gd name="T11" fmla="*/ 1143 h 1890"/>
                <a:gd name="T12" fmla="*/ 711 w 1839"/>
                <a:gd name="T13" fmla="*/ 1890 h 1890"/>
                <a:gd name="T14" fmla="*/ 1303 w 1839"/>
                <a:gd name="T15" fmla="*/ 1627 h 1890"/>
                <a:gd name="T16" fmla="*/ 1303 w 1839"/>
                <a:gd name="T17" fmla="*/ 1850 h 1890"/>
                <a:gd name="T18" fmla="*/ 1839 w 1839"/>
                <a:gd name="T19" fmla="*/ 1850 h 1890"/>
                <a:gd name="T20" fmla="*/ 1839 w 1839"/>
                <a:gd name="T21" fmla="*/ 0 h 1890"/>
                <a:gd name="T22" fmla="*/ 1303 w 1839"/>
                <a:gd name="T23" fmla="*/ 0 h 1890"/>
                <a:gd name="T24" fmla="*/ 1303 w 1839"/>
                <a:gd name="T25" fmla="*/ 1215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9" h="1890">
                  <a:moveTo>
                    <a:pt x="1303" y="1215"/>
                  </a:moveTo>
                  <a:cubicBezTo>
                    <a:pt x="1231" y="1306"/>
                    <a:pt x="1104" y="1425"/>
                    <a:pt x="906" y="1425"/>
                  </a:cubicBezTo>
                  <a:cubicBezTo>
                    <a:pt x="679" y="1425"/>
                    <a:pt x="544" y="1278"/>
                    <a:pt x="544" y="1036"/>
                  </a:cubicBezTo>
                  <a:cubicBezTo>
                    <a:pt x="544" y="0"/>
                    <a:pt x="544" y="0"/>
                    <a:pt x="544" y="0"/>
                  </a:cubicBezTo>
                  <a:cubicBezTo>
                    <a:pt x="0" y="0"/>
                    <a:pt x="0" y="0"/>
                    <a:pt x="0" y="0"/>
                  </a:cubicBezTo>
                  <a:cubicBezTo>
                    <a:pt x="0" y="1143"/>
                    <a:pt x="0" y="1143"/>
                    <a:pt x="0" y="1143"/>
                  </a:cubicBezTo>
                  <a:cubicBezTo>
                    <a:pt x="0" y="1580"/>
                    <a:pt x="251" y="1890"/>
                    <a:pt x="711" y="1890"/>
                  </a:cubicBezTo>
                  <a:cubicBezTo>
                    <a:pt x="1017" y="1890"/>
                    <a:pt x="1207" y="1731"/>
                    <a:pt x="1303" y="1627"/>
                  </a:cubicBezTo>
                  <a:cubicBezTo>
                    <a:pt x="1303" y="1850"/>
                    <a:pt x="1303" y="1850"/>
                    <a:pt x="1303" y="1850"/>
                  </a:cubicBezTo>
                  <a:cubicBezTo>
                    <a:pt x="1839" y="1850"/>
                    <a:pt x="1839" y="1850"/>
                    <a:pt x="1839" y="1850"/>
                  </a:cubicBezTo>
                  <a:cubicBezTo>
                    <a:pt x="1839" y="0"/>
                    <a:pt x="1839" y="0"/>
                    <a:pt x="1839" y="0"/>
                  </a:cubicBezTo>
                  <a:cubicBezTo>
                    <a:pt x="1303" y="0"/>
                    <a:pt x="1303" y="0"/>
                    <a:pt x="1303" y="0"/>
                  </a:cubicBezTo>
                  <a:lnTo>
                    <a:pt x="1303" y="121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7" name="Freeform 179"/>
            <p:cNvSpPr>
              <a:spLocks noEditPoints="1"/>
            </p:cNvSpPr>
            <p:nvPr userDrawn="1"/>
          </p:nvSpPr>
          <p:spPr bwMode="auto">
            <a:xfrm>
              <a:off x="-1865313" y="2551113"/>
              <a:ext cx="314325" cy="306388"/>
            </a:xfrm>
            <a:custGeom>
              <a:avLst/>
              <a:gdLst>
                <a:gd name="T0" fmla="*/ 1441 w 1977"/>
                <a:gd name="T1" fmla="*/ 234 h 1930"/>
                <a:gd name="T2" fmla="*/ 874 w 1977"/>
                <a:gd name="T3" fmla="*/ 0 h 1930"/>
                <a:gd name="T4" fmla="*/ 0 w 1977"/>
                <a:gd name="T5" fmla="*/ 973 h 1930"/>
                <a:gd name="T6" fmla="*/ 874 w 1977"/>
                <a:gd name="T7" fmla="*/ 1930 h 1930"/>
                <a:gd name="T8" fmla="*/ 1441 w 1977"/>
                <a:gd name="T9" fmla="*/ 1699 h 1930"/>
                <a:gd name="T10" fmla="*/ 1441 w 1977"/>
                <a:gd name="T11" fmla="*/ 1890 h 1930"/>
                <a:gd name="T12" fmla="*/ 1977 w 1977"/>
                <a:gd name="T13" fmla="*/ 1890 h 1930"/>
                <a:gd name="T14" fmla="*/ 1977 w 1977"/>
                <a:gd name="T15" fmla="*/ 40 h 1930"/>
                <a:gd name="T16" fmla="*/ 1441 w 1977"/>
                <a:gd name="T17" fmla="*/ 40 h 1930"/>
                <a:gd name="T18" fmla="*/ 1441 w 1977"/>
                <a:gd name="T19" fmla="*/ 234 h 1930"/>
                <a:gd name="T20" fmla="*/ 1441 w 1977"/>
                <a:gd name="T21" fmla="*/ 1298 h 1930"/>
                <a:gd name="T22" fmla="*/ 1048 w 1977"/>
                <a:gd name="T23" fmla="*/ 1473 h 1930"/>
                <a:gd name="T24" fmla="*/ 560 w 1977"/>
                <a:gd name="T25" fmla="*/ 965 h 1930"/>
                <a:gd name="T26" fmla="*/ 1048 w 1977"/>
                <a:gd name="T27" fmla="*/ 457 h 1930"/>
                <a:gd name="T28" fmla="*/ 1441 w 1977"/>
                <a:gd name="T29" fmla="*/ 631 h 1930"/>
                <a:gd name="T30" fmla="*/ 1441 w 1977"/>
                <a:gd name="T31" fmla="*/ 1298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7" h="1930">
                  <a:moveTo>
                    <a:pt x="1441" y="234"/>
                  </a:moveTo>
                  <a:cubicBezTo>
                    <a:pt x="1330" y="127"/>
                    <a:pt x="1140" y="0"/>
                    <a:pt x="874" y="0"/>
                  </a:cubicBezTo>
                  <a:cubicBezTo>
                    <a:pt x="358" y="0"/>
                    <a:pt x="0" y="429"/>
                    <a:pt x="0" y="973"/>
                  </a:cubicBezTo>
                  <a:cubicBezTo>
                    <a:pt x="0" y="1509"/>
                    <a:pt x="354" y="1930"/>
                    <a:pt x="874" y="1930"/>
                  </a:cubicBezTo>
                  <a:cubicBezTo>
                    <a:pt x="1156" y="1930"/>
                    <a:pt x="1342" y="1799"/>
                    <a:pt x="1441" y="1699"/>
                  </a:cubicBezTo>
                  <a:cubicBezTo>
                    <a:pt x="1441" y="1890"/>
                    <a:pt x="1441" y="1890"/>
                    <a:pt x="1441" y="1890"/>
                  </a:cubicBezTo>
                  <a:cubicBezTo>
                    <a:pt x="1977" y="1890"/>
                    <a:pt x="1977" y="1890"/>
                    <a:pt x="1977" y="1890"/>
                  </a:cubicBezTo>
                  <a:cubicBezTo>
                    <a:pt x="1977" y="40"/>
                    <a:pt x="1977" y="40"/>
                    <a:pt x="1977" y="40"/>
                  </a:cubicBezTo>
                  <a:cubicBezTo>
                    <a:pt x="1441" y="40"/>
                    <a:pt x="1441" y="40"/>
                    <a:pt x="1441" y="40"/>
                  </a:cubicBezTo>
                  <a:lnTo>
                    <a:pt x="1441" y="234"/>
                  </a:lnTo>
                  <a:close/>
                  <a:moveTo>
                    <a:pt x="1441" y="1298"/>
                  </a:moveTo>
                  <a:cubicBezTo>
                    <a:pt x="1366" y="1382"/>
                    <a:pt x="1239" y="1473"/>
                    <a:pt x="1048" y="1473"/>
                  </a:cubicBezTo>
                  <a:cubicBezTo>
                    <a:pt x="762" y="1473"/>
                    <a:pt x="560" y="1266"/>
                    <a:pt x="560" y="965"/>
                  </a:cubicBezTo>
                  <a:cubicBezTo>
                    <a:pt x="560" y="663"/>
                    <a:pt x="762" y="457"/>
                    <a:pt x="1048" y="457"/>
                  </a:cubicBezTo>
                  <a:cubicBezTo>
                    <a:pt x="1239" y="457"/>
                    <a:pt x="1366" y="548"/>
                    <a:pt x="1441" y="631"/>
                  </a:cubicBezTo>
                  <a:lnTo>
                    <a:pt x="1441" y="129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8" name="Freeform 180"/>
            <p:cNvSpPr>
              <a:spLocks noEditPoints="1"/>
            </p:cNvSpPr>
            <p:nvPr userDrawn="1"/>
          </p:nvSpPr>
          <p:spPr bwMode="auto">
            <a:xfrm>
              <a:off x="-3000375" y="2551113"/>
              <a:ext cx="314325" cy="306388"/>
            </a:xfrm>
            <a:custGeom>
              <a:avLst/>
              <a:gdLst>
                <a:gd name="T0" fmla="*/ 1441 w 1977"/>
                <a:gd name="T1" fmla="*/ 234 h 1930"/>
                <a:gd name="T2" fmla="*/ 873 w 1977"/>
                <a:gd name="T3" fmla="*/ 0 h 1930"/>
                <a:gd name="T4" fmla="*/ 0 w 1977"/>
                <a:gd name="T5" fmla="*/ 973 h 1930"/>
                <a:gd name="T6" fmla="*/ 873 w 1977"/>
                <a:gd name="T7" fmla="*/ 1930 h 1930"/>
                <a:gd name="T8" fmla="*/ 1441 w 1977"/>
                <a:gd name="T9" fmla="*/ 1699 h 1930"/>
                <a:gd name="T10" fmla="*/ 1441 w 1977"/>
                <a:gd name="T11" fmla="*/ 1890 h 1930"/>
                <a:gd name="T12" fmla="*/ 1977 w 1977"/>
                <a:gd name="T13" fmla="*/ 1890 h 1930"/>
                <a:gd name="T14" fmla="*/ 1977 w 1977"/>
                <a:gd name="T15" fmla="*/ 40 h 1930"/>
                <a:gd name="T16" fmla="*/ 1441 w 1977"/>
                <a:gd name="T17" fmla="*/ 40 h 1930"/>
                <a:gd name="T18" fmla="*/ 1441 w 1977"/>
                <a:gd name="T19" fmla="*/ 234 h 1930"/>
                <a:gd name="T20" fmla="*/ 1441 w 1977"/>
                <a:gd name="T21" fmla="*/ 1298 h 1930"/>
                <a:gd name="T22" fmla="*/ 1048 w 1977"/>
                <a:gd name="T23" fmla="*/ 1473 h 1930"/>
                <a:gd name="T24" fmla="*/ 560 w 1977"/>
                <a:gd name="T25" fmla="*/ 965 h 1930"/>
                <a:gd name="T26" fmla="*/ 1048 w 1977"/>
                <a:gd name="T27" fmla="*/ 457 h 1930"/>
                <a:gd name="T28" fmla="*/ 1441 w 1977"/>
                <a:gd name="T29" fmla="*/ 631 h 1930"/>
                <a:gd name="T30" fmla="*/ 1441 w 1977"/>
                <a:gd name="T31" fmla="*/ 1298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7" h="1930">
                  <a:moveTo>
                    <a:pt x="1441" y="234"/>
                  </a:moveTo>
                  <a:cubicBezTo>
                    <a:pt x="1330" y="127"/>
                    <a:pt x="1139" y="0"/>
                    <a:pt x="873" y="0"/>
                  </a:cubicBezTo>
                  <a:cubicBezTo>
                    <a:pt x="357" y="0"/>
                    <a:pt x="0" y="429"/>
                    <a:pt x="0" y="973"/>
                  </a:cubicBezTo>
                  <a:cubicBezTo>
                    <a:pt x="0" y="1509"/>
                    <a:pt x="353" y="1930"/>
                    <a:pt x="873" y="1930"/>
                  </a:cubicBezTo>
                  <a:cubicBezTo>
                    <a:pt x="1155" y="1930"/>
                    <a:pt x="1342" y="1799"/>
                    <a:pt x="1441" y="1699"/>
                  </a:cubicBezTo>
                  <a:cubicBezTo>
                    <a:pt x="1441" y="1890"/>
                    <a:pt x="1441" y="1890"/>
                    <a:pt x="1441" y="1890"/>
                  </a:cubicBezTo>
                  <a:cubicBezTo>
                    <a:pt x="1977" y="1890"/>
                    <a:pt x="1977" y="1890"/>
                    <a:pt x="1977" y="1890"/>
                  </a:cubicBezTo>
                  <a:cubicBezTo>
                    <a:pt x="1977" y="40"/>
                    <a:pt x="1977" y="40"/>
                    <a:pt x="1977" y="40"/>
                  </a:cubicBezTo>
                  <a:cubicBezTo>
                    <a:pt x="1441" y="40"/>
                    <a:pt x="1441" y="40"/>
                    <a:pt x="1441" y="40"/>
                  </a:cubicBezTo>
                  <a:lnTo>
                    <a:pt x="1441" y="234"/>
                  </a:lnTo>
                  <a:close/>
                  <a:moveTo>
                    <a:pt x="1441" y="1298"/>
                  </a:moveTo>
                  <a:cubicBezTo>
                    <a:pt x="1366" y="1382"/>
                    <a:pt x="1239" y="1473"/>
                    <a:pt x="1048" y="1473"/>
                  </a:cubicBezTo>
                  <a:cubicBezTo>
                    <a:pt x="762" y="1473"/>
                    <a:pt x="560" y="1266"/>
                    <a:pt x="560" y="965"/>
                  </a:cubicBezTo>
                  <a:cubicBezTo>
                    <a:pt x="560" y="663"/>
                    <a:pt x="762" y="457"/>
                    <a:pt x="1048" y="457"/>
                  </a:cubicBezTo>
                  <a:cubicBezTo>
                    <a:pt x="1239" y="457"/>
                    <a:pt x="1366" y="548"/>
                    <a:pt x="1441" y="631"/>
                  </a:cubicBezTo>
                  <a:lnTo>
                    <a:pt x="1441" y="129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9" name="Freeform 181"/>
            <p:cNvSpPr>
              <a:spLocks noEditPoints="1"/>
            </p:cNvSpPr>
            <p:nvPr userDrawn="1"/>
          </p:nvSpPr>
          <p:spPr bwMode="auto">
            <a:xfrm>
              <a:off x="-1149350" y="2409825"/>
              <a:ext cx="317500" cy="447675"/>
            </a:xfrm>
            <a:custGeom>
              <a:avLst/>
              <a:gdLst>
                <a:gd name="T0" fmla="*/ 1461 w 1997"/>
                <a:gd name="T1" fmla="*/ 0 h 2819"/>
                <a:gd name="T2" fmla="*/ 1461 w 1997"/>
                <a:gd name="T3" fmla="*/ 1139 h 2819"/>
                <a:gd name="T4" fmla="*/ 873 w 1997"/>
                <a:gd name="T5" fmla="*/ 889 h 2819"/>
                <a:gd name="T6" fmla="*/ 0 w 1997"/>
                <a:gd name="T7" fmla="*/ 1862 h 2819"/>
                <a:gd name="T8" fmla="*/ 873 w 1997"/>
                <a:gd name="T9" fmla="*/ 2819 h 2819"/>
                <a:gd name="T10" fmla="*/ 1461 w 1997"/>
                <a:gd name="T11" fmla="*/ 2568 h 2819"/>
                <a:gd name="T12" fmla="*/ 1461 w 1997"/>
                <a:gd name="T13" fmla="*/ 2779 h 2819"/>
                <a:gd name="T14" fmla="*/ 1997 w 1997"/>
                <a:gd name="T15" fmla="*/ 2779 h 2819"/>
                <a:gd name="T16" fmla="*/ 1997 w 1997"/>
                <a:gd name="T17" fmla="*/ 0 h 2819"/>
                <a:gd name="T18" fmla="*/ 1461 w 1997"/>
                <a:gd name="T19" fmla="*/ 0 h 2819"/>
                <a:gd name="T20" fmla="*/ 1461 w 1997"/>
                <a:gd name="T21" fmla="*/ 2163 h 2819"/>
                <a:gd name="T22" fmla="*/ 1048 w 1997"/>
                <a:gd name="T23" fmla="*/ 2362 h 2819"/>
                <a:gd name="T24" fmla="*/ 560 w 1997"/>
                <a:gd name="T25" fmla="*/ 1854 h 2819"/>
                <a:gd name="T26" fmla="*/ 1048 w 1997"/>
                <a:gd name="T27" fmla="*/ 1346 h 2819"/>
                <a:gd name="T28" fmla="*/ 1461 w 1997"/>
                <a:gd name="T29" fmla="*/ 1544 h 2819"/>
                <a:gd name="T30" fmla="*/ 1461 w 1997"/>
                <a:gd name="T31" fmla="*/ 2163 h 2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97" h="2819">
                  <a:moveTo>
                    <a:pt x="1461" y="0"/>
                  </a:moveTo>
                  <a:cubicBezTo>
                    <a:pt x="1461" y="1139"/>
                    <a:pt x="1461" y="1139"/>
                    <a:pt x="1461" y="1139"/>
                  </a:cubicBezTo>
                  <a:cubicBezTo>
                    <a:pt x="1366" y="1040"/>
                    <a:pt x="1171" y="889"/>
                    <a:pt x="873" y="889"/>
                  </a:cubicBezTo>
                  <a:cubicBezTo>
                    <a:pt x="353" y="889"/>
                    <a:pt x="0" y="1318"/>
                    <a:pt x="0" y="1862"/>
                  </a:cubicBezTo>
                  <a:cubicBezTo>
                    <a:pt x="0" y="2406"/>
                    <a:pt x="361" y="2819"/>
                    <a:pt x="873" y="2819"/>
                  </a:cubicBezTo>
                  <a:cubicBezTo>
                    <a:pt x="1171" y="2819"/>
                    <a:pt x="1366" y="2672"/>
                    <a:pt x="1461" y="2568"/>
                  </a:cubicBezTo>
                  <a:cubicBezTo>
                    <a:pt x="1461" y="2779"/>
                    <a:pt x="1461" y="2779"/>
                    <a:pt x="1461" y="2779"/>
                  </a:cubicBezTo>
                  <a:cubicBezTo>
                    <a:pt x="1997" y="2779"/>
                    <a:pt x="1997" y="2779"/>
                    <a:pt x="1997" y="2779"/>
                  </a:cubicBezTo>
                  <a:cubicBezTo>
                    <a:pt x="1997" y="0"/>
                    <a:pt x="1997" y="0"/>
                    <a:pt x="1997" y="0"/>
                  </a:cubicBezTo>
                  <a:lnTo>
                    <a:pt x="1461" y="0"/>
                  </a:lnTo>
                  <a:close/>
                  <a:moveTo>
                    <a:pt x="1461" y="2163"/>
                  </a:moveTo>
                  <a:cubicBezTo>
                    <a:pt x="1389" y="2255"/>
                    <a:pt x="1254" y="2362"/>
                    <a:pt x="1048" y="2362"/>
                  </a:cubicBezTo>
                  <a:cubicBezTo>
                    <a:pt x="762" y="2362"/>
                    <a:pt x="560" y="2155"/>
                    <a:pt x="560" y="1854"/>
                  </a:cubicBezTo>
                  <a:cubicBezTo>
                    <a:pt x="560" y="1552"/>
                    <a:pt x="762" y="1346"/>
                    <a:pt x="1048" y="1346"/>
                  </a:cubicBezTo>
                  <a:cubicBezTo>
                    <a:pt x="1254" y="1346"/>
                    <a:pt x="1389" y="1453"/>
                    <a:pt x="1461" y="1544"/>
                  </a:cubicBezTo>
                  <a:lnTo>
                    <a:pt x="1461" y="216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50" name="Freeform 182"/>
            <p:cNvSpPr>
              <a:spLocks/>
            </p:cNvSpPr>
            <p:nvPr userDrawn="1"/>
          </p:nvSpPr>
          <p:spPr bwMode="auto">
            <a:xfrm>
              <a:off x="-1487488" y="2551113"/>
              <a:ext cx="290513" cy="300038"/>
            </a:xfrm>
            <a:custGeom>
              <a:avLst/>
              <a:gdLst>
                <a:gd name="T0" fmla="*/ 1128 w 1839"/>
                <a:gd name="T1" fmla="*/ 0 h 1890"/>
                <a:gd name="T2" fmla="*/ 540 w 1839"/>
                <a:gd name="T3" fmla="*/ 262 h 1890"/>
                <a:gd name="T4" fmla="*/ 540 w 1839"/>
                <a:gd name="T5" fmla="*/ 40 h 1890"/>
                <a:gd name="T6" fmla="*/ 0 w 1839"/>
                <a:gd name="T7" fmla="*/ 40 h 1890"/>
                <a:gd name="T8" fmla="*/ 0 w 1839"/>
                <a:gd name="T9" fmla="*/ 1890 h 1890"/>
                <a:gd name="T10" fmla="*/ 540 w 1839"/>
                <a:gd name="T11" fmla="*/ 1890 h 1890"/>
                <a:gd name="T12" fmla="*/ 540 w 1839"/>
                <a:gd name="T13" fmla="*/ 675 h 1890"/>
                <a:gd name="T14" fmla="*/ 937 w 1839"/>
                <a:gd name="T15" fmla="*/ 464 h 1890"/>
                <a:gd name="T16" fmla="*/ 1295 w 1839"/>
                <a:gd name="T17" fmla="*/ 854 h 1890"/>
                <a:gd name="T18" fmla="*/ 1295 w 1839"/>
                <a:gd name="T19" fmla="*/ 1890 h 1890"/>
                <a:gd name="T20" fmla="*/ 1839 w 1839"/>
                <a:gd name="T21" fmla="*/ 1890 h 1890"/>
                <a:gd name="T22" fmla="*/ 1839 w 1839"/>
                <a:gd name="T23" fmla="*/ 746 h 1890"/>
                <a:gd name="T24" fmla="*/ 1128 w 1839"/>
                <a:gd name="T25" fmla="*/ 0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9" h="1890">
                  <a:moveTo>
                    <a:pt x="1128" y="0"/>
                  </a:moveTo>
                  <a:cubicBezTo>
                    <a:pt x="826" y="0"/>
                    <a:pt x="632" y="159"/>
                    <a:pt x="540" y="262"/>
                  </a:cubicBezTo>
                  <a:cubicBezTo>
                    <a:pt x="540" y="40"/>
                    <a:pt x="540" y="40"/>
                    <a:pt x="540" y="40"/>
                  </a:cubicBezTo>
                  <a:cubicBezTo>
                    <a:pt x="0" y="40"/>
                    <a:pt x="0" y="40"/>
                    <a:pt x="0" y="40"/>
                  </a:cubicBezTo>
                  <a:cubicBezTo>
                    <a:pt x="0" y="1890"/>
                    <a:pt x="0" y="1890"/>
                    <a:pt x="0" y="1890"/>
                  </a:cubicBezTo>
                  <a:cubicBezTo>
                    <a:pt x="540" y="1890"/>
                    <a:pt x="540" y="1890"/>
                    <a:pt x="540" y="1890"/>
                  </a:cubicBezTo>
                  <a:cubicBezTo>
                    <a:pt x="540" y="675"/>
                    <a:pt x="540" y="675"/>
                    <a:pt x="540" y="675"/>
                  </a:cubicBezTo>
                  <a:cubicBezTo>
                    <a:pt x="608" y="580"/>
                    <a:pt x="735" y="464"/>
                    <a:pt x="937" y="464"/>
                  </a:cubicBezTo>
                  <a:cubicBezTo>
                    <a:pt x="1164" y="464"/>
                    <a:pt x="1295" y="611"/>
                    <a:pt x="1295" y="854"/>
                  </a:cubicBezTo>
                  <a:cubicBezTo>
                    <a:pt x="1295" y="1890"/>
                    <a:pt x="1295" y="1890"/>
                    <a:pt x="1295" y="1890"/>
                  </a:cubicBezTo>
                  <a:cubicBezTo>
                    <a:pt x="1839" y="1890"/>
                    <a:pt x="1839" y="1890"/>
                    <a:pt x="1839" y="1890"/>
                  </a:cubicBezTo>
                  <a:cubicBezTo>
                    <a:pt x="1839" y="746"/>
                    <a:pt x="1839" y="746"/>
                    <a:pt x="1839" y="746"/>
                  </a:cubicBezTo>
                  <a:cubicBezTo>
                    <a:pt x="1839" y="310"/>
                    <a:pt x="1588" y="0"/>
                    <a:pt x="1128"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51" name="Freeform 183"/>
            <p:cNvSpPr>
              <a:spLocks/>
            </p:cNvSpPr>
            <p:nvPr userDrawn="1"/>
          </p:nvSpPr>
          <p:spPr bwMode="auto">
            <a:xfrm>
              <a:off x="-2286000" y="2403475"/>
              <a:ext cx="238125" cy="447675"/>
            </a:xfrm>
            <a:custGeom>
              <a:avLst/>
              <a:gdLst>
                <a:gd name="T0" fmla="*/ 1128 w 1505"/>
                <a:gd name="T1" fmla="*/ 449 h 2819"/>
                <a:gd name="T2" fmla="*/ 1418 w 1505"/>
                <a:gd name="T3" fmla="*/ 528 h 2819"/>
                <a:gd name="T4" fmla="*/ 1505 w 1505"/>
                <a:gd name="T5" fmla="*/ 115 h 2819"/>
                <a:gd name="T6" fmla="*/ 1009 w 1505"/>
                <a:gd name="T7" fmla="*/ 0 h 2819"/>
                <a:gd name="T8" fmla="*/ 274 w 1505"/>
                <a:gd name="T9" fmla="*/ 750 h 2819"/>
                <a:gd name="T10" fmla="*/ 274 w 1505"/>
                <a:gd name="T11" fmla="*/ 969 h 2819"/>
                <a:gd name="T12" fmla="*/ 0 w 1505"/>
                <a:gd name="T13" fmla="*/ 969 h 2819"/>
                <a:gd name="T14" fmla="*/ 0 w 1505"/>
                <a:gd name="T15" fmla="*/ 1413 h 2819"/>
                <a:gd name="T16" fmla="*/ 274 w 1505"/>
                <a:gd name="T17" fmla="*/ 1413 h 2819"/>
                <a:gd name="T18" fmla="*/ 274 w 1505"/>
                <a:gd name="T19" fmla="*/ 2819 h 2819"/>
                <a:gd name="T20" fmla="*/ 826 w 1505"/>
                <a:gd name="T21" fmla="*/ 2819 h 2819"/>
                <a:gd name="T22" fmla="*/ 826 w 1505"/>
                <a:gd name="T23" fmla="*/ 1413 h 2819"/>
                <a:gd name="T24" fmla="*/ 1453 w 1505"/>
                <a:gd name="T25" fmla="*/ 1413 h 2819"/>
                <a:gd name="T26" fmla="*/ 1453 w 1505"/>
                <a:gd name="T27" fmla="*/ 969 h 2819"/>
                <a:gd name="T28" fmla="*/ 826 w 1505"/>
                <a:gd name="T29" fmla="*/ 969 h 2819"/>
                <a:gd name="T30" fmla="*/ 826 w 1505"/>
                <a:gd name="T31" fmla="*/ 798 h 2819"/>
                <a:gd name="T32" fmla="*/ 1128 w 1505"/>
                <a:gd name="T33" fmla="*/ 449 h 2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5" h="2819">
                  <a:moveTo>
                    <a:pt x="1128" y="449"/>
                  </a:moveTo>
                  <a:cubicBezTo>
                    <a:pt x="1310" y="449"/>
                    <a:pt x="1418" y="528"/>
                    <a:pt x="1418" y="528"/>
                  </a:cubicBezTo>
                  <a:cubicBezTo>
                    <a:pt x="1505" y="115"/>
                    <a:pt x="1505" y="115"/>
                    <a:pt x="1505" y="115"/>
                  </a:cubicBezTo>
                  <a:cubicBezTo>
                    <a:pt x="1505" y="115"/>
                    <a:pt x="1358" y="0"/>
                    <a:pt x="1009" y="0"/>
                  </a:cubicBezTo>
                  <a:cubicBezTo>
                    <a:pt x="556" y="0"/>
                    <a:pt x="274" y="262"/>
                    <a:pt x="274" y="750"/>
                  </a:cubicBezTo>
                  <a:cubicBezTo>
                    <a:pt x="274" y="969"/>
                    <a:pt x="274" y="969"/>
                    <a:pt x="274" y="969"/>
                  </a:cubicBezTo>
                  <a:cubicBezTo>
                    <a:pt x="0" y="969"/>
                    <a:pt x="0" y="969"/>
                    <a:pt x="0" y="969"/>
                  </a:cubicBezTo>
                  <a:cubicBezTo>
                    <a:pt x="0" y="1413"/>
                    <a:pt x="0" y="1413"/>
                    <a:pt x="0" y="1413"/>
                  </a:cubicBezTo>
                  <a:cubicBezTo>
                    <a:pt x="274" y="1413"/>
                    <a:pt x="274" y="1413"/>
                    <a:pt x="274" y="1413"/>
                  </a:cubicBezTo>
                  <a:cubicBezTo>
                    <a:pt x="274" y="2819"/>
                    <a:pt x="274" y="2819"/>
                    <a:pt x="274" y="2819"/>
                  </a:cubicBezTo>
                  <a:cubicBezTo>
                    <a:pt x="826" y="2819"/>
                    <a:pt x="826" y="2819"/>
                    <a:pt x="826" y="2819"/>
                  </a:cubicBezTo>
                  <a:cubicBezTo>
                    <a:pt x="826" y="1413"/>
                    <a:pt x="826" y="1413"/>
                    <a:pt x="826" y="1413"/>
                  </a:cubicBezTo>
                  <a:cubicBezTo>
                    <a:pt x="1453" y="1413"/>
                    <a:pt x="1453" y="1413"/>
                    <a:pt x="1453" y="1413"/>
                  </a:cubicBezTo>
                  <a:cubicBezTo>
                    <a:pt x="1453" y="969"/>
                    <a:pt x="1453" y="969"/>
                    <a:pt x="1453" y="969"/>
                  </a:cubicBezTo>
                  <a:cubicBezTo>
                    <a:pt x="826" y="969"/>
                    <a:pt x="826" y="969"/>
                    <a:pt x="826" y="969"/>
                  </a:cubicBezTo>
                  <a:cubicBezTo>
                    <a:pt x="826" y="798"/>
                    <a:pt x="826" y="798"/>
                    <a:pt x="826" y="798"/>
                  </a:cubicBezTo>
                  <a:cubicBezTo>
                    <a:pt x="826" y="564"/>
                    <a:pt x="933" y="449"/>
                    <a:pt x="1128" y="44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52" name="Rectangle 184"/>
            <p:cNvSpPr>
              <a:spLocks noChangeArrowheads="1"/>
            </p:cNvSpPr>
            <p:nvPr userDrawn="1"/>
          </p:nvSpPr>
          <p:spPr bwMode="auto">
            <a:xfrm>
              <a:off x="-2006600" y="2409825"/>
              <a:ext cx="87313" cy="441325"/>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3" name="Datumsplatzhalter 2"/>
          <p:cNvSpPr>
            <a:spLocks noGrp="1"/>
          </p:cNvSpPr>
          <p:nvPr>
            <p:ph type="dt" sz="half" idx="19"/>
          </p:nvPr>
        </p:nvSpPr>
        <p:spPr>
          <a:xfrm>
            <a:off x="7985795" y="4836160"/>
            <a:ext cx="540059" cy="136050"/>
          </a:xfrm>
          <a:prstGeom prst="rect">
            <a:avLst/>
          </a:prstGeom>
        </p:spPr>
        <p:txBody>
          <a:bodyPr/>
          <a:lstStyle>
            <a:lvl1pPr>
              <a:defRPr>
                <a:noFill/>
              </a:defRPr>
            </a:lvl1pPr>
          </a:lstStyle>
          <a:p>
            <a:endParaRPr lang="de-DE" dirty="0"/>
          </a:p>
        </p:txBody>
      </p:sp>
      <p:sp>
        <p:nvSpPr>
          <p:cNvPr id="4" name="Fußzeilenplatzhalter 3"/>
          <p:cNvSpPr>
            <a:spLocks noGrp="1"/>
          </p:cNvSpPr>
          <p:nvPr>
            <p:ph type="ftr" sz="quarter" idx="20"/>
          </p:nvPr>
        </p:nvSpPr>
        <p:spPr>
          <a:xfrm>
            <a:off x="5788992" y="4836160"/>
            <a:ext cx="2196803" cy="136050"/>
          </a:xfrm>
          <a:prstGeom prst="rect">
            <a:avLst/>
          </a:prstGeom>
        </p:spPr>
        <p:txBody>
          <a:bodyPr/>
          <a:lstStyle>
            <a:lvl1pPr>
              <a:defRPr>
                <a:noFill/>
              </a:defRPr>
            </a:lvl1pPr>
          </a:lstStyle>
          <a:p>
            <a:endParaRPr lang="de-DE" dirty="0"/>
          </a:p>
        </p:txBody>
      </p:sp>
      <p:sp>
        <p:nvSpPr>
          <p:cNvPr id="5" name="Foliennummernplatzhalter 4"/>
          <p:cNvSpPr>
            <a:spLocks noGrp="1"/>
          </p:cNvSpPr>
          <p:nvPr>
            <p:ph type="sldNum" sz="quarter" idx="21"/>
          </p:nvPr>
        </p:nvSpPr>
        <p:spPr>
          <a:xfrm>
            <a:off x="8532440" y="4836160"/>
            <a:ext cx="611561" cy="136050"/>
          </a:xfrm>
          <a:prstGeom prst="rect">
            <a:avLst/>
          </a:prstGeom>
        </p:spPr>
        <p:txBody>
          <a:bodyPr/>
          <a:lstStyle>
            <a:lvl1pPr>
              <a:defRPr>
                <a:noFill/>
              </a:defRPr>
            </a:lvl1pPr>
          </a:lstStyle>
          <a:p>
            <a:r>
              <a:rPr lang="de-DE"/>
              <a:t> </a:t>
            </a:r>
            <a:r>
              <a:rPr lang="de-DE">
                <a:sym typeface="Wingdings"/>
              </a:rPr>
              <a:t>  </a:t>
            </a:r>
            <a:fld id="{443B15C8-972D-49F6-9B7C-5A2154A8C95F}" type="slidenum">
              <a:rPr lang="de-DE" smtClean="0"/>
              <a:pPr/>
              <a:t>‹Nr.›</a:t>
            </a:fld>
            <a:endParaRPr lang="de-DE" dirty="0"/>
          </a:p>
        </p:txBody>
      </p:sp>
      <p:grpSp>
        <p:nvGrpSpPr>
          <p:cNvPr id="45" name="Gruppieren 44"/>
          <p:cNvGrpSpPr/>
          <p:nvPr/>
        </p:nvGrpSpPr>
        <p:grpSpPr>
          <a:xfrm>
            <a:off x="-373329" y="-380578"/>
            <a:ext cx="9664396" cy="5679553"/>
            <a:chOff x="-373329" y="-380578"/>
            <a:chExt cx="9664396" cy="5679553"/>
          </a:xfrm>
        </p:grpSpPr>
        <p:sp>
          <p:nvSpPr>
            <p:cNvPr id="46" name="Textfeld 125"/>
            <p:cNvSpPr txBox="1"/>
            <p:nvPr userDrawn="1"/>
          </p:nvSpPr>
          <p:spPr bwMode="gray">
            <a:xfrm>
              <a:off x="169614" y="-137946"/>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11,60</a:t>
              </a:r>
            </a:p>
          </p:txBody>
        </p:sp>
        <p:cxnSp>
          <p:nvCxnSpPr>
            <p:cNvPr id="47" name="Gerade Verbindung 88"/>
            <p:cNvCxnSpPr/>
            <p:nvPr userDrawn="1"/>
          </p:nvCxnSpPr>
          <p:spPr bwMode="gray">
            <a:xfrm>
              <a:off x="395287" y="-380578"/>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48" name="Textfeld 125"/>
            <p:cNvSpPr txBox="1"/>
            <p:nvPr userDrawn="1"/>
          </p:nvSpPr>
          <p:spPr bwMode="gray">
            <a:xfrm>
              <a:off x="4468316" y="-247911"/>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0</a:t>
              </a:r>
            </a:p>
          </p:txBody>
        </p:sp>
        <p:cxnSp>
          <p:nvCxnSpPr>
            <p:cNvPr id="49" name="Gerade Verbindung 90"/>
            <p:cNvCxnSpPr/>
            <p:nvPr userDrawn="1"/>
          </p:nvCxnSpPr>
          <p:spPr bwMode="gray">
            <a:xfrm>
              <a:off x="4572000" y="-164554"/>
              <a:ext cx="0" cy="9465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50" name="Textfeld 125"/>
            <p:cNvSpPr txBox="1"/>
            <p:nvPr userDrawn="1"/>
          </p:nvSpPr>
          <p:spPr bwMode="gray">
            <a:xfrm>
              <a:off x="8765420" y="-137946"/>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11,60</a:t>
              </a:r>
            </a:p>
          </p:txBody>
        </p:sp>
        <p:cxnSp>
          <p:nvCxnSpPr>
            <p:cNvPr id="51" name="Gerade Verbindung 95"/>
            <p:cNvCxnSpPr/>
            <p:nvPr userDrawn="1"/>
          </p:nvCxnSpPr>
          <p:spPr bwMode="gray">
            <a:xfrm>
              <a:off x="8745367" y="-380578"/>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Gerade Verbindung 96"/>
            <p:cNvCxnSpPr/>
            <p:nvPr userDrawn="1"/>
          </p:nvCxnSpPr>
          <p:spPr bwMode="gray">
            <a:xfrm>
              <a:off x="395287" y="5205375"/>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3" name="Gerade Verbindung 97"/>
            <p:cNvCxnSpPr/>
            <p:nvPr userDrawn="1"/>
          </p:nvCxnSpPr>
          <p:spPr bwMode="gray">
            <a:xfrm>
              <a:off x="4572000" y="5205375"/>
              <a:ext cx="0"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p:cNvCxnSpPr/>
            <p:nvPr userDrawn="1"/>
          </p:nvCxnSpPr>
          <p:spPr bwMode="gray">
            <a:xfrm>
              <a:off x="8745367" y="5205375"/>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55" name="Textfeld 125"/>
            <p:cNvSpPr txBox="1"/>
            <p:nvPr userDrawn="1"/>
          </p:nvSpPr>
          <p:spPr bwMode="gray">
            <a:xfrm>
              <a:off x="-270016" y="4604219"/>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5,</a:t>
              </a:r>
              <a:r>
                <a:rPr lang="de-DE" sz="600" noProof="0" dirty="0">
                  <a:solidFill>
                    <a:schemeClr val="tx2"/>
                  </a:solidFill>
                </a:rPr>
                <a:t>6</a:t>
              </a:r>
              <a:r>
                <a:rPr lang="pl-PL" sz="600" noProof="0" dirty="0">
                  <a:solidFill>
                    <a:schemeClr val="tx2"/>
                  </a:solidFill>
                </a:rPr>
                <a:t>0</a:t>
              </a:r>
            </a:p>
          </p:txBody>
        </p:sp>
        <p:cxnSp>
          <p:nvCxnSpPr>
            <p:cNvPr id="56" name="Gerade Verbindung 103"/>
            <p:cNvCxnSpPr/>
            <p:nvPr userDrawn="1"/>
          </p:nvCxnSpPr>
          <p:spPr bwMode="gray">
            <a:xfrm rot="5400000">
              <a:off x="-217989" y="4425629"/>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57" name="Textfeld 125"/>
            <p:cNvSpPr txBox="1"/>
            <p:nvPr userDrawn="1"/>
          </p:nvSpPr>
          <p:spPr bwMode="gray">
            <a:xfrm>
              <a:off x="-270016" y="1042102"/>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4,00</a:t>
              </a:r>
            </a:p>
          </p:txBody>
        </p:sp>
        <p:cxnSp>
          <p:nvCxnSpPr>
            <p:cNvPr id="58" name="Gerade Verbindung 105"/>
            <p:cNvCxnSpPr/>
            <p:nvPr userDrawn="1"/>
          </p:nvCxnSpPr>
          <p:spPr bwMode="gray">
            <a:xfrm rot="5400000">
              <a:off x="-217989" y="970017"/>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59" name="Textfeld 125"/>
            <p:cNvSpPr txBox="1"/>
            <p:nvPr userDrawn="1"/>
          </p:nvSpPr>
          <p:spPr bwMode="gray">
            <a:xfrm>
              <a:off x="-325696" y="2825353"/>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0</a:t>
              </a:r>
              <a:r>
                <a:rPr lang="de-DE" sz="600" noProof="0" dirty="0">
                  <a:solidFill>
                    <a:schemeClr val="tx2"/>
                  </a:solidFill>
                </a:rPr>
                <a:t>,8</a:t>
              </a:r>
              <a:endParaRPr lang="pl-PL" sz="600" noProof="0" dirty="0">
                <a:solidFill>
                  <a:schemeClr val="tx2"/>
                </a:solidFill>
              </a:endParaRPr>
            </a:p>
          </p:txBody>
        </p:sp>
        <p:cxnSp>
          <p:nvCxnSpPr>
            <p:cNvPr id="60" name="Gerade Verbindung 107"/>
            <p:cNvCxnSpPr/>
            <p:nvPr userDrawn="1"/>
          </p:nvCxnSpPr>
          <p:spPr bwMode="gray">
            <a:xfrm rot="16200000">
              <a:off x="-109977" y="2815134"/>
              <a:ext cx="0" cy="9465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Gerade Verbindung 108"/>
            <p:cNvCxnSpPr/>
            <p:nvPr userDrawn="1"/>
          </p:nvCxnSpPr>
          <p:spPr bwMode="gray">
            <a:xfrm rot="5400000">
              <a:off x="9244266" y="4534169"/>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2" name="Gerade Verbindung 109"/>
            <p:cNvCxnSpPr/>
            <p:nvPr userDrawn="1"/>
          </p:nvCxnSpPr>
          <p:spPr bwMode="gray">
            <a:xfrm rot="5400000">
              <a:off x="9244266" y="1078557"/>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 name="Gerade Verbindung 110"/>
            <p:cNvCxnSpPr/>
            <p:nvPr userDrawn="1"/>
          </p:nvCxnSpPr>
          <p:spPr bwMode="gray">
            <a:xfrm rot="16200000">
              <a:off x="9244266" y="2815662"/>
              <a:ext cx="0"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7707074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7101566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225" name="think-cell Folie" r:id="rId4" imgW="245" imgH="245" progId="TCLayout.ActiveDocument.1">
                  <p:embed/>
                </p:oleObj>
              </mc:Choice>
              <mc:Fallback>
                <p:oleObj name="think-cell Folie" r:id="rId4" imgW="245" imgH="24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7" name="Text Placeholder 2"/>
          <p:cNvSpPr>
            <a:spLocks noGrp="1"/>
          </p:cNvSpPr>
          <p:nvPr>
            <p:ph type="body" sz="quarter" idx="10" hasCustomPrompt="1"/>
          </p:nvPr>
        </p:nvSpPr>
        <p:spPr bwMode="gray">
          <a:xfrm>
            <a:off x="3077988" y="123269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28" name="Text Placeholder 2"/>
          <p:cNvSpPr>
            <a:spLocks noGrp="1"/>
          </p:cNvSpPr>
          <p:nvPr>
            <p:ph type="body" sz="quarter" idx="11" hasCustomPrompt="1"/>
          </p:nvPr>
        </p:nvSpPr>
        <p:spPr bwMode="gray">
          <a:xfrm>
            <a:off x="3077988" y="173401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29" name="Text Placeholder 2"/>
          <p:cNvSpPr>
            <a:spLocks noGrp="1"/>
          </p:cNvSpPr>
          <p:nvPr>
            <p:ph type="body" sz="quarter" idx="12" hasCustomPrompt="1"/>
          </p:nvPr>
        </p:nvSpPr>
        <p:spPr bwMode="gray">
          <a:xfrm>
            <a:off x="3077988" y="223533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0" name="Text Placeholder 2"/>
          <p:cNvSpPr>
            <a:spLocks noGrp="1"/>
          </p:cNvSpPr>
          <p:nvPr>
            <p:ph type="body" sz="quarter" idx="13" hasCustomPrompt="1"/>
          </p:nvPr>
        </p:nvSpPr>
        <p:spPr bwMode="gray">
          <a:xfrm>
            <a:off x="3077988" y="273665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2" name="Text Placeholder 2"/>
          <p:cNvSpPr>
            <a:spLocks noGrp="1"/>
          </p:cNvSpPr>
          <p:nvPr>
            <p:ph type="body" sz="quarter" idx="14" hasCustomPrompt="1"/>
          </p:nvPr>
        </p:nvSpPr>
        <p:spPr bwMode="gray">
          <a:xfrm>
            <a:off x="3077988" y="3237972"/>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3" name="Text Placeholder 2"/>
          <p:cNvSpPr>
            <a:spLocks noGrp="1"/>
          </p:cNvSpPr>
          <p:nvPr>
            <p:ph type="body" sz="quarter" idx="15" hasCustomPrompt="1"/>
          </p:nvPr>
        </p:nvSpPr>
        <p:spPr bwMode="gray">
          <a:xfrm>
            <a:off x="5688013" y="123269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4" name="Text Placeholder 2"/>
          <p:cNvSpPr>
            <a:spLocks noGrp="1"/>
          </p:cNvSpPr>
          <p:nvPr>
            <p:ph type="body" sz="quarter" idx="16" hasCustomPrompt="1"/>
          </p:nvPr>
        </p:nvSpPr>
        <p:spPr bwMode="gray">
          <a:xfrm>
            <a:off x="5688013" y="173401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5" name="Text Placeholder 2"/>
          <p:cNvSpPr>
            <a:spLocks noGrp="1"/>
          </p:cNvSpPr>
          <p:nvPr>
            <p:ph type="body" sz="quarter" idx="17" hasCustomPrompt="1"/>
          </p:nvPr>
        </p:nvSpPr>
        <p:spPr bwMode="gray">
          <a:xfrm>
            <a:off x="5688013" y="223533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6" name="Text Placeholder 2"/>
          <p:cNvSpPr>
            <a:spLocks noGrp="1"/>
          </p:cNvSpPr>
          <p:nvPr>
            <p:ph type="body" sz="quarter" idx="18" hasCustomPrompt="1"/>
          </p:nvPr>
        </p:nvSpPr>
        <p:spPr bwMode="gray">
          <a:xfrm>
            <a:off x="5688013" y="273665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7" name="Text Placeholder 2"/>
          <p:cNvSpPr>
            <a:spLocks noGrp="1"/>
          </p:cNvSpPr>
          <p:nvPr>
            <p:ph type="body" sz="quarter" idx="19" hasCustomPrompt="1"/>
          </p:nvPr>
        </p:nvSpPr>
        <p:spPr bwMode="gray">
          <a:xfrm>
            <a:off x="5688013" y="3237972"/>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9" name="Text Placeholder 4"/>
          <p:cNvSpPr>
            <a:spLocks noGrp="1"/>
          </p:cNvSpPr>
          <p:nvPr>
            <p:ph type="body" sz="quarter" idx="20" hasCustomPrompt="1"/>
          </p:nvPr>
        </p:nvSpPr>
        <p:spPr bwMode="gray">
          <a:xfrm>
            <a:off x="3600450" y="1233488"/>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baseline="0">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4" name="Text Placeholder 4"/>
          <p:cNvSpPr>
            <a:spLocks noGrp="1"/>
          </p:cNvSpPr>
          <p:nvPr>
            <p:ph type="body" sz="quarter" idx="21" hasCustomPrompt="1"/>
          </p:nvPr>
        </p:nvSpPr>
        <p:spPr bwMode="gray">
          <a:xfrm>
            <a:off x="3600450" y="1734609"/>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5" name="Text Placeholder 4"/>
          <p:cNvSpPr>
            <a:spLocks noGrp="1"/>
          </p:cNvSpPr>
          <p:nvPr>
            <p:ph type="body" sz="quarter" idx="22" hasCustomPrompt="1"/>
          </p:nvPr>
        </p:nvSpPr>
        <p:spPr bwMode="gray">
          <a:xfrm>
            <a:off x="3600450" y="2235730"/>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6" name="Text Placeholder 4"/>
          <p:cNvSpPr>
            <a:spLocks noGrp="1"/>
          </p:cNvSpPr>
          <p:nvPr>
            <p:ph type="body" sz="quarter" idx="23" hasCustomPrompt="1"/>
          </p:nvPr>
        </p:nvSpPr>
        <p:spPr bwMode="gray">
          <a:xfrm>
            <a:off x="3600450" y="2736851"/>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7" name="Text Placeholder 4"/>
          <p:cNvSpPr>
            <a:spLocks noGrp="1"/>
          </p:cNvSpPr>
          <p:nvPr>
            <p:ph type="body" sz="quarter" idx="24" hasCustomPrompt="1"/>
          </p:nvPr>
        </p:nvSpPr>
        <p:spPr bwMode="gray">
          <a:xfrm>
            <a:off x="3600450" y="3237972"/>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8" name="Text Placeholder 4"/>
          <p:cNvSpPr>
            <a:spLocks noGrp="1"/>
          </p:cNvSpPr>
          <p:nvPr>
            <p:ph type="body" sz="quarter" idx="25" hasCustomPrompt="1"/>
          </p:nvPr>
        </p:nvSpPr>
        <p:spPr bwMode="gray">
          <a:xfrm>
            <a:off x="6210475" y="1233488"/>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9" name="Text Placeholder 4"/>
          <p:cNvSpPr>
            <a:spLocks noGrp="1"/>
          </p:cNvSpPr>
          <p:nvPr>
            <p:ph type="body" sz="quarter" idx="26" hasCustomPrompt="1"/>
          </p:nvPr>
        </p:nvSpPr>
        <p:spPr bwMode="gray">
          <a:xfrm>
            <a:off x="6210475" y="1734609"/>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4" name="Text Placeholder 4"/>
          <p:cNvSpPr>
            <a:spLocks noGrp="1"/>
          </p:cNvSpPr>
          <p:nvPr>
            <p:ph type="body" sz="quarter" idx="27" hasCustomPrompt="1"/>
          </p:nvPr>
        </p:nvSpPr>
        <p:spPr bwMode="gray">
          <a:xfrm>
            <a:off x="6210475" y="2235730"/>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5" name="Text Placeholder 4"/>
          <p:cNvSpPr>
            <a:spLocks noGrp="1"/>
          </p:cNvSpPr>
          <p:nvPr>
            <p:ph type="body" sz="quarter" idx="28" hasCustomPrompt="1"/>
          </p:nvPr>
        </p:nvSpPr>
        <p:spPr bwMode="gray">
          <a:xfrm>
            <a:off x="6210475" y="2736851"/>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6" name="Text Placeholder 4"/>
          <p:cNvSpPr>
            <a:spLocks noGrp="1"/>
          </p:cNvSpPr>
          <p:nvPr>
            <p:ph type="body" sz="quarter" idx="29" hasCustomPrompt="1"/>
          </p:nvPr>
        </p:nvSpPr>
        <p:spPr bwMode="gray">
          <a:xfrm>
            <a:off x="6210475" y="3237972"/>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2" name="Titel 1"/>
          <p:cNvSpPr>
            <a:spLocks noGrp="1"/>
          </p:cNvSpPr>
          <p:nvPr>
            <p:ph type="title" hasCustomPrompt="1"/>
          </p:nvPr>
        </p:nvSpPr>
        <p:spPr>
          <a:xfrm>
            <a:off x="395288" y="1527175"/>
            <a:ext cx="2160587" cy="1941196"/>
          </a:xfrm>
        </p:spPr>
        <p:txBody>
          <a:bodyPr anchor="ctr"/>
          <a:lstStyle>
            <a:lvl1pPr>
              <a:defRPr sz="1800" b="1" cap="all" baseline="0"/>
            </a:lvl1pPr>
          </a:lstStyle>
          <a:p>
            <a:r>
              <a:rPr lang="de-DE" dirty="0"/>
              <a:t>Agenda</a:t>
            </a:r>
            <a:endParaRPr lang="en-US" dirty="0"/>
          </a:p>
        </p:txBody>
      </p:sp>
      <p:sp>
        <p:nvSpPr>
          <p:cNvPr id="3" name="Datumsplatzhalter 2"/>
          <p:cNvSpPr>
            <a:spLocks noGrp="1"/>
          </p:cNvSpPr>
          <p:nvPr>
            <p:ph type="dt" sz="half" idx="30"/>
          </p:nvPr>
        </p:nvSpPr>
        <p:spPr>
          <a:xfrm>
            <a:off x="7985795" y="4836160"/>
            <a:ext cx="540059" cy="136050"/>
          </a:xfrm>
          <a:prstGeom prst="rect">
            <a:avLst/>
          </a:prstGeom>
        </p:spPr>
        <p:txBody>
          <a:bodyPr/>
          <a:lstStyle>
            <a:lvl1pPr>
              <a:defRPr>
                <a:solidFill>
                  <a:schemeClr val="bg1"/>
                </a:solidFill>
              </a:defRPr>
            </a:lvl1pPr>
          </a:lstStyle>
          <a:p>
            <a:endParaRPr lang="de-DE" dirty="0"/>
          </a:p>
        </p:txBody>
      </p:sp>
      <p:sp>
        <p:nvSpPr>
          <p:cNvPr id="4" name="Fußzeilenplatzhalter 3"/>
          <p:cNvSpPr>
            <a:spLocks noGrp="1"/>
          </p:cNvSpPr>
          <p:nvPr>
            <p:ph type="ftr" sz="quarter" idx="31"/>
          </p:nvPr>
        </p:nvSpPr>
        <p:spPr>
          <a:xfrm>
            <a:off x="5788992" y="4836160"/>
            <a:ext cx="2196803" cy="136050"/>
          </a:xfrm>
          <a:prstGeom prst="rect">
            <a:avLst/>
          </a:prstGeom>
        </p:spPr>
        <p:txBody>
          <a:bodyPr/>
          <a:lstStyle>
            <a:lvl1pPr>
              <a:defRPr>
                <a:solidFill>
                  <a:schemeClr val="bg1"/>
                </a:solidFill>
              </a:defRPr>
            </a:lvl1pPr>
          </a:lstStyle>
          <a:p>
            <a:endParaRPr lang="de-DE" dirty="0"/>
          </a:p>
        </p:txBody>
      </p:sp>
      <p:sp>
        <p:nvSpPr>
          <p:cNvPr id="5" name="Foliennummernplatzhalter 4"/>
          <p:cNvSpPr>
            <a:spLocks noGrp="1"/>
          </p:cNvSpPr>
          <p:nvPr>
            <p:ph type="sldNum" sz="quarter" idx="32"/>
          </p:nvPr>
        </p:nvSpPr>
        <p:spPr>
          <a:xfrm>
            <a:off x="8532440" y="4836160"/>
            <a:ext cx="611561" cy="136050"/>
          </a:xfrm>
          <a:prstGeom prst="rect">
            <a:avLst/>
          </a:prstGeom>
        </p:spPr>
        <p:txBody>
          <a:bodyPr/>
          <a:lstStyle>
            <a:lvl1pPr>
              <a:defRPr>
                <a:solidFill>
                  <a:schemeClr val="bg1"/>
                </a:solidFill>
              </a:defRPr>
            </a:lvl1pPr>
          </a:lstStyle>
          <a:p>
            <a:r>
              <a:rPr lang="de-DE"/>
              <a:t> </a:t>
            </a:r>
            <a:r>
              <a:rPr lang="de-DE">
                <a:sym typeface="Wingdings"/>
              </a:rPr>
              <a:t>  </a:t>
            </a:r>
            <a:fld id="{443B15C8-972D-49F6-9B7C-5A2154A8C95F}" type="slidenum">
              <a:rPr lang="de-DE" smtClean="0"/>
              <a:pPr/>
              <a:t>‹Nr.›</a:t>
            </a:fld>
            <a:endParaRPr lang="de-DE" dirty="0"/>
          </a:p>
        </p:txBody>
      </p:sp>
    </p:spTree>
    <p:extLst>
      <p:ext uri="{BB962C8B-B14F-4D97-AF65-F5344CB8AC3E}">
        <p14:creationId xmlns:p14="http://schemas.microsoft.com/office/powerpoint/2010/main" val="290708105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bwMode="gray">
          <a:xfrm>
            <a:off x="395289" y="1131889"/>
            <a:ext cx="8353424" cy="3456085"/>
          </a:xfrm>
        </p:spPr>
        <p:txBody>
          <a:bodyPr/>
          <a:lstStyle>
            <a:lvl1pPr>
              <a:defRPr/>
            </a:lvl1pPr>
            <a:lvl9pPr>
              <a:defRPr>
                <a:solidFill>
                  <a:schemeClr val="tx2"/>
                </a:solidFill>
              </a:defRPr>
            </a:lvl9pPr>
          </a:lstStyle>
          <a:p>
            <a:pPr lvl="0"/>
            <a:r>
              <a:rPr lang="de-DE" noProof="0" dirty="0"/>
              <a:t>Schreibe hier deinen Text.</a:t>
            </a:r>
          </a:p>
        </p:txBody>
      </p:sp>
      <p:sp>
        <p:nvSpPr>
          <p:cNvPr id="12" name="Text Placeholder 4"/>
          <p:cNvSpPr>
            <a:spLocks noGrp="1"/>
          </p:cNvSpPr>
          <p:nvPr>
            <p:ph type="body" sz="quarter" idx="20" hasCustomPrompt="1"/>
          </p:nvPr>
        </p:nvSpPr>
        <p:spPr bwMode="gray">
          <a:xfrm>
            <a:off x="395287" y="267494"/>
            <a:ext cx="8350079" cy="180181"/>
          </a:xfrm>
        </p:spPr>
        <p:txBody>
          <a:bodyPr wrap="none" bIns="18000" anchor="b"/>
          <a:lstStyle>
            <a:lvl1pPr marL="0" indent="0">
              <a:lnSpc>
                <a:spcPct val="100000"/>
              </a:lnSpc>
              <a:spcBef>
                <a:spcPts val="0"/>
              </a:spcBef>
              <a:spcAft>
                <a:spcPts val="0"/>
              </a:spcAft>
              <a:buFont typeface="Arial" panose="020B0604020202020204" pitchFamily="34" charset="0"/>
              <a:buNone/>
              <a:defRPr sz="1000" b="0" cap="all" baseline="0">
                <a:solidFill>
                  <a:schemeClr val="accent4"/>
                </a:solidFill>
              </a:defRPr>
            </a:lvl1pPr>
            <a:lvl2pPr marL="0" indent="0">
              <a:lnSpc>
                <a:spcPct val="100000"/>
              </a:lnSpc>
              <a:spcBef>
                <a:spcPts val="0"/>
              </a:spcBef>
              <a:spcAft>
                <a:spcPts val="0"/>
              </a:spcAft>
              <a:buNone/>
              <a:defRPr sz="1000" b="1" cap="all">
                <a:solidFill>
                  <a:schemeClr val="accent4"/>
                </a:solidFill>
              </a:defRPr>
            </a:lvl2pPr>
            <a:lvl3pPr marL="0" indent="0">
              <a:lnSpc>
                <a:spcPct val="100000"/>
              </a:lnSpc>
              <a:spcBef>
                <a:spcPts val="0"/>
              </a:spcBef>
              <a:spcAft>
                <a:spcPts val="0"/>
              </a:spcAft>
              <a:buNone/>
              <a:defRPr sz="1000" b="1" cap="all">
                <a:solidFill>
                  <a:schemeClr val="accent4"/>
                </a:solidFill>
              </a:defRPr>
            </a:lvl3pPr>
            <a:lvl4pPr marL="0" indent="0">
              <a:lnSpc>
                <a:spcPct val="100000"/>
              </a:lnSpc>
              <a:spcBef>
                <a:spcPts val="0"/>
              </a:spcBef>
              <a:spcAft>
                <a:spcPts val="0"/>
              </a:spcAft>
              <a:buFont typeface="Arial" panose="020B0604020202020204" pitchFamily="34" charset="0"/>
              <a:buNone/>
              <a:defRPr sz="1000" b="1" cap="all">
                <a:solidFill>
                  <a:schemeClr val="accent4"/>
                </a:solidFill>
              </a:defRPr>
            </a:lvl4pPr>
            <a:lvl5pPr marL="0" indent="0">
              <a:lnSpc>
                <a:spcPct val="100000"/>
              </a:lnSpc>
              <a:spcBef>
                <a:spcPts val="0"/>
              </a:spcBef>
              <a:spcAft>
                <a:spcPts val="0"/>
              </a:spcAft>
              <a:buFont typeface="Arial" panose="020B0604020202020204" pitchFamily="34" charset="0"/>
              <a:buNone/>
              <a:defRPr sz="1000" b="1" cap="all">
                <a:solidFill>
                  <a:schemeClr val="accent4"/>
                </a:solidFill>
              </a:defRPr>
            </a:lvl5pPr>
            <a:lvl6pPr marL="0" indent="0">
              <a:lnSpc>
                <a:spcPct val="100000"/>
              </a:lnSpc>
              <a:spcBef>
                <a:spcPts val="0"/>
              </a:spcBef>
              <a:spcAft>
                <a:spcPts val="0"/>
              </a:spcAft>
              <a:buFont typeface="Arial" panose="020B0604020202020204" pitchFamily="34" charset="0"/>
              <a:buNone/>
              <a:defRPr sz="1000" b="1" cap="all">
                <a:solidFill>
                  <a:schemeClr val="accent4"/>
                </a:solidFill>
              </a:defRPr>
            </a:lvl6pPr>
            <a:lvl7pPr marL="0" indent="0">
              <a:lnSpc>
                <a:spcPct val="100000"/>
              </a:lnSpc>
              <a:spcBef>
                <a:spcPts val="0"/>
              </a:spcBef>
              <a:spcAft>
                <a:spcPts val="0"/>
              </a:spcAft>
              <a:buFont typeface="Arial" panose="020B0604020202020204" pitchFamily="34" charset="0"/>
              <a:buNone/>
              <a:defRPr sz="1000" b="1" cap="all">
                <a:solidFill>
                  <a:schemeClr val="accent4"/>
                </a:solidFill>
              </a:defRPr>
            </a:lvl7pPr>
            <a:lvl8pPr marL="0" indent="0">
              <a:lnSpc>
                <a:spcPct val="100000"/>
              </a:lnSpc>
              <a:spcBef>
                <a:spcPts val="0"/>
              </a:spcBef>
              <a:spcAft>
                <a:spcPts val="0"/>
              </a:spcAft>
              <a:buFont typeface="Arial" panose="020B0604020202020204" pitchFamily="34" charset="0"/>
              <a:buNone/>
              <a:defRPr sz="1000" b="1" cap="all">
                <a:solidFill>
                  <a:schemeClr val="accent4"/>
                </a:solidFill>
              </a:defRPr>
            </a:lvl8pPr>
            <a:lvl9pPr marL="0" indent="0">
              <a:lnSpc>
                <a:spcPct val="100000"/>
              </a:lnSpc>
              <a:spcBef>
                <a:spcPts val="0"/>
              </a:spcBef>
              <a:spcAft>
                <a:spcPts val="0"/>
              </a:spcAft>
              <a:buFont typeface="Arial" panose="020B0604020202020204" pitchFamily="34" charset="0"/>
              <a:buNone/>
              <a:defRPr sz="1000" b="1" cap="all">
                <a:solidFill>
                  <a:schemeClr val="accent4"/>
                </a:solidFill>
              </a:defRPr>
            </a:lvl9pPr>
          </a:lstStyle>
          <a:p>
            <a:pPr lvl="0"/>
            <a:r>
              <a:rPr lang="de-DE" noProof="0" dirty="0"/>
              <a:t>Kapitelüberschrift (OPTIONAL)</a:t>
            </a:r>
          </a:p>
        </p:txBody>
      </p:sp>
      <p:sp>
        <p:nvSpPr>
          <p:cNvPr id="3" name="Titel 2"/>
          <p:cNvSpPr>
            <a:spLocks noGrp="1"/>
          </p:cNvSpPr>
          <p:nvPr>
            <p:ph type="title"/>
          </p:nvPr>
        </p:nvSpPr>
        <p:spPr/>
        <p:txBody>
          <a:bodyPr/>
          <a:lstStyle/>
          <a:p>
            <a:r>
              <a:rPr lang="de-DE"/>
              <a:t>Titelmasterformat durch Klicken bearbeiten</a:t>
            </a:r>
            <a:endParaRPr lang="en-US" dirty="0"/>
          </a:p>
        </p:txBody>
      </p:sp>
      <p:sp>
        <p:nvSpPr>
          <p:cNvPr id="9"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1" name="Datumsplatzhalter 10"/>
          <p:cNvSpPr>
            <a:spLocks noGrp="1"/>
          </p:cNvSpPr>
          <p:nvPr>
            <p:ph type="dt" sz="half" idx="29"/>
          </p:nvPr>
        </p:nvSpPr>
        <p:spPr/>
        <p:txBody>
          <a:bodyPr/>
          <a:lstStyle/>
          <a:p>
            <a:endParaRPr lang="cs-CZ" dirty="0"/>
          </a:p>
        </p:txBody>
      </p:sp>
      <p:sp>
        <p:nvSpPr>
          <p:cNvPr id="13" name="Fußzeilenplatzhalter 12"/>
          <p:cNvSpPr>
            <a:spLocks noGrp="1"/>
          </p:cNvSpPr>
          <p:nvPr>
            <p:ph type="ftr" sz="quarter" idx="30"/>
          </p:nvPr>
        </p:nvSpPr>
        <p:spPr/>
        <p:txBody>
          <a:bodyPr/>
          <a:lstStyle/>
          <a:p>
            <a:endParaRPr lang="cs-CZ" noProof="0" dirty="0"/>
          </a:p>
        </p:txBody>
      </p:sp>
      <p:sp>
        <p:nvSpPr>
          <p:cNvPr id="14" name="Foliennummernplatzhalter 13"/>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1327961246"/>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bwMode="gray">
          <a:xfrm>
            <a:off x="395289" y="1131889"/>
            <a:ext cx="8353424" cy="3456085"/>
          </a:xfrm>
        </p:spPr>
        <p:txBody>
          <a:bodyPr/>
          <a:lstStyle>
            <a:lvl1pPr>
              <a:defRPr/>
            </a:lvl1pPr>
            <a:lvl9pPr>
              <a:defRPr>
                <a:solidFill>
                  <a:schemeClr val="tx2"/>
                </a:solidFill>
              </a:defRPr>
            </a:lvl9pPr>
          </a:lstStyle>
          <a:p>
            <a:pPr lvl="0"/>
            <a:r>
              <a:rPr lang="de-DE" noProof="0" dirty="0"/>
              <a:t>Schreibe hier deinen Text.</a:t>
            </a:r>
          </a:p>
        </p:txBody>
      </p:sp>
      <p:sp>
        <p:nvSpPr>
          <p:cNvPr id="12" name="Text Placeholder 4"/>
          <p:cNvSpPr>
            <a:spLocks noGrp="1"/>
          </p:cNvSpPr>
          <p:nvPr>
            <p:ph type="body" sz="quarter" idx="20" hasCustomPrompt="1"/>
          </p:nvPr>
        </p:nvSpPr>
        <p:spPr bwMode="gray">
          <a:xfrm>
            <a:off x="395287" y="267494"/>
            <a:ext cx="8350079" cy="180181"/>
          </a:xfrm>
        </p:spPr>
        <p:txBody>
          <a:bodyPr wrap="none" bIns="18000" anchor="b"/>
          <a:lstStyle>
            <a:lvl1pPr marL="0" indent="0">
              <a:lnSpc>
                <a:spcPct val="100000"/>
              </a:lnSpc>
              <a:spcBef>
                <a:spcPts val="0"/>
              </a:spcBef>
              <a:spcAft>
                <a:spcPts val="0"/>
              </a:spcAft>
              <a:buFont typeface="Arial" panose="020B0604020202020204" pitchFamily="34" charset="0"/>
              <a:buNone/>
              <a:defRPr sz="1000" b="0" cap="all" baseline="0">
                <a:solidFill>
                  <a:schemeClr val="accent4"/>
                </a:solidFill>
              </a:defRPr>
            </a:lvl1pPr>
            <a:lvl2pPr marL="0" indent="0">
              <a:lnSpc>
                <a:spcPct val="100000"/>
              </a:lnSpc>
              <a:spcBef>
                <a:spcPts val="0"/>
              </a:spcBef>
              <a:spcAft>
                <a:spcPts val="0"/>
              </a:spcAft>
              <a:buNone/>
              <a:defRPr sz="1000" b="1" cap="all">
                <a:solidFill>
                  <a:schemeClr val="accent4"/>
                </a:solidFill>
              </a:defRPr>
            </a:lvl2pPr>
            <a:lvl3pPr marL="0" indent="0">
              <a:lnSpc>
                <a:spcPct val="100000"/>
              </a:lnSpc>
              <a:spcBef>
                <a:spcPts val="0"/>
              </a:spcBef>
              <a:spcAft>
                <a:spcPts val="0"/>
              </a:spcAft>
              <a:buNone/>
              <a:defRPr sz="1000" b="1" cap="all">
                <a:solidFill>
                  <a:schemeClr val="accent4"/>
                </a:solidFill>
              </a:defRPr>
            </a:lvl3pPr>
            <a:lvl4pPr marL="0" indent="0">
              <a:lnSpc>
                <a:spcPct val="100000"/>
              </a:lnSpc>
              <a:spcBef>
                <a:spcPts val="0"/>
              </a:spcBef>
              <a:spcAft>
                <a:spcPts val="0"/>
              </a:spcAft>
              <a:buFont typeface="Arial" panose="020B0604020202020204" pitchFamily="34" charset="0"/>
              <a:buNone/>
              <a:defRPr sz="1000" b="1" cap="all">
                <a:solidFill>
                  <a:schemeClr val="accent4"/>
                </a:solidFill>
              </a:defRPr>
            </a:lvl4pPr>
            <a:lvl5pPr marL="0" indent="0">
              <a:lnSpc>
                <a:spcPct val="100000"/>
              </a:lnSpc>
              <a:spcBef>
                <a:spcPts val="0"/>
              </a:spcBef>
              <a:spcAft>
                <a:spcPts val="0"/>
              </a:spcAft>
              <a:buFont typeface="Arial" panose="020B0604020202020204" pitchFamily="34" charset="0"/>
              <a:buNone/>
              <a:defRPr sz="1000" b="1" cap="all">
                <a:solidFill>
                  <a:schemeClr val="accent4"/>
                </a:solidFill>
              </a:defRPr>
            </a:lvl5pPr>
            <a:lvl6pPr marL="0" indent="0">
              <a:lnSpc>
                <a:spcPct val="100000"/>
              </a:lnSpc>
              <a:spcBef>
                <a:spcPts val="0"/>
              </a:spcBef>
              <a:spcAft>
                <a:spcPts val="0"/>
              </a:spcAft>
              <a:buFont typeface="Arial" panose="020B0604020202020204" pitchFamily="34" charset="0"/>
              <a:buNone/>
              <a:defRPr sz="1000" b="1" cap="all">
                <a:solidFill>
                  <a:schemeClr val="accent4"/>
                </a:solidFill>
              </a:defRPr>
            </a:lvl6pPr>
            <a:lvl7pPr marL="0" indent="0">
              <a:lnSpc>
                <a:spcPct val="100000"/>
              </a:lnSpc>
              <a:spcBef>
                <a:spcPts val="0"/>
              </a:spcBef>
              <a:spcAft>
                <a:spcPts val="0"/>
              </a:spcAft>
              <a:buFont typeface="Arial" panose="020B0604020202020204" pitchFamily="34" charset="0"/>
              <a:buNone/>
              <a:defRPr sz="1000" b="1" cap="all">
                <a:solidFill>
                  <a:schemeClr val="accent4"/>
                </a:solidFill>
              </a:defRPr>
            </a:lvl7pPr>
            <a:lvl8pPr marL="0" indent="0">
              <a:lnSpc>
                <a:spcPct val="100000"/>
              </a:lnSpc>
              <a:spcBef>
                <a:spcPts val="0"/>
              </a:spcBef>
              <a:spcAft>
                <a:spcPts val="0"/>
              </a:spcAft>
              <a:buFont typeface="Arial" panose="020B0604020202020204" pitchFamily="34" charset="0"/>
              <a:buNone/>
              <a:defRPr sz="1000" b="1" cap="all">
                <a:solidFill>
                  <a:schemeClr val="accent4"/>
                </a:solidFill>
              </a:defRPr>
            </a:lvl8pPr>
            <a:lvl9pPr marL="0" indent="0">
              <a:lnSpc>
                <a:spcPct val="100000"/>
              </a:lnSpc>
              <a:spcBef>
                <a:spcPts val="0"/>
              </a:spcBef>
              <a:spcAft>
                <a:spcPts val="0"/>
              </a:spcAft>
              <a:buFont typeface="Arial" panose="020B0604020202020204" pitchFamily="34" charset="0"/>
              <a:buNone/>
              <a:defRPr sz="1000" b="1" cap="all">
                <a:solidFill>
                  <a:schemeClr val="accent4"/>
                </a:solidFill>
              </a:defRPr>
            </a:lvl9pPr>
          </a:lstStyle>
          <a:p>
            <a:pPr lvl="0"/>
            <a:r>
              <a:rPr lang="de-DE" noProof="0" dirty="0"/>
              <a:t>Kapitelüberschrift (OPTIONAL)</a:t>
            </a:r>
          </a:p>
        </p:txBody>
      </p:sp>
      <p:sp>
        <p:nvSpPr>
          <p:cNvPr id="3" name="Titel 2"/>
          <p:cNvSpPr>
            <a:spLocks noGrp="1"/>
          </p:cNvSpPr>
          <p:nvPr>
            <p:ph type="title"/>
          </p:nvPr>
        </p:nvSpPr>
        <p:spPr/>
        <p:txBody>
          <a:bodyPr/>
          <a:lstStyle/>
          <a:p>
            <a:r>
              <a:rPr lang="de-DE"/>
              <a:t>Titelmasterformat durch Klicken bearbeiten</a:t>
            </a:r>
            <a:endParaRPr lang="en-US" dirty="0"/>
          </a:p>
        </p:txBody>
      </p:sp>
      <p:sp>
        <p:nvSpPr>
          <p:cNvPr id="9"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1" name="Datumsplatzhalter 10"/>
          <p:cNvSpPr>
            <a:spLocks noGrp="1"/>
          </p:cNvSpPr>
          <p:nvPr>
            <p:ph type="dt" sz="half" idx="29"/>
          </p:nvPr>
        </p:nvSpPr>
        <p:spPr/>
        <p:txBody>
          <a:bodyPr/>
          <a:lstStyle/>
          <a:p>
            <a:endParaRPr lang="cs-CZ" dirty="0"/>
          </a:p>
        </p:txBody>
      </p:sp>
      <p:sp>
        <p:nvSpPr>
          <p:cNvPr id="13" name="Fußzeilenplatzhalter 12"/>
          <p:cNvSpPr>
            <a:spLocks noGrp="1"/>
          </p:cNvSpPr>
          <p:nvPr>
            <p:ph type="ftr" sz="quarter" idx="30"/>
          </p:nvPr>
        </p:nvSpPr>
        <p:spPr/>
        <p:txBody>
          <a:bodyPr/>
          <a:lstStyle/>
          <a:p>
            <a:endParaRPr lang="cs-CZ" noProof="0" dirty="0"/>
          </a:p>
        </p:txBody>
      </p:sp>
      <p:sp>
        <p:nvSpPr>
          <p:cNvPr id="14" name="Foliennummernplatzhalter 13"/>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1327961246"/>
      </p:ext>
    </p:extLst>
  </p:cSld>
  <p:clrMapOvr>
    <a:masterClrMapping/>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 x tex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bwMode="gray">
          <a:xfrm>
            <a:off x="395288" y="1131889"/>
            <a:ext cx="4104712" cy="3456085"/>
          </a:xfrm>
        </p:spPr>
        <p:txBody>
          <a:bodyPr/>
          <a:lstStyle/>
          <a:p>
            <a:pPr lvl="0"/>
            <a:r>
              <a:rPr lang="de-DE" noProof="0" dirty="0"/>
              <a:t>Schreibe hier deinen Text.</a:t>
            </a:r>
          </a:p>
        </p:txBody>
      </p:sp>
      <p:sp>
        <p:nvSpPr>
          <p:cNvPr id="7" name="Text Placeholder 7"/>
          <p:cNvSpPr>
            <a:spLocks noGrp="1"/>
          </p:cNvSpPr>
          <p:nvPr>
            <p:ph type="body" sz="quarter" idx="17" hasCustomPrompt="1"/>
          </p:nvPr>
        </p:nvSpPr>
        <p:spPr bwMode="gray">
          <a:xfrm>
            <a:off x="4644000" y="1131889"/>
            <a:ext cx="4104712" cy="3456085"/>
          </a:xfrm>
        </p:spPr>
        <p:txBody>
          <a:bodyPr lIns="0"/>
          <a:lstStyle/>
          <a:p>
            <a:pPr lvl="0"/>
            <a:r>
              <a:rPr lang="de-DE" noProof="0" dirty="0"/>
              <a:t>Schreibe hier deinen Text.</a:t>
            </a:r>
          </a:p>
        </p:txBody>
      </p:sp>
      <p:sp>
        <p:nvSpPr>
          <p:cNvPr id="3" name="Titel 2"/>
          <p:cNvSpPr>
            <a:spLocks noGrp="1"/>
          </p:cNvSpPr>
          <p:nvPr>
            <p:ph type="title"/>
          </p:nvPr>
        </p:nvSpPr>
        <p:spPr/>
        <p:txBody>
          <a:bodyPr/>
          <a:lstStyle/>
          <a:p>
            <a:r>
              <a:rPr lang="de-DE"/>
              <a:t>Titelmasterformat durch Klicken bearbeiten</a:t>
            </a:r>
            <a:endParaRPr lang="en-US" dirty="0"/>
          </a:p>
        </p:txBody>
      </p:sp>
      <p:sp>
        <p:nvSpPr>
          <p:cNvPr id="10"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3"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2" name="Datumsplatzhalter 11"/>
          <p:cNvSpPr>
            <a:spLocks noGrp="1"/>
          </p:cNvSpPr>
          <p:nvPr>
            <p:ph type="dt" sz="half" idx="29"/>
          </p:nvPr>
        </p:nvSpPr>
        <p:spPr/>
        <p:txBody>
          <a:bodyPr/>
          <a:lstStyle/>
          <a:p>
            <a:endParaRPr lang="cs-CZ" dirty="0"/>
          </a:p>
        </p:txBody>
      </p:sp>
      <p:sp>
        <p:nvSpPr>
          <p:cNvPr id="14" name="Fußzeilenplatzhalter 13"/>
          <p:cNvSpPr>
            <a:spLocks noGrp="1"/>
          </p:cNvSpPr>
          <p:nvPr>
            <p:ph type="ftr" sz="quarter" idx="30"/>
          </p:nvPr>
        </p:nvSpPr>
        <p:spPr/>
        <p:txBody>
          <a:bodyPr/>
          <a:lstStyle/>
          <a:p>
            <a:endParaRPr lang="cs-CZ" noProof="0" dirty="0"/>
          </a:p>
        </p:txBody>
      </p:sp>
      <p:sp>
        <p:nvSpPr>
          <p:cNvPr id="15" name="Foliennummernplatzhalter 14"/>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302282285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4 x tex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bwMode="gray">
          <a:xfrm>
            <a:off x="395288" y="1131889"/>
            <a:ext cx="1980355" cy="3456085"/>
          </a:xfrm>
        </p:spPr>
        <p:txBody>
          <a:bodyPr/>
          <a:lstStyle/>
          <a:p>
            <a:pPr lvl="0"/>
            <a:r>
              <a:rPr lang="de-DE" noProof="0" dirty="0"/>
              <a:t>Schreibe hier deinen Text.</a:t>
            </a:r>
          </a:p>
        </p:txBody>
      </p:sp>
      <p:sp>
        <p:nvSpPr>
          <p:cNvPr id="7" name="Text Placeholder 7"/>
          <p:cNvSpPr>
            <a:spLocks noGrp="1"/>
          </p:cNvSpPr>
          <p:nvPr>
            <p:ph type="body" sz="quarter" idx="17" hasCustomPrompt="1"/>
          </p:nvPr>
        </p:nvSpPr>
        <p:spPr bwMode="gray">
          <a:xfrm>
            <a:off x="2519644" y="1131889"/>
            <a:ext cx="1979860" cy="3456085"/>
          </a:xfrm>
        </p:spPr>
        <p:txBody>
          <a:bodyPr/>
          <a:lstStyle/>
          <a:p>
            <a:pPr lvl="0"/>
            <a:r>
              <a:rPr lang="de-DE" noProof="0" dirty="0"/>
              <a:t>Schreibe hier deinen Text.</a:t>
            </a:r>
          </a:p>
        </p:txBody>
      </p:sp>
      <p:sp>
        <p:nvSpPr>
          <p:cNvPr id="12" name="Text Placeholder 7"/>
          <p:cNvSpPr>
            <a:spLocks noGrp="1"/>
          </p:cNvSpPr>
          <p:nvPr>
            <p:ph type="body" sz="quarter" idx="21" hasCustomPrompt="1"/>
          </p:nvPr>
        </p:nvSpPr>
        <p:spPr bwMode="gray">
          <a:xfrm>
            <a:off x="4644496" y="1131889"/>
            <a:ext cx="1979860" cy="3456085"/>
          </a:xfrm>
        </p:spPr>
        <p:txBody>
          <a:bodyPr/>
          <a:lstStyle/>
          <a:p>
            <a:pPr lvl="0"/>
            <a:r>
              <a:rPr lang="de-DE" noProof="0" dirty="0"/>
              <a:t>Schreibe hier deinen Text.</a:t>
            </a:r>
          </a:p>
        </p:txBody>
      </p:sp>
      <p:sp>
        <p:nvSpPr>
          <p:cNvPr id="13" name="Text Placeholder 7"/>
          <p:cNvSpPr>
            <a:spLocks noGrp="1"/>
          </p:cNvSpPr>
          <p:nvPr>
            <p:ph type="body" sz="quarter" idx="22" hasCustomPrompt="1"/>
          </p:nvPr>
        </p:nvSpPr>
        <p:spPr bwMode="gray">
          <a:xfrm>
            <a:off x="6768355" y="1131889"/>
            <a:ext cx="1977011" cy="3456085"/>
          </a:xfrm>
        </p:spPr>
        <p:txBody>
          <a:bodyPr/>
          <a:lstStyle/>
          <a:p>
            <a:pPr lvl="0"/>
            <a:r>
              <a:rPr lang="de-DE" noProof="0" dirty="0"/>
              <a:t>Schreibe hier deinen Text.</a:t>
            </a:r>
          </a:p>
        </p:txBody>
      </p:sp>
      <p:sp>
        <p:nvSpPr>
          <p:cNvPr id="4" name="Titel 3"/>
          <p:cNvSpPr>
            <a:spLocks noGrp="1"/>
          </p:cNvSpPr>
          <p:nvPr>
            <p:ph type="title"/>
          </p:nvPr>
        </p:nvSpPr>
        <p:spPr/>
        <p:txBody>
          <a:bodyPr/>
          <a:lstStyle/>
          <a:p>
            <a:r>
              <a:rPr lang="de-DE"/>
              <a:t>Titelmasterformat durch Klicken bearbeiten</a:t>
            </a:r>
            <a:endParaRPr lang="en-US"/>
          </a:p>
        </p:txBody>
      </p:sp>
      <p:sp>
        <p:nvSpPr>
          <p:cNvPr id="18"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5"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1" name="Datumsplatzhalter 10"/>
          <p:cNvSpPr>
            <a:spLocks noGrp="1"/>
          </p:cNvSpPr>
          <p:nvPr>
            <p:ph type="dt" sz="half" idx="29"/>
          </p:nvPr>
        </p:nvSpPr>
        <p:spPr/>
        <p:txBody>
          <a:bodyPr/>
          <a:lstStyle/>
          <a:p>
            <a:endParaRPr lang="cs-CZ" dirty="0"/>
          </a:p>
        </p:txBody>
      </p:sp>
      <p:sp>
        <p:nvSpPr>
          <p:cNvPr id="14" name="Fußzeilenplatzhalter 13"/>
          <p:cNvSpPr>
            <a:spLocks noGrp="1"/>
          </p:cNvSpPr>
          <p:nvPr>
            <p:ph type="ftr" sz="quarter" idx="30"/>
          </p:nvPr>
        </p:nvSpPr>
        <p:spPr/>
        <p:txBody>
          <a:bodyPr/>
          <a:lstStyle/>
          <a:p>
            <a:endParaRPr lang="cs-CZ" noProof="0" dirty="0"/>
          </a:p>
        </p:txBody>
      </p:sp>
      <p:sp>
        <p:nvSpPr>
          <p:cNvPr id="16" name="Foliennummernplatzhalter 15"/>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420778481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xt + image">
    <p:spTree>
      <p:nvGrpSpPr>
        <p:cNvPr id="1" name=""/>
        <p:cNvGrpSpPr/>
        <p:nvPr/>
      </p:nvGrpSpPr>
      <p:grpSpPr>
        <a:xfrm>
          <a:off x="0" y="0"/>
          <a:ext cx="0" cy="0"/>
          <a:chOff x="0" y="0"/>
          <a:chExt cx="0" cy="0"/>
        </a:xfrm>
      </p:grpSpPr>
      <p:sp>
        <p:nvSpPr>
          <p:cNvPr id="7" name="Picture Placeholder 3"/>
          <p:cNvSpPr>
            <a:spLocks noGrp="1"/>
          </p:cNvSpPr>
          <p:nvPr>
            <p:ph type="pic" sz="quarter" idx="18" hasCustomPrompt="1"/>
          </p:nvPr>
        </p:nvSpPr>
        <p:spPr bwMode="gray">
          <a:xfrm>
            <a:off x="395286" y="1131889"/>
            <a:ext cx="5794920" cy="3456085"/>
          </a:xfrm>
          <a:solidFill>
            <a:schemeClr val="accent3"/>
          </a:solidFill>
        </p:spPr>
        <p:txBody>
          <a:bodyPr anchor="ctr"/>
          <a:lstStyle>
            <a:lvl1pPr algn="ctr">
              <a:defRPr>
                <a:solidFill>
                  <a:schemeClr val="tx1"/>
                </a:solidFill>
              </a:defRPr>
            </a:lvl1pPr>
          </a:lstStyle>
          <a:p>
            <a:r>
              <a:rPr lang="de-DE" noProof="0" dirty="0"/>
              <a:t>Klicke auf das Icon, um ein Bild einzufügen</a:t>
            </a:r>
            <a:br>
              <a:rPr lang="de-DE" noProof="0" dirty="0"/>
            </a:br>
            <a:endParaRPr lang="de-DE" noProof="0" dirty="0"/>
          </a:p>
        </p:txBody>
      </p:sp>
      <p:sp>
        <p:nvSpPr>
          <p:cNvPr id="8" name="Text Placeholder 7"/>
          <p:cNvSpPr>
            <a:spLocks noGrp="1"/>
          </p:cNvSpPr>
          <p:nvPr>
            <p:ph type="body" sz="quarter" idx="13" hasCustomPrompt="1"/>
          </p:nvPr>
        </p:nvSpPr>
        <p:spPr bwMode="gray">
          <a:xfrm>
            <a:off x="6334206" y="1131889"/>
            <a:ext cx="2411161" cy="3456085"/>
          </a:xfrm>
        </p:spPr>
        <p:txBody>
          <a:bodyPr lIns="0"/>
          <a:lstStyle/>
          <a:p>
            <a:pPr lvl="0"/>
            <a:r>
              <a:rPr lang="de-DE" noProof="0" dirty="0"/>
              <a:t>Schreibe hier deinen Text.</a:t>
            </a:r>
          </a:p>
        </p:txBody>
      </p:sp>
      <p:sp>
        <p:nvSpPr>
          <p:cNvPr id="3" name="Titel 2"/>
          <p:cNvSpPr>
            <a:spLocks noGrp="1"/>
          </p:cNvSpPr>
          <p:nvPr>
            <p:ph type="title"/>
          </p:nvPr>
        </p:nvSpPr>
        <p:spPr/>
        <p:txBody>
          <a:bodyPr/>
          <a:lstStyle/>
          <a:p>
            <a:r>
              <a:rPr lang="de-DE"/>
              <a:t>Titelmasterformat durch Klicken bearbeiten</a:t>
            </a:r>
            <a:endParaRPr lang="en-US"/>
          </a:p>
        </p:txBody>
      </p:sp>
      <p:sp>
        <p:nvSpPr>
          <p:cNvPr id="10"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2"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3" name="Datumsplatzhalter 12"/>
          <p:cNvSpPr>
            <a:spLocks noGrp="1"/>
          </p:cNvSpPr>
          <p:nvPr>
            <p:ph type="dt" sz="half" idx="29"/>
          </p:nvPr>
        </p:nvSpPr>
        <p:spPr/>
        <p:txBody>
          <a:bodyPr/>
          <a:lstStyle/>
          <a:p>
            <a:endParaRPr lang="cs-CZ" dirty="0"/>
          </a:p>
        </p:txBody>
      </p:sp>
      <p:sp>
        <p:nvSpPr>
          <p:cNvPr id="14" name="Fußzeilenplatzhalter 13"/>
          <p:cNvSpPr>
            <a:spLocks noGrp="1"/>
          </p:cNvSpPr>
          <p:nvPr>
            <p:ph type="ftr" sz="quarter" idx="30"/>
          </p:nvPr>
        </p:nvSpPr>
        <p:spPr/>
        <p:txBody>
          <a:bodyPr/>
          <a:lstStyle/>
          <a:p>
            <a:endParaRPr lang="cs-CZ" noProof="0" dirty="0"/>
          </a:p>
        </p:txBody>
      </p:sp>
      <p:sp>
        <p:nvSpPr>
          <p:cNvPr id="15" name="Foliennummernplatzhalter 14"/>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222378836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 x images">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bwMode="gray">
          <a:xfrm>
            <a:off x="395288" y="1131889"/>
            <a:ext cx="4104712" cy="2323603"/>
          </a:xfrm>
          <a:solidFill>
            <a:schemeClr val="accent3"/>
          </a:solidFill>
        </p:spPr>
        <p:txBody>
          <a:bodyPr anchor="ctr"/>
          <a:lstStyle>
            <a:lvl1pPr algn="ctr">
              <a:defRPr>
                <a:solidFill>
                  <a:schemeClr val="tx1"/>
                </a:solidFill>
              </a:defRPr>
            </a:lvl1pPr>
          </a:lstStyle>
          <a:p>
            <a:r>
              <a:rPr lang="de-DE" noProof="0" dirty="0"/>
              <a:t>Klicke auf das Icon, um ein Bild einzufügen</a:t>
            </a:r>
            <a:br>
              <a:rPr lang="de-DE" noProof="0" dirty="0"/>
            </a:br>
            <a:endParaRPr lang="de-DE" noProof="0" dirty="0"/>
          </a:p>
        </p:txBody>
      </p:sp>
      <p:sp>
        <p:nvSpPr>
          <p:cNvPr id="7" name="Picture Placeholder 3"/>
          <p:cNvSpPr>
            <a:spLocks noGrp="1"/>
          </p:cNvSpPr>
          <p:nvPr>
            <p:ph type="pic" sz="quarter" idx="18" hasCustomPrompt="1"/>
          </p:nvPr>
        </p:nvSpPr>
        <p:spPr bwMode="gray">
          <a:xfrm>
            <a:off x="4644000" y="1131889"/>
            <a:ext cx="4104712" cy="2323603"/>
          </a:xfrm>
          <a:solidFill>
            <a:schemeClr val="accent3"/>
          </a:solidFill>
        </p:spPr>
        <p:txBody>
          <a:bodyPr anchor="ctr"/>
          <a:lstStyle>
            <a:lvl1pPr algn="ctr">
              <a:defRPr>
                <a:solidFill>
                  <a:schemeClr val="tx1"/>
                </a:solidFill>
              </a:defRPr>
            </a:lvl1pPr>
          </a:lstStyle>
          <a:p>
            <a:r>
              <a:rPr lang="de-DE" noProof="0" dirty="0"/>
              <a:t>Klicke auf das Icon, um ein Bild einzufügen</a:t>
            </a:r>
            <a:br>
              <a:rPr lang="de-DE" noProof="0" dirty="0"/>
            </a:br>
            <a:endParaRPr lang="de-DE" noProof="0" dirty="0"/>
          </a:p>
        </p:txBody>
      </p:sp>
      <p:sp>
        <p:nvSpPr>
          <p:cNvPr id="3" name="Titel 2"/>
          <p:cNvSpPr>
            <a:spLocks noGrp="1"/>
          </p:cNvSpPr>
          <p:nvPr>
            <p:ph type="title"/>
          </p:nvPr>
        </p:nvSpPr>
        <p:spPr/>
        <p:txBody>
          <a:bodyPr/>
          <a:lstStyle/>
          <a:p>
            <a:r>
              <a:rPr lang="de-DE"/>
              <a:t>Titelmasterformat durch Klicken bearbeiten</a:t>
            </a:r>
            <a:endParaRPr lang="en-US"/>
          </a:p>
        </p:txBody>
      </p:sp>
      <p:sp>
        <p:nvSpPr>
          <p:cNvPr id="13"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4" name="Text Placeholder 7"/>
          <p:cNvSpPr>
            <a:spLocks noGrp="1"/>
          </p:cNvSpPr>
          <p:nvPr>
            <p:ph type="body" sz="quarter" idx="13" hasCustomPrompt="1"/>
          </p:nvPr>
        </p:nvSpPr>
        <p:spPr bwMode="gray">
          <a:xfrm>
            <a:off x="395287" y="3455492"/>
            <a:ext cx="4104713" cy="1132482"/>
          </a:xfrm>
        </p:spPr>
        <p:txBody>
          <a:bodyPr lIns="0" tIns="144000"/>
          <a:lstStyle/>
          <a:p>
            <a:pPr lvl="0"/>
            <a:r>
              <a:rPr lang="de-DE" noProof="0" dirty="0"/>
              <a:t>Schreibe hier deinen Text.</a:t>
            </a:r>
          </a:p>
        </p:txBody>
      </p:sp>
      <p:sp>
        <p:nvSpPr>
          <p:cNvPr id="15" name="Text Placeholder 7"/>
          <p:cNvSpPr>
            <a:spLocks noGrp="1"/>
          </p:cNvSpPr>
          <p:nvPr>
            <p:ph type="body" sz="quarter" idx="28" hasCustomPrompt="1"/>
          </p:nvPr>
        </p:nvSpPr>
        <p:spPr bwMode="gray">
          <a:xfrm>
            <a:off x="4643999" y="3455492"/>
            <a:ext cx="4104713" cy="1132482"/>
          </a:xfrm>
        </p:spPr>
        <p:txBody>
          <a:bodyPr lIns="0" tIns="144000"/>
          <a:lstStyle/>
          <a:p>
            <a:pPr lvl="0"/>
            <a:r>
              <a:rPr lang="de-DE" noProof="0" dirty="0"/>
              <a:t>Schreibe hier deinen Text.</a:t>
            </a:r>
          </a:p>
        </p:txBody>
      </p:sp>
      <p:sp>
        <p:nvSpPr>
          <p:cNvPr id="16" name="Textplatzhalter 4"/>
          <p:cNvSpPr>
            <a:spLocks noGrp="1"/>
          </p:cNvSpPr>
          <p:nvPr>
            <p:ph type="body" sz="quarter" idx="33"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2" name="Datumsplatzhalter 11"/>
          <p:cNvSpPr>
            <a:spLocks noGrp="1"/>
          </p:cNvSpPr>
          <p:nvPr>
            <p:ph type="dt" sz="half" idx="34"/>
          </p:nvPr>
        </p:nvSpPr>
        <p:spPr/>
        <p:txBody>
          <a:bodyPr/>
          <a:lstStyle/>
          <a:p>
            <a:endParaRPr lang="cs-CZ" dirty="0"/>
          </a:p>
        </p:txBody>
      </p:sp>
      <p:sp>
        <p:nvSpPr>
          <p:cNvPr id="17" name="Fußzeilenplatzhalter 16"/>
          <p:cNvSpPr>
            <a:spLocks noGrp="1"/>
          </p:cNvSpPr>
          <p:nvPr>
            <p:ph type="ftr" sz="quarter" idx="35"/>
          </p:nvPr>
        </p:nvSpPr>
        <p:spPr/>
        <p:txBody>
          <a:bodyPr/>
          <a:lstStyle/>
          <a:p>
            <a:endParaRPr lang="cs-CZ" noProof="0" dirty="0"/>
          </a:p>
        </p:txBody>
      </p:sp>
      <p:sp>
        <p:nvSpPr>
          <p:cNvPr id="18" name="Foliennummernplatzhalter 17"/>
          <p:cNvSpPr>
            <a:spLocks noGrp="1"/>
          </p:cNvSpPr>
          <p:nvPr>
            <p:ph type="sldNum" sz="quarter" idx="36"/>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374752205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Image fullsiz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556921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249" name="think-cell Folie" r:id="rId4" imgW="245" imgH="245" progId="TCLayout.ActiveDocument.1">
                  <p:embed/>
                </p:oleObj>
              </mc:Choice>
              <mc:Fallback>
                <p:oleObj name="think-cell Folie" r:id="rId4" imgW="245" imgH="24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3"/>
          <p:cNvSpPr>
            <a:spLocks noGrp="1"/>
          </p:cNvSpPr>
          <p:nvPr>
            <p:ph type="pic" sz="quarter" idx="18" hasCustomPrompt="1"/>
          </p:nvPr>
        </p:nvSpPr>
        <p:spPr bwMode="gray">
          <a:xfrm>
            <a:off x="0" y="0"/>
            <a:ext cx="9144000" cy="4675499"/>
          </a:xfrm>
          <a:prstGeom prst="rect">
            <a:avLst/>
          </a:prstGeom>
          <a:solidFill>
            <a:schemeClr val="accent3"/>
          </a:solidFill>
        </p:spPr>
        <p:txBody>
          <a:bodyPr anchor="ctr"/>
          <a:lstStyle>
            <a:lvl1pPr algn="ctr">
              <a:defRPr>
                <a:solidFill>
                  <a:schemeClr val="tx1"/>
                </a:solidFill>
              </a:defRPr>
            </a:lvl1pPr>
          </a:lstStyle>
          <a:p>
            <a:r>
              <a:rPr lang="de-DE" noProof="0" dirty="0"/>
              <a:t>Klicke auf das Icon, um ein Bild einzufügen</a:t>
            </a:r>
            <a:br>
              <a:rPr lang="de-DE" noProof="0" dirty="0"/>
            </a:br>
            <a:endParaRPr lang="de-DE" noProof="0" dirty="0"/>
          </a:p>
        </p:txBody>
      </p:sp>
      <p:sp>
        <p:nvSpPr>
          <p:cNvPr id="4" name="Titel 3"/>
          <p:cNvSpPr>
            <a:spLocks noGrp="1"/>
          </p:cNvSpPr>
          <p:nvPr>
            <p:ph type="title"/>
          </p:nvPr>
        </p:nvSpPr>
        <p:spPr>
          <a:xfrm>
            <a:off x="-1" y="4675500"/>
            <a:ext cx="9144001" cy="468000"/>
          </a:xfrm>
          <a:solidFill>
            <a:schemeClr val="tx1"/>
          </a:solidFill>
        </p:spPr>
        <p:txBody>
          <a:bodyPr anchor="ctr"/>
          <a:lstStyle>
            <a:lvl1pPr algn="ctr">
              <a:defRPr>
                <a:solidFill>
                  <a:schemeClr val="bg1"/>
                </a:solidFill>
              </a:defRPr>
            </a:lvl1pPr>
          </a:lstStyle>
          <a:p>
            <a:r>
              <a:rPr lang="de-DE"/>
              <a:t>Titelmasterformat durch Klicken bearbeiten</a:t>
            </a:r>
            <a:endParaRPr lang="en-US" dirty="0"/>
          </a:p>
        </p:txBody>
      </p:sp>
      <p:sp>
        <p:nvSpPr>
          <p:cNvPr id="5" name="Datumsplatzhalter 4"/>
          <p:cNvSpPr>
            <a:spLocks noGrp="1"/>
          </p:cNvSpPr>
          <p:nvPr>
            <p:ph type="dt" sz="half" idx="19"/>
          </p:nvPr>
        </p:nvSpPr>
        <p:spPr>
          <a:xfrm>
            <a:off x="7776356" y="5200042"/>
            <a:ext cx="720079" cy="136050"/>
          </a:xfrm>
          <a:prstGeom prst="rect">
            <a:avLst/>
          </a:prstGeom>
        </p:spPr>
        <p:txBody>
          <a:bodyPr/>
          <a:lstStyle/>
          <a:p>
            <a:endParaRPr lang="de-DE" dirty="0"/>
          </a:p>
        </p:txBody>
      </p:sp>
      <p:sp>
        <p:nvSpPr>
          <p:cNvPr id="6" name="Fußzeilenplatzhalter 5"/>
          <p:cNvSpPr>
            <a:spLocks noGrp="1"/>
          </p:cNvSpPr>
          <p:nvPr>
            <p:ph type="ftr" sz="quarter" idx="20"/>
          </p:nvPr>
        </p:nvSpPr>
        <p:spPr>
          <a:xfrm>
            <a:off x="5543550" y="5200042"/>
            <a:ext cx="2232806" cy="136050"/>
          </a:xfrm>
          <a:prstGeom prst="rect">
            <a:avLst/>
          </a:prstGeom>
        </p:spPr>
        <p:txBody>
          <a:bodyPr/>
          <a:lstStyle/>
          <a:p>
            <a:endParaRPr lang="de-DE" dirty="0"/>
          </a:p>
        </p:txBody>
      </p:sp>
      <p:sp>
        <p:nvSpPr>
          <p:cNvPr id="7" name="Foliennummernplatzhalter 6"/>
          <p:cNvSpPr>
            <a:spLocks noGrp="1"/>
          </p:cNvSpPr>
          <p:nvPr>
            <p:ph type="sldNum" sz="quarter" idx="21"/>
          </p:nvPr>
        </p:nvSpPr>
        <p:spPr>
          <a:xfrm>
            <a:off x="8496436" y="5200042"/>
            <a:ext cx="647565" cy="136050"/>
          </a:xfrm>
          <a:prstGeom prst="rect">
            <a:avLst/>
          </a:prstGeom>
        </p:spPr>
        <p:txBody>
          <a:bodyPr/>
          <a:lstStyle/>
          <a:p>
            <a:r>
              <a:rPr lang="de-DE" dirty="0">
                <a:sym typeface="Wingdings"/>
              </a:rPr>
              <a:t>  </a:t>
            </a:r>
            <a:fld id="{443B15C8-972D-49F6-9B7C-5A2154A8C95F}" type="slidenum">
              <a:rPr lang="de-DE" smtClean="0"/>
              <a:pPr/>
              <a:t>‹Nr.›</a:t>
            </a:fld>
            <a:endParaRPr lang="de-DE" dirty="0"/>
          </a:p>
        </p:txBody>
      </p:sp>
    </p:spTree>
    <p:extLst>
      <p:ext uri="{BB962C8B-B14F-4D97-AF65-F5344CB8AC3E}">
        <p14:creationId xmlns:p14="http://schemas.microsoft.com/office/powerpoint/2010/main" val="10275021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a:t>Titelmasterformat durch Klicken bearbeiten</a:t>
            </a:r>
            <a:endParaRPr lang="en-US"/>
          </a:p>
        </p:txBody>
      </p:sp>
      <p:sp>
        <p:nvSpPr>
          <p:cNvPr id="8"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0"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9" name="Datumsplatzhalter 8"/>
          <p:cNvSpPr>
            <a:spLocks noGrp="1"/>
          </p:cNvSpPr>
          <p:nvPr>
            <p:ph type="dt" sz="half" idx="29"/>
          </p:nvPr>
        </p:nvSpPr>
        <p:spPr/>
        <p:txBody>
          <a:bodyPr/>
          <a:lstStyle/>
          <a:p>
            <a:endParaRPr lang="cs-CZ" dirty="0"/>
          </a:p>
        </p:txBody>
      </p:sp>
      <p:sp>
        <p:nvSpPr>
          <p:cNvPr id="11" name="Fußzeilenplatzhalter 10"/>
          <p:cNvSpPr>
            <a:spLocks noGrp="1"/>
          </p:cNvSpPr>
          <p:nvPr>
            <p:ph type="ftr" sz="quarter" idx="30"/>
          </p:nvPr>
        </p:nvSpPr>
        <p:spPr/>
        <p:txBody>
          <a:bodyPr/>
          <a:lstStyle/>
          <a:p>
            <a:endParaRPr lang="cs-CZ" noProof="0" dirty="0"/>
          </a:p>
        </p:txBody>
      </p:sp>
      <p:sp>
        <p:nvSpPr>
          <p:cNvPr id="12" name="Foliennummernplatzhalter 11"/>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342346363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3500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273" name="think-cell Folie" r:id="rId4" imgW="245" imgH="245" progId="TCLayout.ActiveDocument.1">
                  <p:embed/>
                </p:oleObj>
              </mc:Choice>
              <mc:Fallback>
                <p:oleObj name="think-cell Folie" r:id="rId4" imgW="245" imgH="24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bwMode="gray">
          <a:xfrm>
            <a:off x="0" y="0"/>
            <a:ext cx="9144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 name="Title 1"/>
          <p:cNvSpPr>
            <a:spLocks noGrp="1"/>
          </p:cNvSpPr>
          <p:nvPr>
            <p:ph type="title" hasCustomPrompt="1"/>
          </p:nvPr>
        </p:nvSpPr>
        <p:spPr bwMode="gray">
          <a:xfrm>
            <a:off x="468312" y="1527176"/>
            <a:ext cx="5075238" cy="3060798"/>
          </a:xfrm>
        </p:spPr>
        <p:txBody>
          <a:bodyPr anchor="b"/>
          <a:lstStyle>
            <a:lvl1pPr>
              <a:defRPr sz="4400" baseline="0">
                <a:solidFill>
                  <a:schemeClr val="bg1"/>
                </a:solidFill>
              </a:defRPr>
            </a:lvl1pPr>
          </a:lstStyle>
          <a:p>
            <a:r>
              <a:rPr lang="de-DE" noProof="0" dirty="0" err="1"/>
              <a:t>Kapiteltrenner</a:t>
            </a:r>
            <a:r>
              <a:rPr lang="de-DE" noProof="0" dirty="0"/>
              <a:t> - </a:t>
            </a:r>
            <a:br>
              <a:rPr lang="de-DE" noProof="0" dirty="0"/>
            </a:br>
            <a:r>
              <a:rPr lang="de-DE" noProof="0" dirty="0"/>
              <a:t>Text eintragen</a:t>
            </a:r>
          </a:p>
        </p:txBody>
      </p:sp>
      <p:sp>
        <p:nvSpPr>
          <p:cNvPr id="13" name="Date Placeholder 4"/>
          <p:cNvSpPr>
            <a:spLocks noGrp="1"/>
          </p:cNvSpPr>
          <p:nvPr>
            <p:ph type="dt" sz="half" idx="10"/>
          </p:nvPr>
        </p:nvSpPr>
        <p:spPr>
          <a:xfrm>
            <a:off x="7956376" y="5236046"/>
            <a:ext cx="657959" cy="136050"/>
          </a:xfrm>
          <a:prstGeom prst="rect">
            <a:avLst/>
          </a:prstGeom>
        </p:spPr>
        <p:txBody>
          <a:bodyPr/>
          <a:lstStyle>
            <a:lvl1pPr>
              <a:defRPr>
                <a:solidFill>
                  <a:schemeClr val="accent1">
                    <a:alpha val="0"/>
                  </a:schemeClr>
                </a:solidFill>
              </a:defRPr>
            </a:lvl1pPr>
          </a:lstStyle>
          <a:p>
            <a:endParaRPr lang="de-DE" noProof="0" dirty="0"/>
          </a:p>
        </p:txBody>
      </p:sp>
      <p:sp>
        <p:nvSpPr>
          <p:cNvPr id="14" name="Footer Placeholder 5"/>
          <p:cNvSpPr>
            <a:spLocks noGrp="1"/>
          </p:cNvSpPr>
          <p:nvPr>
            <p:ph type="ftr" sz="quarter" idx="11"/>
          </p:nvPr>
        </p:nvSpPr>
        <p:spPr>
          <a:xfrm>
            <a:off x="5543550" y="5236046"/>
            <a:ext cx="2412826" cy="136050"/>
          </a:xfrm>
          <a:prstGeom prst="rect">
            <a:avLst/>
          </a:prstGeom>
        </p:spPr>
        <p:txBody>
          <a:bodyPr/>
          <a:lstStyle>
            <a:lvl1pPr>
              <a:defRPr>
                <a:solidFill>
                  <a:schemeClr val="accent1">
                    <a:alpha val="0"/>
                  </a:schemeClr>
                </a:solidFill>
              </a:defRPr>
            </a:lvl1pPr>
          </a:lstStyle>
          <a:p>
            <a:endParaRPr lang="de-DE" noProof="0" dirty="0"/>
          </a:p>
        </p:txBody>
      </p:sp>
      <p:sp>
        <p:nvSpPr>
          <p:cNvPr id="15" name="Slide Number Placeholder 6"/>
          <p:cNvSpPr>
            <a:spLocks noGrp="1"/>
          </p:cNvSpPr>
          <p:nvPr>
            <p:ph type="sldNum" sz="quarter" idx="12"/>
          </p:nvPr>
        </p:nvSpPr>
        <p:spPr>
          <a:xfrm>
            <a:off x="8580769" y="5236046"/>
            <a:ext cx="563231" cy="136050"/>
          </a:xfrm>
          <a:prstGeom prst="rect">
            <a:avLst/>
          </a:prstGeom>
        </p:spPr>
        <p:txBody>
          <a:bodyPr/>
          <a:lstStyle>
            <a:lvl1pPr>
              <a:defRPr>
                <a:solidFill>
                  <a:schemeClr val="accent1">
                    <a:alpha val="0"/>
                  </a:schemeClr>
                </a:solidFill>
              </a:defRPr>
            </a:lvl1pPr>
          </a:lstStyle>
          <a:p>
            <a:r>
              <a:rPr lang="de-DE" noProof="0" dirty="0"/>
              <a:t> </a:t>
            </a:r>
            <a:r>
              <a:rPr lang="de-DE" noProof="0" dirty="0">
                <a:sym typeface="Wingdings"/>
              </a:rPr>
              <a:t>  </a:t>
            </a:r>
            <a:fld id="{443B15C8-972D-49F6-9B7C-5A2154A8C95F}" type="slidenum">
              <a:rPr lang="de-DE" noProof="0" smtClean="0"/>
              <a:pPr/>
              <a:t>‹Nr.›</a:t>
            </a:fld>
            <a:endParaRPr lang="de-DE" noProof="0" dirty="0"/>
          </a:p>
        </p:txBody>
      </p:sp>
    </p:spTree>
    <p:extLst>
      <p:ext uri="{BB962C8B-B14F-4D97-AF65-F5344CB8AC3E}">
        <p14:creationId xmlns:p14="http://schemas.microsoft.com/office/powerpoint/2010/main" val="56493607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enutzerdefiniertes Layout">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endParaRPr lang="cs-CZ" dirty="0"/>
          </a:p>
        </p:txBody>
      </p:sp>
      <p:sp>
        <p:nvSpPr>
          <p:cNvPr id="4" name="Fußzeilenplatzhalter 3"/>
          <p:cNvSpPr>
            <a:spLocks noGrp="1"/>
          </p:cNvSpPr>
          <p:nvPr>
            <p:ph type="ftr" sz="quarter" idx="11"/>
          </p:nvPr>
        </p:nvSpPr>
        <p:spPr/>
        <p:txBody>
          <a:bodyPr/>
          <a:lstStyle/>
          <a:p>
            <a:endParaRPr lang="cs-CZ" noProof="0" dirty="0"/>
          </a:p>
        </p:txBody>
      </p:sp>
      <p:sp>
        <p:nvSpPr>
          <p:cNvPr id="5" name="Foliennummernplatzhalter 4"/>
          <p:cNvSpPr>
            <a:spLocks noGrp="1"/>
          </p:cNvSpPr>
          <p:nvPr>
            <p:ph type="sldNum" sz="quarter" idx="12"/>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28681845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29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Objekt 2" hidden="1"/>
          <p:cNvPicPr>
            <a:picLocks noChangeAspect="1"/>
          </p:cNvPicPr>
          <p:nvPr>
            <p:custDataLst>
              <p:tags r:id="rId3"/>
            </p:custDataLst>
          </p:nvPr>
        </p:nvPicPr>
        <p:blipFill>
          <a:blip r:embed="rId7"/>
          <a:stretch>
            <a:fillRect/>
          </a:stretch>
        </p:blipFill>
        <p:spPr>
          <a:xfrm>
            <a:off x="1588" y="1588"/>
            <a:ext cx="1587" cy="1587"/>
          </a:xfrm>
          <a:prstGeom prst="rect">
            <a:avLst/>
          </a:prstGeom>
        </p:spPr>
      </p:pic>
      <p:sp>
        <p:nvSpPr>
          <p:cNvPr id="2" name="Title 1"/>
          <p:cNvSpPr>
            <a:spLocks noGrp="1"/>
          </p:cNvSpPr>
          <p:nvPr>
            <p:ph type="title" hasCustomPrompt="1"/>
          </p:nvPr>
        </p:nvSpPr>
        <p:spPr bwMode="gray"/>
        <p:txBody>
          <a:bodyPr/>
          <a:lstStyle/>
          <a:p>
            <a:r>
              <a:rPr lang="de-DE" noProof="0" dirty="0"/>
              <a:t>Folientitel</a:t>
            </a:r>
          </a:p>
        </p:txBody>
      </p:sp>
      <p:sp>
        <p:nvSpPr>
          <p:cNvPr id="12" name="Text Placeholder 4"/>
          <p:cNvSpPr>
            <a:spLocks noGrp="1"/>
          </p:cNvSpPr>
          <p:nvPr>
            <p:ph type="body" sz="quarter" idx="20" hasCustomPrompt="1"/>
          </p:nvPr>
        </p:nvSpPr>
        <p:spPr bwMode="gray">
          <a:xfrm>
            <a:off x="468312" y="339725"/>
            <a:ext cx="5075238" cy="144463"/>
          </a:xfrm>
        </p:spPr>
        <p:txBody>
          <a:bodyPr wrap="none" bIns="18000" anchor="b"/>
          <a:lstStyle>
            <a:lvl1pPr marL="0" indent="0">
              <a:lnSpc>
                <a:spcPct val="100000"/>
              </a:lnSpc>
              <a:spcBef>
                <a:spcPts val="0"/>
              </a:spcBef>
              <a:spcAft>
                <a:spcPts val="0"/>
              </a:spcAft>
              <a:buFont typeface="Arial" panose="020B0604020202020204" pitchFamily="34" charset="0"/>
              <a:buNone/>
              <a:defRPr sz="1000" b="1" cap="all" baseline="0">
                <a:solidFill>
                  <a:schemeClr val="accent4"/>
                </a:solidFill>
              </a:defRPr>
            </a:lvl1pPr>
            <a:lvl2pPr marL="0" indent="0">
              <a:lnSpc>
                <a:spcPct val="100000"/>
              </a:lnSpc>
              <a:spcBef>
                <a:spcPts val="0"/>
              </a:spcBef>
              <a:spcAft>
                <a:spcPts val="0"/>
              </a:spcAft>
              <a:buNone/>
              <a:defRPr sz="1000" b="1" cap="all">
                <a:solidFill>
                  <a:schemeClr val="accent4"/>
                </a:solidFill>
              </a:defRPr>
            </a:lvl2pPr>
            <a:lvl3pPr marL="0" indent="0">
              <a:lnSpc>
                <a:spcPct val="100000"/>
              </a:lnSpc>
              <a:spcBef>
                <a:spcPts val="0"/>
              </a:spcBef>
              <a:spcAft>
                <a:spcPts val="0"/>
              </a:spcAft>
              <a:buNone/>
              <a:defRPr sz="1000" b="1" cap="all">
                <a:solidFill>
                  <a:schemeClr val="accent4"/>
                </a:solidFill>
              </a:defRPr>
            </a:lvl3pPr>
            <a:lvl4pPr marL="0" indent="0">
              <a:lnSpc>
                <a:spcPct val="100000"/>
              </a:lnSpc>
              <a:spcBef>
                <a:spcPts val="0"/>
              </a:spcBef>
              <a:spcAft>
                <a:spcPts val="0"/>
              </a:spcAft>
              <a:buFont typeface="Arial" panose="020B0604020202020204" pitchFamily="34" charset="0"/>
              <a:buNone/>
              <a:defRPr sz="1000" b="1" cap="all">
                <a:solidFill>
                  <a:schemeClr val="accent4"/>
                </a:solidFill>
              </a:defRPr>
            </a:lvl4pPr>
            <a:lvl5pPr marL="0" indent="0">
              <a:lnSpc>
                <a:spcPct val="100000"/>
              </a:lnSpc>
              <a:spcBef>
                <a:spcPts val="0"/>
              </a:spcBef>
              <a:spcAft>
                <a:spcPts val="0"/>
              </a:spcAft>
              <a:buFont typeface="Arial" panose="020B0604020202020204" pitchFamily="34" charset="0"/>
              <a:buNone/>
              <a:defRPr sz="1000" b="1" cap="all">
                <a:solidFill>
                  <a:schemeClr val="accent4"/>
                </a:solidFill>
              </a:defRPr>
            </a:lvl5pPr>
            <a:lvl6pPr marL="0" indent="0">
              <a:lnSpc>
                <a:spcPct val="100000"/>
              </a:lnSpc>
              <a:spcBef>
                <a:spcPts val="0"/>
              </a:spcBef>
              <a:spcAft>
                <a:spcPts val="0"/>
              </a:spcAft>
              <a:buFont typeface="Arial" panose="020B0604020202020204" pitchFamily="34" charset="0"/>
              <a:buNone/>
              <a:defRPr sz="1000" b="1" cap="all">
                <a:solidFill>
                  <a:schemeClr val="accent4"/>
                </a:solidFill>
              </a:defRPr>
            </a:lvl6pPr>
            <a:lvl7pPr marL="0" indent="0">
              <a:lnSpc>
                <a:spcPct val="100000"/>
              </a:lnSpc>
              <a:spcBef>
                <a:spcPts val="0"/>
              </a:spcBef>
              <a:spcAft>
                <a:spcPts val="0"/>
              </a:spcAft>
              <a:buFont typeface="Arial" panose="020B0604020202020204" pitchFamily="34" charset="0"/>
              <a:buNone/>
              <a:defRPr sz="1000" b="1" cap="all">
                <a:solidFill>
                  <a:schemeClr val="accent4"/>
                </a:solidFill>
              </a:defRPr>
            </a:lvl7pPr>
            <a:lvl8pPr marL="0" indent="0">
              <a:lnSpc>
                <a:spcPct val="100000"/>
              </a:lnSpc>
              <a:spcBef>
                <a:spcPts val="0"/>
              </a:spcBef>
              <a:spcAft>
                <a:spcPts val="0"/>
              </a:spcAft>
              <a:buFont typeface="Arial" panose="020B0604020202020204" pitchFamily="34" charset="0"/>
              <a:buNone/>
              <a:defRPr sz="1000" b="1" cap="all">
                <a:solidFill>
                  <a:schemeClr val="accent4"/>
                </a:solidFill>
              </a:defRPr>
            </a:lvl8pPr>
            <a:lvl9pPr marL="0" indent="0">
              <a:lnSpc>
                <a:spcPct val="100000"/>
              </a:lnSpc>
              <a:spcBef>
                <a:spcPts val="0"/>
              </a:spcBef>
              <a:spcAft>
                <a:spcPts val="0"/>
              </a:spcAft>
              <a:buFont typeface="Arial" panose="020B0604020202020204" pitchFamily="34" charset="0"/>
              <a:buNone/>
              <a:defRPr sz="1000" b="1" cap="all">
                <a:solidFill>
                  <a:schemeClr val="accent4"/>
                </a:solidFill>
              </a:defRPr>
            </a:lvl9pPr>
          </a:lstStyle>
          <a:p>
            <a:pPr lvl="0"/>
            <a:r>
              <a:rPr lang="de-DE" noProof="0" dirty="0"/>
              <a:t>Kapitelüberschrift (OPTIONAL)</a:t>
            </a:r>
          </a:p>
        </p:txBody>
      </p:sp>
      <p:sp>
        <p:nvSpPr>
          <p:cNvPr id="11" name="ClipArt Placeholder 5"/>
          <p:cNvSpPr>
            <a:spLocks noGrp="1"/>
          </p:cNvSpPr>
          <p:nvPr>
            <p:ph type="clipArt" sz="quarter" idx="24"/>
          </p:nvPr>
        </p:nvSpPr>
        <p:spPr>
          <a:xfrm>
            <a:off x="7895176" y="4874400"/>
            <a:ext cx="61200" cy="61200"/>
          </a:xfrm>
          <a:solidFill>
            <a:schemeClr val="accent1"/>
          </a:solidFill>
        </p:spPr>
        <p:txBody>
          <a:bodyPr wrap="none" rIns="0"/>
          <a:lstStyle>
            <a:lvl1pPr algn="ctr">
              <a:defRPr sz="100">
                <a:solidFill>
                  <a:schemeClr val="tx1">
                    <a:alpha val="0"/>
                  </a:schemeClr>
                </a:solidFill>
              </a:defRPr>
            </a:lvl1pPr>
          </a:lstStyle>
          <a:p>
            <a:r>
              <a:rPr lang="de-DE" noProof="0"/>
              <a:t>ClipArt durch Klicken auf Symbol hinzufügen</a:t>
            </a:r>
            <a:endParaRPr lang="de-DE" noProof="0" dirty="0"/>
          </a:p>
        </p:txBody>
      </p:sp>
      <p:sp>
        <p:nvSpPr>
          <p:cNvPr id="13" name="Date Placeholder 12"/>
          <p:cNvSpPr>
            <a:spLocks noGrp="1"/>
          </p:cNvSpPr>
          <p:nvPr>
            <p:ph type="dt" sz="half" idx="25"/>
          </p:nvPr>
        </p:nvSpPr>
        <p:spPr>
          <a:xfrm>
            <a:off x="7956376" y="4836160"/>
            <a:ext cx="657959" cy="136050"/>
          </a:xfrm>
          <a:prstGeom prst="rect">
            <a:avLst/>
          </a:prstGeom>
        </p:spPr>
        <p:txBody>
          <a:bodyPr/>
          <a:lstStyle/>
          <a:p>
            <a:endParaRPr lang="de-DE" noProof="0" dirty="0"/>
          </a:p>
        </p:txBody>
      </p:sp>
      <p:sp>
        <p:nvSpPr>
          <p:cNvPr id="14" name="Footer Placeholder 16"/>
          <p:cNvSpPr>
            <a:spLocks noGrp="1"/>
          </p:cNvSpPr>
          <p:nvPr>
            <p:ph type="ftr" sz="quarter" idx="26"/>
          </p:nvPr>
        </p:nvSpPr>
        <p:spPr>
          <a:xfrm>
            <a:off x="5543550" y="4836160"/>
            <a:ext cx="2412826" cy="136050"/>
          </a:xfrm>
          <a:prstGeom prst="rect">
            <a:avLst/>
          </a:prstGeom>
        </p:spPr>
        <p:txBody>
          <a:bodyPr/>
          <a:lstStyle>
            <a:lvl1pPr>
              <a:defRPr/>
            </a:lvl1pPr>
          </a:lstStyle>
          <a:p>
            <a:endParaRPr lang="de-DE" noProof="0" dirty="0"/>
          </a:p>
        </p:txBody>
      </p:sp>
      <p:sp>
        <p:nvSpPr>
          <p:cNvPr id="15" name="Slide Number Placeholder 17"/>
          <p:cNvSpPr>
            <a:spLocks noGrp="1"/>
          </p:cNvSpPr>
          <p:nvPr>
            <p:ph type="sldNum" sz="quarter" idx="27"/>
          </p:nvPr>
        </p:nvSpPr>
        <p:spPr>
          <a:xfrm>
            <a:off x="8580769" y="4836160"/>
            <a:ext cx="563231" cy="136050"/>
          </a:xfrm>
          <a:prstGeom prst="rect">
            <a:avLst/>
          </a:prstGeom>
        </p:spPr>
        <p:txBody>
          <a:bodyPr/>
          <a:lstStyle/>
          <a:p>
            <a:r>
              <a:rPr lang="de-DE" noProof="0" dirty="0"/>
              <a:t> </a:t>
            </a:r>
            <a:r>
              <a:rPr lang="de-DE" noProof="0" dirty="0">
                <a:sym typeface="Wingdings"/>
              </a:rPr>
              <a:t>  </a:t>
            </a:r>
            <a:fld id="{443B15C8-972D-49F6-9B7C-5A2154A8C95F}" type="slidenum">
              <a:rPr lang="de-DE" noProof="0" smtClean="0"/>
              <a:pPr/>
              <a:t>‹Nr.›</a:t>
            </a:fld>
            <a:endParaRPr lang="de-DE" noProof="0" dirty="0"/>
          </a:p>
        </p:txBody>
      </p:sp>
    </p:spTree>
    <p:extLst>
      <p:ext uri="{BB962C8B-B14F-4D97-AF65-F5344CB8AC3E}">
        <p14:creationId xmlns:p14="http://schemas.microsoft.com/office/powerpoint/2010/main" val="334306636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32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gray"/>
        <p:txBody>
          <a:bodyPr/>
          <a:lstStyle/>
          <a:p>
            <a:r>
              <a:rPr lang="de-DE" noProof="0" dirty="0"/>
              <a:t>Folientitel</a:t>
            </a:r>
          </a:p>
        </p:txBody>
      </p:sp>
      <p:sp>
        <p:nvSpPr>
          <p:cNvPr id="12" name="Text Placeholder 4"/>
          <p:cNvSpPr>
            <a:spLocks noGrp="1"/>
          </p:cNvSpPr>
          <p:nvPr>
            <p:ph type="body" sz="quarter" idx="20" hasCustomPrompt="1"/>
          </p:nvPr>
        </p:nvSpPr>
        <p:spPr bwMode="gray">
          <a:xfrm>
            <a:off x="468312" y="339725"/>
            <a:ext cx="5075238" cy="144463"/>
          </a:xfrm>
        </p:spPr>
        <p:txBody>
          <a:bodyPr wrap="none" bIns="18000" anchor="b"/>
          <a:lstStyle>
            <a:lvl1pPr marL="0" indent="0">
              <a:lnSpc>
                <a:spcPct val="100000"/>
              </a:lnSpc>
              <a:spcBef>
                <a:spcPts val="0"/>
              </a:spcBef>
              <a:spcAft>
                <a:spcPts val="0"/>
              </a:spcAft>
              <a:buFont typeface="Arial" panose="020B0604020202020204" pitchFamily="34" charset="0"/>
              <a:buNone/>
              <a:defRPr sz="1000" b="1" cap="all" baseline="0">
                <a:solidFill>
                  <a:schemeClr val="accent4"/>
                </a:solidFill>
              </a:defRPr>
            </a:lvl1pPr>
            <a:lvl2pPr marL="0" indent="0">
              <a:lnSpc>
                <a:spcPct val="100000"/>
              </a:lnSpc>
              <a:spcBef>
                <a:spcPts val="0"/>
              </a:spcBef>
              <a:spcAft>
                <a:spcPts val="0"/>
              </a:spcAft>
              <a:buNone/>
              <a:defRPr sz="1000" b="1" cap="all">
                <a:solidFill>
                  <a:schemeClr val="accent4"/>
                </a:solidFill>
              </a:defRPr>
            </a:lvl2pPr>
            <a:lvl3pPr marL="0" indent="0">
              <a:lnSpc>
                <a:spcPct val="100000"/>
              </a:lnSpc>
              <a:spcBef>
                <a:spcPts val="0"/>
              </a:spcBef>
              <a:spcAft>
                <a:spcPts val="0"/>
              </a:spcAft>
              <a:buNone/>
              <a:defRPr sz="1000" b="1" cap="all">
                <a:solidFill>
                  <a:schemeClr val="accent4"/>
                </a:solidFill>
              </a:defRPr>
            </a:lvl3pPr>
            <a:lvl4pPr marL="0" indent="0">
              <a:lnSpc>
                <a:spcPct val="100000"/>
              </a:lnSpc>
              <a:spcBef>
                <a:spcPts val="0"/>
              </a:spcBef>
              <a:spcAft>
                <a:spcPts val="0"/>
              </a:spcAft>
              <a:buFont typeface="Arial" panose="020B0604020202020204" pitchFamily="34" charset="0"/>
              <a:buNone/>
              <a:defRPr sz="1000" b="1" cap="all">
                <a:solidFill>
                  <a:schemeClr val="accent4"/>
                </a:solidFill>
              </a:defRPr>
            </a:lvl4pPr>
            <a:lvl5pPr marL="0" indent="0">
              <a:lnSpc>
                <a:spcPct val="100000"/>
              </a:lnSpc>
              <a:spcBef>
                <a:spcPts val="0"/>
              </a:spcBef>
              <a:spcAft>
                <a:spcPts val="0"/>
              </a:spcAft>
              <a:buFont typeface="Arial" panose="020B0604020202020204" pitchFamily="34" charset="0"/>
              <a:buNone/>
              <a:defRPr sz="1000" b="1" cap="all">
                <a:solidFill>
                  <a:schemeClr val="accent4"/>
                </a:solidFill>
              </a:defRPr>
            </a:lvl5pPr>
            <a:lvl6pPr marL="0" indent="0">
              <a:lnSpc>
                <a:spcPct val="100000"/>
              </a:lnSpc>
              <a:spcBef>
                <a:spcPts val="0"/>
              </a:spcBef>
              <a:spcAft>
                <a:spcPts val="0"/>
              </a:spcAft>
              <a:buFont typeface="Arial" panose="020B0604020202020204" pitchFamily="34" charset="0"/>
              <a:buNone/>
              <a:defRPr sz="1000" b="1" cap="all">
                <a:solidFill>
                  <a:schemeClr val="accent4"/>
                </a:solidFill>
              </a:defRPr>
            </a:lvl6pPr>
            <a:lvl7pPr marL="0" indent="0">
              <a:lnSpc>
                <a:spcPct val="100000"/>
              </a:lnSpc>
              <a:spcBef>
                <a:spcPts val="0"/>
              </a:spcBef>
              <a:spcAft>
                <a:spcPts val="0"/>
              </a:spcAft>
              <a:buFont typeface="Arial" panose="020B0604020202020204" pitchFamily="34" charset="0"/>
              <a:buNone/>
              <a:defRPr sz="1000" b="1" cap="all">
                <a:solidFill>
                  <a:schemeClr val="accent4"/>
                </a:solidFill>
              </a:defRPr>
            </a:lvl7pPr>
            <a:lvl8pPr marL="0" indent="0">
              <a:lnSpc>
                <a:spcPct val="100000"/>
              </a:lnSpc>
              <a:spcBef>
                <a:spcPts val="0"/>
              </a:spcBef>
              <a:spcAft>
                <a:spcPts val="0"/>
              </a:spcAft>
              <a:buFont typeface="Arial" panose="020B0604020202020204" pitchFamily="34" charset="0"/>
              <a:buNone/>
              <a:defRPr sz="1000" b="1" cap="all">
                <a:solidFill>
                  <a:schemeClr val="accent4"/>
                </a:solidFill>
              </a:defRPr>
            </a:lvl8pPr>
            <a:lvl9pPr marL="0" indent="0">
              <a:lnSpc>
                <a:spcPct val="100000"/>
              </a:lnSpc>
              <a:spcBef>
                <a:spcPts val="0"/>
              </a:spcBef>
              <a:spcAft>
                <a:spcPts val="0"/>
              </a:spcAft>
              <a:buFont typeface="Arial" panose="020B0604020202020204" pitchFamily="34" charset="0"/>
              <a:buNone/>
              <a:defRPr sz="1000" b="1" cap="all">
                <a:solidFill>
                  <a:schemeClr val="accent4"/>
                </a:solidFill>
              </a:defRPr>
            </a:lvl9pPr>
          </a:lstStyle>
          <a:p>
            <a:pPr lvl="0"/>
            <a:r>
              <a:rPr lang="de-DE" noProof="0" dirty="0"/>
              <a:t>Kapitelüberschrift (OPTIONAL)</a:t>
            </a:r>
          </a:p>
        </p:txBody>
      </p:sp>
      <p:sp>
        <p:nvSpPr>
          <p:cNvPr id="15" name="Slide Number Placeholder 17"/>
          <p:cNvSpPr>
            <a:spLocks noGrp="1"/>
          </p:cNvSpPr>
          <p:nvPr>
            <p:ph type="sldNum" sz="quarter" idx="27"/>
          </p:nvPr>
        </p:nvSpPr>
        <p:spPr>
          <a:xfrm>
            <a:off x="8580769" y="4836160"/>
            <a:ext cx="563231" cy="136050"/>
          </a:xfrm>
          <a:prstGeom prst="rect">
            <a:avLst/>
          </a:prstGeom>
        </p:spPr>
        <p:txBody>
          <a:bodyPr/>
          <a:lstStyle/>
          <a:p>
            <a:r>
              <a:rPr lang="de-DE" noProof="0" dirty="0"/>
              <a:t> </a:t>
            </a:r>
            <a:r>
              <a:rPr lang="de-DE" noProof="0" dirty="0">
                <a:sym typeface="Wingdings"/>
              </a:rPr>
              <a:t>  </a:t>
            </a:r>
            <a:fld id="{443B15C8-972D-49F6-9B7C-5A2154A8C95F}" type="slidenum">
              <a:rPr lang="de-DE" noProof="0" smtClean="0"/>
              <a:pPr/>
              <a:t>‹Nr.›</a:t>
            </a:fld>
            <a:endParaRPr lang="de-DE" noProof="0" dirty="0"/>
          </a:p>
        </p:txBody>
      </p:sp>
    </p:spTree>
    <p:extLst>
      <p:ext uri="{BB962C8B-B14F-4D97-AF65-F5344CB8AC3E}">
        <p14:creationId xmlns:p14="http://schemas.microsoft.com/office/powerpoint/2010/main" val="233041428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x tex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bwMode="gray">
          <a:xfrm>
            <a:off x="395288" y="1131889"/>
            <a:ext cx="4104712" cy="3456085"/>
          </a:xfrm>
        </p:spPr>
        <p:txBody>
          <a:bodyPr/>
          <a:lstStyle/>
          <a:p>
            <a:pPr lvl="0"/>
            <a:r>
              <a:rPr lang="de-DE" noProof="0" dirty="0"/>
              <a:t>Schreibe hier deinen Text.</a:t>
            </a:r>
          </a:p>
        </p:txBody>
      </p:sp>
      <p:sp>
        <p:nvSpPr>
          <p:cNvPr id="7" name="Text Placeholder 7"/>
          <p:cNvSpPr>
            <a:spLocks noGrp="1"/>
          </p:cNvSpPr>
          <p:nvPr>
            <p:ph type="body" sz="quarter" idx="17" hasCustomPrompt="1"/>
          </p:nvPr>
        </p:nvSpPr>
        <p:spPr bwMode="gray">
          <a:xfrm>
            <a:off x="4644000" y="1131889"/>
            <a:ext cx="4104712" cy="3456085"/>
          </a:xfrm>
        </p:spPr>
        <p:txBody>
          <a:bodyPr lIns="0"/>
          <a:lstStyle/>
          <a:p>
            <a:pPr lvl="0"/>
            <a:r>
              <a:rPr lang="de-DE" noProof="0" dirty="0"/>
              <a:t>Schreibe hier deinen Text.</a:t>
            </a:r>
          </a:p>
        </p:txBody>
      </p:sp>
      <p:sp>
        <p:nvSpPr>
          <p:cNvPr id="3" name="Titel 2"/>
          <p:cNvSpPr>
            <a:spLocks noGrp="1"/>
          </p:cNvSpPr>
          <p:nvPr>
            <p:ph type="title"/>
          </p:nvPr>
        </p:nvSpPr>
        <p:spPr/>
        <p:txBody>
          <a:bodyPr/>
          <a:lstStyle/>
          <a:p>
            <a:r>
              <a:rPr lang="de-DE"/>
              <a:t>Titelmasterformat durch Klicken bearbeiten</a:t>
            </a:r>
            <a:endParaRPr lang="en-US" dirty="0"/>
          </a:p>
        </p:txBody>
      </p:sp>
      <p:sp>
        <p:nvSpPr>
          <p:cNvPr id="10"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3"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2" name="Datumsplatzhalter 11"/>
          <p:cNvSpPr>
            <a:spLocks noGrp="1"/>
          </p:cNvSpPr>
          <p:nvPr>
            <p:ph type="dt" sz="half" idx="29"/>
          </p:nvPr>
        </p:nvSpPr>
        <p:spPr/>
        <p:txBody>
          <a:bodyPr/>
          <a:lstStyle/>
          <a:p>
            <a:endParaRPr lang="cs-CZ" dirty="0"/>
          </a:p>
        </p:txBody>
      </p:sp>
      <p:sp>
        <p:nvSpPr>
          <p:cNvPr id="14" name="Fußzeilenplatzhalter 13"/>
          <p:cNvSpPr>
            <a:spLocks noGrp="1"/>
          </p:cNvSpPr>
          <p:nvPr>
            <p:ph type="ftr" sz="quarter" idx="30"/>
          </p:nvPr>
        </p:nvSpPr>
        <p:spPr/>
        <p:txBody>
          <a:bodyPr/>
          <a:lstStyle/>
          <a:p>
            <a:endParaRPr lang="cs-CZ" noProof="0" dirty="0"/>
          </a:p>
        </p:txBody>
      </p:sp>
      <p:sp>
        <p:nvSpPr>
          <p:cNvPr id="15" name="Foliennummernplatzhalter 14"/>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302282285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elfoli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96" name="think-cell Folie" r:id="rId4" imgW="245" imgH="245" progId="TCLayout.ActiveDocument.1">
                  <p:embed/>
                </p:oleObj>
              </mc:Choice>
              <mc:Fallback>
                <p:oleObj name="think-cell Folie" r:id="rId4" imgW="245" imgH="245"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bwMode="gray">
          <a:xfrm>
            <a:off x="773357" y="2008981"/>
            <a:ext cx="4770193" cy="1609225"/>
          </a:xfrm>
          <a:solidFill>
            <a:schemeClr val="accent4"/>
          </a:solidFill>
        </p:spPr>
        <p:txBody>
          <a:bodyPr lIns="180000" tIns="144000" rIns="180000" bIns="144000">
            <a:noAutofit/>
          </a:bodyPr>
          <a:lstStyle>
            <a:lvl1pPr>
              <a:defRPr sz="3200">
                <a:solidFill>
                  <a:schemeClr val="bg1"/>
                </a:solidFill>
              </a:defRPr>
            </a:lvl1pPr>
          </a:lstStyle>
          <a:p>
            <a:r>
              <a:rPr lang="de-DE" noProof="0" dirty="0"/>
              <a:t>Präsentationstitel</a:t>
            </a:r>
            <a:br>
              <a:rPr lang="de-DE" noProof="0" dirty="0"/>
            </a:br>
            <a:r>
              <a:rPr lang="de-DE" noProof="0" dirty="0"/>
              <a:t>- maximal 2 Zeilen</a:t>
            </a:r>
          </a:p>
        </p:txBody>
      </p:sp>
      <p:sp>
        <p:nvSpPr>
          <p:cNvPr id="28" name="Subtitle 2"/>
          <p:cNvSpPr>
            <a:spLocks noGrp="1"/>
          </p:cNvSpPr>
          <p:nvPr>
            <p:ph type="subTitle" idx="1" hasCustomPrompt="1"/>
          </p:nvPr>
        </p:nvSpPr>
        <p:spPr bwMode="gray">
          <a:xfrm>
            <a:off x="773356" y="3075807"/>
            <a:ext cx="4770193" cy="542400"/>
          </a:xfrm>
        </p:spPr>
        <p:txBody>
          <a:bodyPr lIns="180000" tIns="108000" rIns="180000" bIns="108000" anchor="b"/>
          <a:lstStyle>
            <a:lvl1pPr marL="0" indent="0" algn="l">
              <a:lnSpc>
                <a:spcPct val="110000"/>
              </a:lnSpc>
              <a:spcBef>
                <a:spcPts val="0"/>
              </a:spcBef>
              <a:spcAft>
                <a:spcPts val="0"/>
              </a:spcAft>
              <a:buNone/>
              <a:defRPr sz="1200" cap="all" baseline="0">
                <a:solidFill>
                  <a:schemeClr val="bg1"/>
                </a:solidFill>
              </a:defRPr>
            </a:lvl1pPr>
            <a:lvl2pPr marL="0" indent="0" algn="l">
              <a:lnSpc>
                <a:spcPct val="110000"/>
              </a:lnSpc>
              <a:spcBef>
                <a:spcPts val="0"/>
              </a:spcBef>
              <a:spcAft>
                <a:spcPts val="0"/>
              </a:spcAft>
              <a:buNone/>
              <a:defRPr sz="1200" b="0" cap="all">
                <a:solidFill>
                  <a:schemeClr val="bg1"/>
                </a:solidFill>
              </a:defRPr>
            </a:lvl2pPr>
            <a:lvl3pPr marL="0" indent="0" algn="l">
              <a:lnSpc>
                <a:spcPct val="110000"/>
              </a:lnSpc>
              <a:spcBef>
                <a:spcPts val="0"/>
              </a:spcBef>
              <a:spcAft>
                <a:spcPts val="0"/>
              </a:spcAft>
              <a:buNone/>
              <a:defRPr sz="1200" b="0" cap="all">
                <a:solidFill>
                  <a:schemeClr val="bg1"/>
                </a:solidFill>
              </a:defRPr>
            </a:lvl3pPr>
            <a:lvl4pPr marL="0" indent="0" algn="l">
              <a:lnSpc>
                <a:spcPct val="110000"/>
              </a:lnSpc>
              <a:spcBef>
                <a:spcPts val="0"/>
              </a:spcBef>
              <a:spcAft>
                <a:spcPts val="0"/>
              </a:spcAft>
              <a:buNone/>
              <a:defRPr sz="1200" b="0" cap="all">
                <a:solidFill>
                  <a:schemeClr val="bg1"/>
                </a:solidFill>
              </a:defRPr>
            </a:lvl4pPr>
            <a:lvl5pPr marL="0" indent="0" algn="l">
              <a:lnSpc>
                <a:spcPct val="110000"/>
              </a:lnSpc>
              <a:spcBef>
                <a:spcPts val="0"/>
              </a:spcBef>
              <a:spcAft>
                <a:spcPts val="0"/>
              </a:spcAft>
              <a:buNone/>
              <a:defRPr sz="1200" b="0" cap="all">
                <a:solidFill>
                  <a:schemeClr val="bg1"/>
                </a:solidFill>
              </a:defRPr>
            </a:lvl5pPr>
            <a:lvl6pPr marL="0" indent="0" algn="l">
              <a:lnSpc>
                <a:spcPct val="110000"/>
              </a:lnSpc>
              <a:spcBef>
                <a:spcPts val="0"/>
              </a:spcBef>
              <a:spcAft>
                <a:spcPts val="0"/>
              </a:spcAft>
              <a:buNone/>
              <a:defRPr sz="1200" b="0" cap="all">
                <a:solidFill>
                  <a:schemeClr val="bg1"/>
                </a:solidFill>
              </a:defRPr>
            </a:lvl6pPr>
            <a:lvl7pPr marL="0" indent="0" algn="l">
              <a:lnSpc>
                <a:spcPct val="110000"/>
              </a:lnSpc>
              <a:spcBef>
                <a:spcPts val="0"/>
              </a:spcBef>
              <a:spcAft>
                <a:spcPts val="0"/>
              </a:spcAft>
              <a:buNone/>
              <a:defRPr sz="1200" b="0" cap="all">
                <a:solidFill>
                  <a:schemeClr val="bg1"/>
                </a:solidFill>
              </a:defRPr>
            </a:lvl7pPr>
            <a:lvl8pPr marL="0" indent="0" algn="l">
              <a:lnSpc>
                <a:spcPct val="110000"/>
              </a:lnSpc>
              <a:spcBef>
                <a:spcPts val="0"/>
              </a:spcBef>
              <a:spcAft>
                <a:spcPts val="0"/>
              </a:spcAft>
              <a:buNone/>
              <a:defRPr sz="1200" b="0" cap="all">
                <a:solidFill>
                  <a:schemeClr val="bg1"/>
                </a:solidFill>
              </a:defRPr>
            </a:lvl8pPr>
            <a:lvl9pPr marL="0" indent="0" algn="l">
              <a:lnSpc>
                <a:spcPct val="110000"/>
              </a:lnSpc>
              <a:spcBef>
                <a:spcPts val="0"/>
              </a:spcBef>
              <a:spcAft>
                <a:spcPts val="0"/>
              </a:spcAft>
              <a:buNone/>
              <a:defRPr sz="1200" b="0" cap="all">
                <a:solidFill>
                  <a:schemeClr val="bg1"/>
                </a:solidFill>
              </a:defRPr>
            </a:lvl9pPr>
          </a:lstStyle>
          <a:p>
            <a:pPr lvl="0"/>
            <a:r>
              <a:rPr lang="de-DE" noProof="0" dirty="0"/>
              <a:t>UNTERTITEL BEI BEDARF</a:t>
            </a:r>
            <a:br>
              <a:rPr lang="de-DE" noProof="0" dirty="0"/>
            </a:br>
            <a:r>
              <a:rPr lang="de-DE" noProof="0" dirty="0"/>
              <a:t>AUTOR, ORT, DATUM</a:t>
            </a:r>
          </a:p>
        </p:txBody>
      </p:sp>
      <p:sp>
        <p:nvSpPr>
          <p:cNvPr id="22" name="ClipArt Placeholder 88"/>
          <p:cNvSpPr>
            <a:spLocks noGrp="1"/>
          </p:cNvSpPr>
          <p:nvPr>
            <p:ph type="clipArt" sz="quarter" idx="13" hasCustomPrompt="1"/>
          </p:nvPr>
        </p:nvSpPr>
        <p:spPr bwMode="gray">
          <a:xfrm>
            <a:off x="0" y="1232694"/>
            <a:ext cx="630000" cy="630000"/>
          </a:xfrm>
          <a:solidFill>
            <a:schemeClr val="accent4"/>
          </a:solidFill>
        </p:spPr>
        <p:txBody>
          <a:bodyPr anchor="ctr"/>
          <a:lstStyle>
            <a:lvl1pPr algn="ctr">
              <a:defRPr sz="800" b="0" i="1">
                <a:solidFill>
                  <a:schemeClr val="bg1"/>
                </a:solidFill>
              </a:defRPr>
            </a:lvl1pPr>
          </a:lstStyle>
          <a:p>
            <a:r>
              <a:rPr lang="de-DE" noProof="0" dirty="0"/>
              <a:t>Füge dein</a:t>
            </a:r>
            <a:br>
              <a:rPr lang="de-DE" noProof="0" dirty="0"/>
            </a:br>
            <a:r>
              <a:rPr lang="de-DE" noProof="0" dirty="0"/>
              <a:t>Icon </a:t>
            </a:r>
            <a:br>
              <a:rPr lang="de-DE" noProof="0" dirty="0"/>
            </a:br>
            <a:r>
              <a:rPr lang="de-DE" noProof="0" dirty="0"/>
              <a:t>hier ein</a:t>
            </a:r>
          </a:p>
        </p:txBody>
      </p:sp>
      <p:sp>
        <p:nvSpPr>
          <p:cNvPr id="116" name="Picture Placeholder 3"/>
          <p:cNvSpPr>
            <a:spLocks noGrp="1"/>
          </p:cNvSpPr>
          <p:nvPr>
            <p:ph type="pic" sz="quarter" idx="18" hasCustomPrompt="1"/>
          </p:nvPr>
        </p:nvSpPr>
        <p:spPr bwMode="gray">
          <a:xfrm>
            <a:off x="0" y="0"/>
            <a:ext cx="9143999" cy="5143499"/>
          </a:xfrm>
          <a:custGeom>
            <a:avLst/>
            <a:gdLst/>
            <a:ahLst/>
            <a:cxnLst/>
            <a:rect l="l" t="t" r="r" b="b"/>
            <a:pathLst>
              <a:path w="9143999" h="5143499">
                <a:moveTo>
                  <a:pt x="7750850" y="109788"/>
                </a:moveTo>
                <a:lnTo>
                  <a:pt x="7750850" y="1394988"/>
                </a:lnTo>
                <a:lnTo>
                  <a:pt x="9036050" y="1394988"/>
                </a:lnTo>
                <a:lnTo>
                  <a:pt x="9036050" y="109788"/>
                </a:lnTo>
                <a:close/>
                <a:moveTo>
                  <a:pt x="0" y="0"/>
                </a:moveTo>
                <a:lnTo>
                  <a:pt x="9143999" y="0"/>
                </a:lnTo>
                <a:lnTo>
                  <a:pt x="9143999" y="5143499"/>
                </a:lnTo>
                <a:lnTo>
                  <a:pt x="0" y="5143499"/>
                </a:lnTo>
                <a:close/>
              </a:path>
            </a:pathLst>
          </a:custGeom>
          <a:noFill/>
        </p:spPr>
        <p:txBody>
          <a:bodyPr lIns="5040000" anchor="ctr"/>
          <a:lstStyle>
            <a:lvl1pPr marL="0" marR="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sz="1000">
                <a:solidFill>
                  <a:schemeClr val="tx1"/>
                </a:solidFill>
              </a:defRPr>
            </a:lvl1pPr>
          </a:lstStyle>
          <a:p>
            <a:r>
              <a:rPr lang="de-DE" noProof="0" dirty="0"/>
              <a:t/>
            </a:r>
            <a:br>
              <a:rPr lang="de-DE" noProof="0" dirty="0"/>
            </a:br>
            <a:r>
              <a:rPr lang="de-DE" noProof="0" dirty="0"/>
              <a:t>Klicke auf das Icon, um ein Bild einzufügen</a:t>
            </a:r>
            <a:br>
              <a:rPr lang="de-DE" noProof="0" dirty="0"/>
            </a:br>
            <a:r>
              <a:rPr lang="de-DE" noProof="0" dirty="0"/>
              <a:t/>
            </a:r>
            <a:br>
              <a:rPr lang="de-DE" noProof="0" dirty="0"/>
            </a:br>
            <a:r>
              <a:rPr lang="de-DE" noProof="0" dirty="0"/>
              <a:t>Verschiebe das Bild in den Hintergrund, um den Text zu bearbeiten </a:t>
            </a:r>
            <a:br>
              <a:rPr lang="de-DE" noProof="0" dirty="0"/>
            </a:br>
            <a:r>
              <a:rPr lang="de-DE" noProof="0" dirty="0"/>
              <a:t>(Bild auswählen &gt; Start &gt; Anordnen &gt; „In den Hintergrund“)</a:t>
            </a:r>
            <a:br>
              <a:rPr lang="de-DE" noProof="0" dirty="0"/>
            </a:br>
            <a:r>
              <a:rPr lang="de-DE" noProof="0" dirty="0"/>
              <a:t/>
            </a:r>
            <a:br>
              <a:rPr lang="de-DE" noProof="0" dirty="0"/>
            </a:br>
            <a:r>
              <a:rPr lang="de-DE" noProof="0" dirty="0"/>
              <a:t>Bitte verwende für deine Präsentation vorrangig Bilder aus unserer Folienbibliothek. Solltest du dort kein passendes Motiv finden, dann achte bei der Suche bitte auf unsere Kaufland Bildsprache: </a:t>
            </a:r>
            <a:br>
              <a:rPr lang="de-DE" noProof="0" dirty="0"/>
            </a:br>
            <a:r>
              <a:rPr lang="de-DE" noProof="0" dirty="0"/>
              <a:t/>
            </a:r>
            <a:br>
              <a:rPr lang="de-DE" noProof="0" dirty="0"/>
            </a:br>
            <a:r>
              <a:rPr lang="de-DE" noProof="0" dirty="0"/>
              <a:t>Wir zeigen Menschen, Mitarbeiter und Produkte immer in realistischen Alltagssituationen – </a:t>
            </a:r>
            <a:r>
              <a:rPr lang="de-DE" noProof="0" dirty="0" err="1"/>
              <a:t>ungestellt</a:t>
            </a:r>
            <a:r>
              <a:rPr lang="de-DE" noProof="0" dirty="0"/>
              <a:t>, lebendig und authentisch. </a:t>
            </a:r>
          </a:p>
          <a:p>
            <a:endParaRPr lang="de-DE" noProof="0" dirty="0"/>
          </a:p>
        </p:txBody>
      </p:sp>
      <p:grpSp>
        <p:nvGrpSpPr>
          <p:cNvPr id="137" name="Gruppieren 136"/>
          <p:cNvGrpSpPr/>
          <p:nvPr/>
        </p:nvGrpSpPr>
        <p:grpSpPr>
          <a:xfrm>
            <a:off x="7750850" y="109788"/>
            <a:ext cx="1285200" cy="1285200"/>
            <a:chOff x="-3889375" y="0"/>
            <a:chExt cx="3600450" cy="3600450"/>
          </a:xfrm>
        </p:grpSpPr>
        <p:sp>
          <p:nvSpPr>
            <p:cNvPr id="138" name="AutoShape 169"/>
            <p:cNvSpPr>
              <a:spLocks noChangeAspect="1" noChangeArrowheads="1" noTextEdit="1"/>
            </p:cNvSpPr>
            <p:nvPr userDrawn="1"/>
          </p:nvSpPr>
          <p:spPr bwMode="auto">
            <a:xfrm>
              <a:off x="-3889375" y="0"/>
              <a:ext cx="3600450"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9" name="Freeform 171"/>
            <p:cNvSpPr>
              <a:spLocks/>
            </p:cNvSpPr>
            <p:nvPr userDrawn="1"/>
          </p:nvSpPr>
          <p:spPr bwMode="auto">
            <a:xfrm>
              <a:off x="-3889375" y="0"/>
              <a:ext cx="3600450" cy="3600450"/>
            </a:xfrm>
            <a:custGeom>
              <a:avLst/>
              <a:gdLst>
                <a:gd name="T0" fmla="*/ 2268 w 2268"/>
                <a:gd name="T1" fmla="*/ 0 h 2268"/>
                <a:gd name="T2" fmla="*/ 0 w 2268"/>
                <a:gd name="T3" fmla="*/ 0 h 2268"/>
                <a:gd name="T4" fmla="*/ 0 w 2268"/>
                <a:gd name="T5" fmla="*/ 2268 h 2268"/>
                <a:gd name="T6" fmla="*/ 2268 w 2268"/>
                <a:gd name="T7" fmla="*/ 2268 h 2268"/>
                <a:gd name="T8" fmla="*/ 2268 w 2268"/>
                <a:gd name="T9" fmla="*/ 0 h 2268"/>
                <a:gd name="T10" fmla="*/ 2268 w 2268"/>
                <a:gd name="T11" fmla="*/ 0 h 2268"/>
              </a:gdLst>
              <a:ahLst/>
              <a:cxnLst>
                <a:cxn ang="0">
                  <a:pos x="T0" y="T1"/>
                </a:cxn>
                <a:cxn ang="0">
                  <a:pos x="T2" y="T3"/>
                </a:cxn>
                <a:cxn ang="0">
                  <a:pos x="T4" y="T5"/>
                </a:cxn>
                <a:cxn ang="0">
                  <a:pos x="T6" y="T7"/>
                </a:cxn>
                <a:cxn ang="0">
                  <a:pos x="T8" y="T9"/>
                </a:cxn>
                <a:cxn ang="0">
                  <a:pos x="T10" y="T11"/>
                </a:cxn>
              </a:cxnLst>
              <a:rect l="0" t="0" r="r" b="b"/>
              <a:pathLst>
                <a:path w="2268" h="2268">
                  <a:moveTo>
                    <a:pt x="2268" y="0"/>
                  </a:moveTo>
                  <a:lnTo>
                    <a:pt x="0" y="0"/>
                  </a:lnTo>
                  <a:lnTo>
                    <a:pt x="0" y="2268"/>
                  </a:lnTo>
                  <a:lnTo>
                    <a:pt x="2268" y="2268"/>
                  </a:lnTo>
                  <a:lnTo>
                    <a:pt x="2268" y="0"/>
                  </a:lnTo>
                  <a:lnTo>
                    <a:pt x="226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sp>
          <p:nvSpPr>
            <p:cNvPr id="140" name="Freeform 172"/>
            <p:cNvSpPr>
              <a:spLocks noEditPoints="1"/>
            </p:cNvSpPr>
            <p:nvPr userDrawn="1"/>
          </p:nvSpPr>
          <p:spPr bwMode="auto">
            <a:xfrm>
              <a:off x="-3752850" y="138113"/>
              <a:ext cx="3327400" cy="3325813"/>
            </a:xfrm>
            <a:custGeom>
              <a:avLst/>
              <a:gdLst>
                <a:gd name="T0" fmla="*/ 0 w 2096"/>
                <a:gd name="T1" fmla="*/ 0 h 2095"/>
                <a:gd name="T2" fmla="*/ 0 w 2096"/>
                <a:gd name="T3" fmla="*/ 2095 h 2095"/>
                <a:gd name="T4" fmla="*/ 2096 w 2096"/>
                <a:gd name="T5" fmla="*/ 2095 h 2095"/>
                <a:gd name="T6" fmla="*/ 2096 w 2096"/>
                <a:gd name="T7" fmla="*/ 0 h 2095"/>
                <a:gd name="T8" fmla="*/ 0 w 2096"/>
                <a:gd name="T9" fmla="*/ 0 h 2095"/>
                <a:gd name="T10" fmla="*/ 2009 w 2096"/>
                <a:gd name="T11" fmla="*/ 2008 h 2095"/>
                <a:gd name="T12" fmla="*/ 87 w 2096"/>
                <a:gd name="T13" fmla="*/ 2008 h 2095"/>
                <a:gd name="T14" fmla="*/ 87 w 2096"/>
                <a:gd name="T15" fmla="*/ 86 h 2095"/>
                <a:gd name="T16" fmla="*/ 2009 w 2096"/>
                <a:gd name="T17" fmla="*/ 86 h 2095"/>
                <a:gd name="T18" fmla="*/ 2009 w 2096"/>
                <a:gd name="T19" fmla="*/ 2008 h 2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96" h="2095">
                  <a:moveTo>
                    <a:pt x="0" y="0"/>
                  </a:moveTo>
                  <a:lnTo>
                    <a:pt x="0" y="2095"/>
                  </a:lnTo>
                  <a:lnTo>
                    <a:pt x="2096" y="2095"/>
                  </a:lnTo>
                  <a:lnTo>
                    <a:pt x="2096" y="0"/>
                  </a:lnTo>
                  <a:lnTo>
                    <a:pt x="0" y="0"/>
                  </a:lnTo>
                  <a:close/>
                  <a:moveTo>
                    <a:pt x="2009" y="2008"/>
                  </a:moveTo>
                  <a:lnTo>
                    <a:pt x="87" y="2008"/>
                  </a:lnTo>
                  <a:lnTo>
                    <a:pt x="87" y="86"/>
                  </a:lnTo>
                  <a:lnTo>
                    <a:pt x="2009" y="86"/>
                  </a:lnTo>
                  <a:lnTo>
                    <a:pt x="2009" y="200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1" name="Rectangle 173"/>
            <p:cNvSpPr>
              <a:spLocks noChangeArrowheads="1"/>
            </p:cNvSpPr>
            <p:nvPr userDrawn="1"/>
          </p:nvSpPr>
          <p:spPr bwMode="auto">
            <a:xfrm>
              <a:off x="-2705100" y="1443038"/>
              <a:ext cx="608013" cy="60801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2" name="Freeform 174"/>
            <p:cNvSpPr>
              <a:spLocks/>
            </p:cNvSpPr>
            <p:nvPr userDrawn="1"/>
          </p:nvSpPr>
          <p:spPr bwMode="auto">
            <a:xfrm>
              <a:off x="-2005013" y="1441450"/>
              <a:ext cx="608013" cy="609600"/>
            </a:xfrm>
            <a:custGeom>
              <a:avLst/>
              <a:gdLst>
                <a:gd name="T0" fmla="*/ 0 w 383"/>
                <a:gd name="T1" fmla="*/ 0 h 384"/>
                <a:gd name="T2" fmla="*/ 0 w 383"/>
                <a:gd name="T3" fmla="*/ 384 h 384"/>
                <a:gd name="T4" fmla="*/ 383 w 383"/>
                <a:gd name="T5" fmla="*/ 384 h 384"/>
                <a:gd name="T6" fmla="*/ 0 w 383"/>
                <a:gd name="T7" fmla="*/ 0 h 384"/>
              </a:gdLst>
              <a:ahLst/>
              <a:cxnLst>
                <a:cxn ang="0">
                  <a:pos x="T0" y="T1"/>
                </a:cxn>
                <a:cxn ang="0">
                  <a:pos x="T2" y="T3"/>
                </a:cxn>
                <a:cxn ang="0">
                  <a:pos x="T4" y="T5"/>
                </a:cxn>
                <a:cxn ang="0">
                  <a:pos x="T6" y="T7"/>
                </a:cxn>
              </a:cxnLst>
              <a:rect l="0" t="0" r="r" b="b"/>
              <a:pathLst>
                <a:path w="383" h="384">
                  <a:moveTo>
                    <a:pt x="0" y="0"/>
                  </a:moveTo>
                  <a:lnTo>
                    <a:pt x="0" y="384"/>
                  </a:lnTo>
                  <a:lnTo>
                    <a:pt x="383" y="384"/>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3" name="Rectangle 175"/>
            <p:cNvSpPr>
              <a:spLocks noChangeArrowheads="1"/>
            </p:cNvSpPr>
            <p:nvPr userDrawn="1"/>
          </p:nvSpPr>
          <p:spPr bwMode="auto">
            <a:xfrm>
              <a:off x="-2705100" y="742950"/>
              <a:ext cx="608013" cy="60801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4" name="Freeform 176"/>
            <p:cNvSpPr>
              <a:spLocks/>
            </p:cNvSpPr>
            <p:nvPr userDrawn="1"/>
          </p:nvSpPr>
          <p:spPr bwMode="auto">
            <a:xfrm>
              <a:off x="-2005013" y="742950"/>
              <a:ext cx="608013" cy="608013"/>
            </a:xfrm>
            <a:custGeom>
              <a:avLst/>
              <a:gdLst>
                <a:gd name="T0" fmla="*/ 0 w 383"/>
                <a:gd name="T1" fmla="*/ 0 h 383"/>
                <a:gd name="T2" fmla="*/ 0 w 383"/>
                <a:gd name="T3" fmla="*/ 383 h 383"/>
                <a:gd name="T4" fmla="*/ 383 w 383"/>
                <a:gd name="T5" fmla="*/ 0 h 383"/>
                <a:gd name="T6" fmla="*/ 0 w 383"/>
                <a:gd name="T7" fmla="*/ 0 h 383"/>
              </a:gdLst>
              <a:ahLst/>
              <a:cxnLst>
                <a:cxn ang="0">
                  <a:pos x="T0" y="T1"/>
                </a:cxn>
                <a:cxn ang="0">
                  <a:pos x="T2" y="T3"/>
                </a:cxn>
                <a:cxn ang="0">
                  <a:pos x="T4" y="T5"/>
                </a:cxn>
                <a:cxn ang="0">
                  <a:pos x="T6" y="T7"/>
                </a:cxn>
              </a:cxnLst>
              <a:rect l="0" t="0" r="r" b="b"/>
              <a:pathLst>
                <a:path w="383" h="383">
                  <a:moveTo>
                    <a:pt x="0" y="0"/>
                  </a:moveTo>
                  <a:lnTo>
                    <a:pt x="0" y="383"/>
                  </a:lnTo>
                  <a:lnTo>
                    <a:pt x="383" y="0"/>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5" name="Freeform 177"/>
            <p:cNvSpPr>
              <a:spLocks/>
            </p:cNvSpPr>
            <p:nvPr userDrawn="1"/>
          </p:nvSpPr>
          <p:spPr bwMode="auto">
            <a:xfrm>
              <a:off x="-3346450" y="2409825"/>
              <a:ext cx="358775" cy="441325"/>
            </a:xfrm>
            <a:custGeom>
              <a:avLst/>
              <a:gdLst>
                <a:gd name="T0" fmla="*/ 224 w 226"/>
                <a:gd name="T1" fmla="*/ 0 h 278"/>
                <a:gd name="T2" fmla="*/ 154 w 226"/>
                <a:gd name="T3" fmla="*/ 0 h 278"/>
                <a:gd name="T4" fmla="*/ 62 w 226"/>
                <a:gd name="T5" fmla="*/ 128 h 278"/>
                <a:gd name="T6" fmla="*/ 62 w 226"/>
                <a:gd name="T7" fmla="*/ 0 h 278"/>
                <a:gd name="T8" fmla="*/ 0 w 226"/>
                <a:gd name="T9" fmla="*/ 0 h 278"/>
                <a:gd name="T10" fmla="*/ 0 w 226"/>
                <a:gd name="T11" fmla="*/ 278 h 278"/>
                <a:gd name="T12" fmla="*/ 62 w 226"/>
                <a:gd name="T13" fmla="*/ 278 h 278"/>
                <a:gd name="T14" fmla="*/ 62 w 226"/>
                <a:gd name="T15" fmla="*/ 153 h 278"/>
                <a:gd name="T16" fmla="*/ 154 w 226"/>
                <a:gd name="T17" fmla="*/ 278 h 278"/>
                <a:gd name="T18" fmla="*/ 226 w 226"/>
                <a:gd name="T19" fmla="*/ 278 h 278"/>
                <a:gd name="T20" fmla="*/ 119 w 226"/>
                <a:gd name="T21" fmla="*/ 136 h 278"/>
                <a:gd name="T22" fmla="*/ 224 w 226"/>
                <a:gd name="T23"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6" h="278">
                  <a:moveTo>
                    <a:pt x="224" y="0"/>
                  </a:moveTo>
                  <a:lnTo>
                    <a:pt x="154" y="0"/>
                  </a:lnTo>
                  <a:lnTo>
                    <a:pt x="62" y="128"/>
                  </a:lnTo>
                  <a:lnTo>
                    <a:pt x="62" y="0"/>
                  </a:lnTo>
                  <a:lnTo>
                    <a:pt x="0" y="0"/>
                  </a:lnTo>
                  <a:lnTo>
                    <a:pt x="0" y="278"/>
                  </a:lnTo>
                  <a:lnTo>
                    <a:pt x="62" y="278"/>
                  </a:lnTo>
                  <a:lnTo>
                    <a:pt x="62" y="153"/>
                  </a:lnTo>
                  <a:lnTo>
                    <a:pt x="154" y="278"/>
                  </a:lnTo>
                  <a:lnTo>
                    <a:pt x="226" y="278"/>
                  </a:lnTo>
                  <a:lnTo>
                    <a:pt x="119" y="136"/>
                  </a:lnTo>
                  <a:lnTo>
                    <a:pt x="224"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6" name="Freeform 178"/>
            <p:cNvSpPr>
              <a:spLocks/>
            </p:cNvSpPr>
            <p:nvPr userDrawn="1"/>
          </p:nvSpPr>
          <p:spPr bwMode="auto">
            <a:xfrm>
              <a:off x="-2625725" y="2557463"/>
              <a:ext cx="292100" cy="300038"/>
            </a:xfrm>
            <a:custGeom>
              <a:avLst/>
              <a:gdLst>
                <a:gd name="T0" fmla="*/ 1303 w 1839"/>
                <a:gd name="T1" fmla="*/ 1215 h 1890"/>
                <a:gd name="T2" fmla="*/ 906 w 1839"/>
                <a:gd name="T3" fmla="*/ 1425 h 1890"/>
                <a:gd name="T4" fmla="*/ 544 w 1839"/>
                <a:gd name="T5" fmla="*/ 1036 h 1890"/>
                <a:gd name="T6" fmla="*/ 544 w 1839"/>
                <a:gd name="T7" fmla="*/ 0 h 1890"/>
                <a:gd name="T8" fmla="*/ 0 w 1839"/>
                <a:gd name="T9" fmla="*/ 0 h 1890"/>
                <a:gd name="T10" fmla="*/ 0 w 1839"/>
                <a:gd name="T11" fmla="*/ 1143 h 1890"/>
                <a:gd name="T12" fmla="*/ 711 w 1839"/>
                <a:gd name="T13" fmla="*/ 1890 h 1890"/>
                <a:gd name="T14" fmla="*/ 1303 w 1839"/>
                <a:gd name="T15" fmla="*/ 1627 h 1890"/>
                <a:gd name="T16" fmla="*/ 1303 w 1839"/>
                <a:gd name="T17" fmla="*/ 1850 h 1890"/>
                <a:gd name="T18" fmla="*/ 1839 w 1839"/>
                <a:gd name="T19" fmla="*/ 1850 h 1890"/>
                <a:gd name="T20" fmla="*/ 1839 w 1839"/>
                <a:gd name="T21" fmla="*/ 0 h 1890"/>
                <a:gd name="T22" fmla="*/ 1303 w 1839"/>
                <a:gd name="T23" fmla="*/ 0 h 1890"/>
                <a:gd name="T24" fmla="*/ 1303 w 1839"/>
                <a:gd name="T25" fmla="*/ 1215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9" h="1890">
                  <a:moveTo>
                    <a:pt x="1303" y="1215"/>
                  </a:moveTo>
                  <a:cubicBezTo>
                    <a:pt x="1231" y="1306"/>
                    <a:pt x="1104" y="1425"/>
                    <a:pt x="906" y="1425"/>
                  </a:cubicBezTo>
                  <a:cubicBezTo>
                    <a:pt x="679" y="1425"/>
                    <a:pt x="544" y="1278"/>
                    <a:pt x="544" y="1036"/>
                  </a:cubicBezTo>
                  <a:cubicBezTo>
                    <a:pt x="544" y="0"/>
                    <a:pt x="544" y="0"/>
                    <a:pt x="544" y="0"/>
                  </a:cubicBezTo>
                  <a:cubicBezTo>
                    <a:pt x="0" y="0"/>
                    <a:pt x="0" y="0"/>
                    <a:pt x="0" y="0"/>
                  </a:cubicBezTo>
                  <a:cubicBezTo>
                    <a:pt x="0" y="1143"/>
                    <a:pt x="0" y="1143"/>
                    <a:pt x="0" y="1143"/>
                  </a:cubicBezTo>
                  <a:cubicBezTo>
                    <a:pt x="0" y="1580"/>
                    <a:pt x="251" y="1890"/>
                    <a:pt x="711" y="1890"/>
                  </a:cubicBezTo>
                  <a:cubicBezTo>
                    <a:pt x="1017" y="1890"/>
                    <a:pt x="1207" y="1731"/>
                    <a:pt x="1303" y="1627"/>
                  </a:cubicBezTo>
                  <a:cubicBezTo>
                    <a:pt x="1303" y="1850"/>
                    <a:pt x="1303" y="1850"/>
                    <a:pt x="1303" y="1850"/>
                  </a:cubicBezTo>
                  <a:cubicBezTo>
                    <a:pt x="1839" y="1850"/>
                    <a:pt x="1839" y="1850"/>
                    <a:pt x="1839" y="1850"/>
                  </a:cubicBezTo>
                  <a:cubicBezTo>
                    <a:pt x="1839" y="0"/>
                    <a:pt x="1839" y="0"/>
                    <a:pt x="1839" y="0"/>
                  </a:cubicBezTo>
                  <a:cubicBezTo>
                    <a:pt x="1303" y="0"/>
                    <a:pt x="1303" y="0"/>
                    <a:pt x="1303" y="0"/>
                  </a:cubicBezTo>
                  <a:lnTo>
                    <a:pt x="1303" y="121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7" name="Freeform 179"/>
            <p:cNvSpPr>
              <a:spLocks noEditPoints="1"/>
            </p:cNvSpPr>
            <p:nvPr userDrawn="1"/>
          </p:nvSpPr>
          <p:spPr bwMode="auto">
            <a:xfrm>
              <a:off x="-1865313" y="2551113"/>
              <a:ext cx="314325" cy="306388"/>
            </a:xfrm>
            <a:custGeom>
              <a:avLst/>
              <a:gdLst>
                <a:gd name="T0" fmla="*/ 1441 w 1977"/>
                <a:gd name="T1" fmla="*/ 234 h 1930"/>
                <a:gd name="T2" fmla="*/ 874 w 1977"/>
                <a:gd name="T3" fmla="*/ 0 h 1930"/>
                <a:gd name="T4" fmla="*/ 0 w 1977"/>
                <a:gd name="T5" fmla="*/ 973 h 1930"/>
                <a:gd name="T6" fmla="*/ 874 w 1977"/>
                <a:gd name="T7" fmla="*/ 1930 h 1930"/>
                <a:gd name="T8" fmla="*/ 1441 w 1977"/>
                <a:gd name="T9" fmla="*/ 1699 h 1930"/>
                <a:gd name="T10" fmla="*/ 1441 w 1977"/>
                <a:gd name="T11" fmla="*/ 1890 h 1930"/>
                <a:gd name="T12" fmla="*/ 1977 w 1977"/>
                <a:gd name="T13" fmla="*/ 1890 h 1930"/>
                <a:gd name="T14" fmla="*/ 1977 w 1977"/>
                <a:gd name="T15" fmla="*/ 40 h 1930"/>
                <a:gd name="T16" fmla="*/ 1441 w 1977"/>
                <a:gd name="T17" fmla="*/ 40 h 1930"/>
                <a:gd name="T18" fmla="*/ 1441 w 1977"/>
                <a:gd name="T19" fmla="*/ 234 h 1930"/>
                <a:gd name="T20" fmla="*/ 1441 w 1977"/>
                <a:gd name="T21" fmla="*/ 1298 h 1930"/>
                <a:gd name="T22" fmla="*/ 1048 w 1977"/>
                <a:gd name="T23" fmla="*/ 1473 h 1930"/>
                <a:gd name="T24" fmla="*/ 560 w 1977"/>
                <a:gd name="T25" fmla="*/ 965 h 1930"/>
                <a:gd name="T26" fmla="*/ 1048 w 1977"/>
                <a:gd name="T27" fmla="*/ 457 h 1930"/>
                <a:gd name="T28" fmla="*/ 1441 w 1977"/>
                <a:gd name="T29" fmla="*/ 631 h 1930"/>
                <a:gd name="T30" fmla="*/ 1441 w 1977"/>
                <a:gd name="T31" fmla="*/ 1298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7" h="1930">
                  <a:moveTo>
                    <a:pt x="1441" y="234"/>
                  </a:moveTo>
                  <a:cubicBezTo>
                    <a:pt x="1330" y="127"/>
                    <a:pt x="1140" y="0"/>
                    <a:pt x="874" y="0"/>
                  </a:cubicBezTo>
                  <a:cubicBezTo>
                    <a:pt x="358" y="0"/>
                    <a:pt x="0" y="429"/>
                    <a:pt x="0" y="973"/>
                  </a:cubicBezTo>
                  <a:cubicBezTo>
                    <a:pt x="0" y="1509"/>
                    <a:pt x="354" y="1930"/>
                    <a:pt x="874" y="1930"/>
                  </a:cubicBezTo>
                  <a:cubicBezTo>
                    <a:pt x="1156" y="1930"/>
                    <a:pt x="1342" y="1799"/>
                    <a:pt x="1441" y="1699"/>
                  </a:cubicBezTo>
                  <a:cubicBezTo>
                    <a:pt x="1441" y="1890"/>
                    <a:pt x="1441" y="1890"/>
                    <a:pt x="1441" y="1890"/>
                  </a:cubicBezTo>
                  <a:cubicBezTo>
                    <a:pt x="1977" y="1890"/>
                    <a:pt x="1977" y="1890"/>
                    <a:pt x="1977" y="1890"/>
                  </a:cubicBezTo>
                  <a:cubicBezTo>
                    <a:pt x="1977" y="40"/>
                    <a:pt x="1977" y="40"/>
                    <a:pt x="1977" y="40"/>
                  </a:cubicBezTo>
                  <a:cubicBezTo>
                    <a:pt x="1441" y="40"/>
                    <a:pt x="1441" y="40"/>
                    <a:pt x="1441" y="40"/>
                  </a:cubicBezTo>
                  <a:lnTo>
                    <a:pt x="1441" y="234"/>
                  </a:lnTo>
                  <a:close/>
                  <a:moveTo>
                    <a:pt x="1441" y="1298"/>
                  </a:moveTo>
                  <a:cubicBezTo>
                    <a:pt x="1366" y="1382"/>
                    <a:pt x="1239" y="1473"/>
                    <a:pt x="1048" y="1473"/>
                  </a:cubicBezTo>
                  <a:cubicBezTo>
                    <a:pt x="762" y="1473"/>
                    <a:pt x="560" y="1266"/>
                    <a:pt x="560" y="965"/>
                  </a:cubicBezTo>
                  <a:cubicBezTo>
                    <a:pt x="560" y="663"/>
                    <a:pt x="762" y="457"/>
                    <a:pt x="1048" y="457"/>
                  </a:cubicBezTo>
                  <a:cubicBezTo>
                    <a:pt x="1239" y="457"/>
                    <a:pt x="1366" y="548"/>
                    <a:pt x="1441" y="631"/>
                  </a:cubicBezTo>
                  <a:lnTo>
                    <a:pt x="1441" y="129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8" name="Freeform 180"/>
            <p:cNvSpPr>
              <a:spLocks noEditPoints="1"/>
            </p:cNvSpPr>
            <p:nvPr userDrawn="1"/>
          </p:nvSpPr>
          <p:spPr bwMode="auto">
            <a:xfrm>
              <a:off x="-3000375" y="2551113"/>
              <a:ext cx="314325" cy="306388"/>
            </a:xfrm>
            <a:custGeom>
              <a:avLst/>
              <a:gdLst>
                <a:gd name="T0" fmla="*/ 1441 w 1977"/>
                <a:gd name="T1" fmla="*/ 234 h 1930"/>
                <a:gd name="T2" fmla="*/ 873 w 1977"/>
                <a:gd name="T3" fmla="*/ 0 h 1930"/>
                <a:gd name="T4" fmla="*/ 0 w 1977"/>
                <a:gd name="T5" fmla="*/ 973 h 1930"/>
                <a:gd name="T6" fmla="*/ 873 w 1977"/>
                <a:gd name="T7" fmla="*/ 1930 h 1930"/>
                <a:gd name="T8" fmla="*/ 1441 w 1977"/>
                <a:gd name="T9" fmla="*/ 1699 h 1930"/>
                <a:gd name="T10" fmla="*/ 1441 w 1977"/>
                <a:gd name="T11" fmla="*/ 1890 h 1930"/>
                <a:gd name="T12" fmla="*/ 1977 w 1977"/>
                <a:gd name="T13" fmla="*/ 1890 h 1930"/>
                <a:gd name="T14" fmla="*/ 1977 w 1977"/>
                <a:gd name="T15" fmla="*/ 40 h 1930"/>
                <a:gd name="T16" fmla="*/ 1441 w 1977"/>
                <a:gd name="T17" fmla="*/ 40 h 1930"/>
                <a:gd name="T18" fmla="*/ 1441 w 1977"/>
                <a:gd name="T19" fmla="*/ 234 h 1930"/>
                <a:gd name="T20" fmla="*/ 1441 w 1977"/>
                <a:gd name="T21" fmla="*/ 1298 h 1930"/>
                <a:gd name="T22" fmla="*/ 1048 w 1977"/>
                <a:gd name="T23" fmla="*/ 1473 h 1930"/>
                <a:gd name="T24" fmla="*/ 560 w 1977"/>
                <a:gd name="T25" fmla="*/ 965 h 1930"/>
                <a:gd name="T26" fmla="*/ 1048 w 1977"/>
                <a:gd name="T27" fmla="*/ 457 h 1930"/>
                <a:gd name="T28" fmla="*/ 1441 w 1977"/>
                <a:gd name="T29" fmla="*/ 631 h 1930"/>
                <a:gd name="T30" fmla="*/ 1441 w 1977"/>
                <a:gd name="T31" fmla="*/ 1298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7" h="1930">
                  <a:moveTo>
                    <a:pt x="1441" y="234"/>
                  </a:moveTo>
                  <a:cubicBezTo>
                    <a:pt x="1330" y="127"/>
                    <a:pt x="1139" y="0"/>
                    <a:pt x="873" y="0"/>
                  </a:cubicBezTo>
                  <a:cubicBezTo>
                    <a:pt x="357" y="0"/>
                    <a:pt x="0" y="429"/>
                    <a:pt x="0" y="973"/>
                  </a:cubicBezTo>
                  <a:cubicBezTo>
                    <a:pt x="0" y="1509"/>
                    <a:pt x="353" y="1930"/>
                    <a:pt x="873" y="1930"/>
                  </a:cubicBezTo>
                  <a:cubicBezTo>
                    <a:pt x="1155" y="1930"/>
                    <a:pt x="1342" y="1799"/>
                    <a:pt x="1441" y="1699"/>
                  </a:cubicBezTo>
                  <a:cubicBezTo>
                    <a:pt x="1441" y="1890"/>
                    <a:pt x="1441" y="1890"/>
                    <a:pt x="1441" y="1890"/>
                  </a:cubicBezTo>
                  <a:cubicBezTo>
                    <a:pt x="1977" y="1890"/>
                    <a:pt x="1977" y="1890"/>
                    <a:pt x="1977" y="1890"/>
                  </a:cubicBezTo>
                  <a:cubicBezTo>
                    <a:pt x="1977" y="40"/>
                    <a:pt x="1977" y="40"/>
                    <a:pt x="1977" y="40"/>
                  </a:cubicBezTo>
                  <a:cubicBezTo>
                    <a:pt x="1441" y="40"/>
                    <a:pt x="1441" y="40"/>
                    <a:pt x="1441" y="40"/>
                  </a:cubicBezTo>
                  <a:lnTo>
                    <a:pt x="1441" y="234"/>
                  </a:lnTo>
                  <a:close/>
                  <a:moveTo>
                    <a:pt x="1441" y="1298"/>
                  </a:moveTo>
                  <a:cubicBezTo>
                    <a:pt x="1366" y="1382"/>
                    <a:pt x="1239" y="1473"/>
                    <a:pt x="1048" y="1473"/>
                  </a:cubicBezTo>
                  <a:cubicBezTo>
                    <a:pt x="762" y="1473"/>
                    <a:pt x="560" y="1266"/>
                    <a:pt x="560" y="965"/>
                  </a:cubicBezTo>
                  <a:cubicBezTo>
                    <a:pt x="560" y="663"/>
                    <a:pt x="762" y="457"/>
                    <a:pt x="1048" y="457"/>
                  </a:cubicBezTo>
                  <a:cubicBezTo>
                    <a:pt x="1239" y="457"/>
                    <a:pt x="1366" y="548"/>
                    <a:pt x="1441" y="631"/>
                  </a:cubicBezTo>
                  <a:lnTo>
                    <a:pt x="1441" y="129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9" name="Freeform 181"/>
            <p:cNvSpPr>
              <a:spLocks noEditPoints="1"/>
            </p:cNvSpPr>
            <p:nvPr userDrawn="1"/>
          </p:nvSpPr>
          <p:spPr bwMode="auto">
            <a:xfrm>
              <a:off x="-1149350" y="2409825"/>
              <a:ext cx="317500" cy="447675"/>
            </a:xfrm>
            <a:custGeom>
              <a:avLst/>
              <a:gdLst>
                <a:gd name="T0" fmla="*/ 1461 w 1997"/>
                <a:gd name="T1" fmla="*/ 0 h 2819"/>
                <a:gd name="T2" fmla="*/ 1461 w 1997"/>
                <a:gd name="T3" fmla="*/ 1139 h 2819"/>
                <a:gd name="T4" fmla="*/ 873 w 1997"/>
                <a:gd name="T5" fmla="*/ 889 h 2819"/>
                <a:gd name="T6" fmla="*/ 0 w 1997"/>
                <a:gd name="T7" fmla="*/ 1862 h 2819"/>
                <a:gd name="T8" fmla="*/ 873 w 1997"/>
                <a:gd name="T9" fmla="*/ 2819 h 2819"/>
                <a:gd name="T10" fmla="*/ 1461 w 1997"/>
                <a:gd name="T11" fmla="*/ 2568 h 2819"/>
                <a:gd name="T12" fmla="*/ 1461 w 1997"/>
                <a:gd name="T13" fmla="*/ 2779 h 2819"/>
                <a:gd name="T14" fmla="*/ 1997 w 1997"/>
                <a:gd name="T15" fmla="*/ 2779 h 2819"/>
                <a:gd name="T16" fmla="*/ 1997 w 1997"/>
                <a:gd name="T17" fmla="*/ 0 h 2819"/>
                <a:gd name="T18" fmla="*/ 1461 w 1997"/>
                <a:gd name="T19" fmla="*/ 0 h 2819"/>
                <a:gd name="T20" fmla="*/ 1461 w 1997"/>
                <a:gd name="T21" fmla="*/ 2163 h 2819"/>
                <a:gd name="T22" fmla="*/ 1048 w 1997"/>
                <a:gd name="T23" fmla="*/ 2362 h 2819"/>
                <a:gd name="T24" fmla="*/ 560 w 1997"/>
                <a:gd name="T25" fmla="*/ 1854 h 2819"/>
                <a:gd name="T26" fmla="*/ 1048 w 1997"/>
                <a:gd name="T27" fmla="*/ 1346 h 2819"/>
                <a:gd name="T28" fmla="*/ 1461 w 1997"/>
                <a:gd name="T29" fmla="*/ 1544 h 2819"/>
                <a:gd name="T30" fmla="*/ 1461 w 1997"/>
                <a:gd name="T31" fmla="*/ 2163 h 2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97" h="2819">
                  <a:moveTo>
                    <a:pt x="1461" y="0"/>
                  </a:moveTo>
                  <a:cubicBezTo>
                    <a:pt x="1461" y="1139"/>
                    <a:pt x="1461" y="1139"/>
                    <a:pt x="1461" y="1139"/>
                  </a:cubicBezTo>
                  <a:cubicBezTo>
                    <a:pt x="1366" y="1040"/>
                    <a:pt x="1171" y="889"/>
                    <a:pt x="873" y="889"/>
                  </a:cubicBezTo>
                  <a:cubicBezTo>
                    <a:pt x="353" y="889"/>
                    <a:pt x="0" y="1318"/>
                    <a:pt x="0" y="1862"/>
                  </a:cubicBezTo>
                  <a:cubicBezTo>
                    <a:pt x="0" y="2406"/>
                    <a:pt x="361" y="2819"/>
                    <a:pt x="873" y="2819"/>
                  </a:cubicBezTo>
                  <a:cubicBezTo>
                    <a:pt x="1171" y="2819"/>
                    <a:pt x="1366" y="2672"/>
                    <a:pt x="1461" y="2568"/>
                  </a:cubicBezTo>
                  <a:cubicBezTo>
                    <a:pt x="1461" y="2779"/>
                    <a:pt x="1461" y="2779"/>
                    <a:pt x="1461" y="2779"/>
                  </a:cubicBezTo>
                  <a:cubicBezTo>
                    <a:pt x="1997" y="2779"/>
                    <a:pt x="1997" y="2779"/>
                    <a:pt x="1997" y="2779"/>
                  </a:cubicBezTo>
                  <a:cubicBezTo>
                    <a:pt x="1997" y="0"/>
                    <a:pt x="1997" y="0"/>
                    <a:pt x="1997" y="0"/>
                  </a:cubicBezTo>
                  <a:lnTo>
                    <a:pt x="1461" y="0"/>
                  </a:lnTo>
                  <a:close/>
                  <a:moveTo>
                    <a:pt x="1461" y="2163"/>
                  </a:moveTo>
                  <a:cubicBezTo>
                    <a:pt x="1389" y="2255"/>
                    <a:pt x="1254" y="2362"/>
                    <a:pt x="1048" y="2362"/>
                  </a:cubicBezTo>
                  <a:cubicBezTo>
                    <a:pt x="762" y="2362"/>
                    <a:pt x="560" y="2155"/>
                    <a:pt x="560" y="1854"/>
                  </a:cubicBezTo>
                  <a:cubicBezTo>
                    <a:pt x="560" y="1552"/>
                    <a:pt x="762" y="1346"/>
                    <a:pt x="1048" y="1346"/>
                  </a:cubicBezTo>
                  <a:cubicBezTo>
                    <a:pt x="1254" y="1346"/>
                    <a:pt x="1389" y="1453"/>
                    <a:pt x="1461" y="1544"/>
                  </a:cubicBezTo>
                  <a:lnTo>
                    <a:pt x="1461" y="216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50" name="Freeform 182"/>
            <p:cNvSpPr>
              <a:spLocks/>
            </p:cNvSpPr>
            <p:nvPr userDrawn="1"/>
          </p:nvSpPr>
          <p:spPr bwMode="auto">
            <a:xfrm>
              <a:off x="-1487488" y="2551113"/>
              <a:ext cx="290513" cy="300038"/>
            </a:xfrm>
            <a:custGeom>
              <a:avLst/>
              <a:gdLst>
                <a:gd name="T0" fmla="*/ 1128 w 1839"/>
                <a:gd name="T1" fmla="*/ 0 h 1890"/>
                <a:gd name="T2" fmla="*/ 540 w 1839"/>
                <a:gd name="T3" fmla="*/ 262 h 1890"/>
                <a:gd name="T4" fmla="*/ 540 w 1839"/>
                <a:gd name="T5" fmla="*/ 40 h 1890"/>
                <a:gd name="T6" fmla="*/ 0 w 1839"/>
                <a:gd name="T7" fmla="*/ 40 h 1890"/>
                <a:gd name="T8" fmla="*/ 0 w 1839"/>
                <a:gd name="T9" fmla="*/ 1890 h 1890"/>
                <a:gd name="T10" fmla="*/ 540 w 1839"/>
                <a:gd name="T11" fmla="*/ 1890 h 1890"/>
                <a:gd name="T12" fmla="*/ 540 w 1839"/>
                <a:gd name="T13" fmla="*/ 675 h 1890"/>
                <a:gd name="T14" fmla="*/ 937 w 1839"/>
                <a:gd name="T15" fmla="*/ 464 h 1890"/>
                <a:gd name="T16" fmla="*/ 1295 w 1839"/>
                <a:gd name="T17" fmla="*/ 854 h 1890"/>
                <a:gd name="T18" fmla="*/ 1295 w 1839"/>
                <a:gd name="T19" fmla="*/ 1890 h 1890"/>
                <a:gd name="T20" fmla="*/ 1839 w 1839"/>
                <a:gd name="T21" fmla="*/ 1890 h 1890"/>
                <a:gd name="T22" fmla="*/ 1839 w 1839"/>
                <a:gd name="T23" fmla="*/ 746 h 1890"/>
                <a:gd name="T24" fmla="*/ 1128 w 1839"/>
                <a:gd name="T25" fmla="*/ 0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9" h="1890">
                  <a:moveTo>
                    <a:pt x="1128" y="0"/>
                  </a:moveTo>
                  <a:cubicBezTo>
                    <a:pt x="826" y="0"/>
                    <a:pt x="632" y="159"/>
                    <a:pt x="540" y="262"/>
                  </a:cubicBezTo>
                  <a:cubicBezTo>
                    <a:pt x="540" y="40"/>
                    <a:pt x="540" y="40"/>
                    <a:pt x="540" y="40"/>
                  </a:cubicBezTo>
                  <a:cubicBezTo>
                    <a:pt x="0" y="40"/>
                    <a:pt x="0" y="40"/>
                    <a:pt x="0" y="40"/>
                  </a:cubicBezTo>
                  <a:cubicBezTo>
                    <a:pt x="0" y="1890"/>
                    <a:pt x="0" y="1890"/>
                    <a:pt x="0" y="1890"/>
                  </a:cubicBezTo>
                  <a:cubicBezTo>
                    <a:pt x="540" y="1890"/>
                    <a:pt x="540" y="1890"/>
                    <a:pt x="540" y="1890"/>
                  </a:cubicBezTo>
                  <a:cubicBezTo>
                    <a:pt x="540" y="675"/>
                    <a:pt x="540" y="675"/>
                    <a:pt x="540" y="675"/>
                  </a:cubicBezTo>
                  <a:cubicBezTo>
                    <a:pt x="608" y="580"/>
                    <a:pt x="735" y="464"/>
                    <a:pt x="937" y="464"/>
                  </a:cubicBezTo>
                  <a:cubicBezTo>
                    <a:pt x="1164" y="464"/>
                    <a:pt x="1295" y="611"/>
                    <a:pt x="1295" y="854"/>
                  </a:cubicBezTo>
                  <a:cubicBezTo>
                    <a:pt x="1295" y="1890"/>
                    <a:pt x="1295" y="1890"/>
                    <a:pt x="1295" y="1890"/>
                  </a:cubicBezTo>
                  <a:cubicBezTo>
                    <a:pt x="1839" y="1890"/>
                    <a:pt x="1839" y="1890"/>
                    <a:pt x="1839" y="1890"/>
                  </a:cubicBezTo>
                  <a:cubicBezTo>
                    <a:pt x="1839" y="746"/>
                    <a:pt x="1839" y="746"/>
                    <a:pt x="1839" y="746"/>
                  </a:cubicBezTo>
                  <a:cubicBezTo>
                    <a:pt x="1839" y="310"/>
                    <a:pt x="1588" y="0"/>
                    <a:pt x="1128"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51" name="Freeform 183"/>
            <p:cNvSpPr>
              <a:spLocks/>
            </p:cNvSpPr>
            <p:nvPr userDrawn="1"/>
          </p:nvSpPr>
          <p:spPr bwMode="auto">
            <a:xfrm>
              <a:off x="-2286000" y="2403475"/>
              <a:ext cx="238125" cy="447675"/>
            </a:xfrm>
            <a:custGeom>
              <a:avLst/>
              <a:gdLst>
                <a:gd name="T0" fmla="*/ 1128 w 1505"/>
                <a:gd name="T1" fmla="*/ 449 h 2819"/>
                <a:gd name="T2" fmla="*/ 1418 w 1505"/>
                <a:gd name="T3" fmla="*/ 528 h 2819"/>
                <a:gd name="T4" fmla="*/ 1505 w 1505"/>
                <a:gd name="T5" fmla="*/ 115 h 2819"/>
                <a:gd name="T6" fmla="*/ 1009 w 1505"/>
                <a:gd name="T7" fmla="*/ 0 h 2819"/>
                <a:gd name="T8" fmla="*/ 274 w 1505"/>
                <a:gd name="T9" fmla="*/ 750 h 2819"/>
                <a:gd name="T10" fmla="*/ 274 w 1505"/>
                <a:gd name="T11" fmla="*/ 969 h 2819"/>
                <a:gd name="T12" fmla="*/ 0 w 1505"/>
                <a:gd name="T13" fmla="*/ 969 h 2819"/>
                <a:gd name="T14" fmla="*/ 0 w 1505"/>
                <a:gd name="T15" fmla="*/ 1413 h 2819"/>
                <a:gd name="T16" fmla="*/ 274 w 1505"/>
                <a:gd name="T17" fmla="*/ 1413 h 2819"/>
                <a:gd name="T18" fmla="*/ 274 w 1505"/>
                <a:gd name="T19" fmla="*/ 2819 h 2819"/>
                <a:gd name="T20" fmla="*/ 826 w 1505"/>
                <a:gd name="T21" fmla="*/ 2819 h 2819"/>
                <a:gd name="T22" fmla="*/ 826 w 1505"/>
                <a:gd name="T23" fmla="*/ 1413 h 2819"/>
                <a:gd name="T24" fmla="*/ 1453 w 1505"/>
                <a:gd name="T25" fmla="*/ 1413 h 2819"/>
                <a:gd name="T26" fmla="*/ 1453 w 1505"/>
                <a:gd name="T27" fmla="*/ 969 h 2819"/>
                <a:gd name="T28" fmla="*/ 826 w 1505"/>
                <a:gd name="T29" fmla="*/ 969 h 2819"/>
                <a:gd name="T30" fmla="*/ 826 w 1505"/>
                <a:gd name="T31" fmla="*/ 798 h 2819"/>
                <a:gd name="T32" fmla="*/ 1128 w 1505"/>
                <a:gd name="T33" fmla="*/ 449 h 2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5" h="2819">
                  <a:moveTo>
                    <a:pt x="1128" y="449"/>
                  </a:moveTo>
                  <a:cubicBezTo>
                    <a:pt x="1310" y="449"/>
                    <a:pt x="1418" y="528"/>
                    <a:pt x="1418" y="528"/>
                  </a:cubicBezTo>
                  <a:cubicBezTo>
                    <a:pt x="1505" y="115"/>
                    <a:pt x="1505" y="115"/>
                    <a:pt x="1505" y="115"/>
                  </a:cubicBezTo>
                  <a:cubicBezTo>
                    <a:pt x="1505" y="115"/>
                    <a:pt x="1358" y="0"/>
                    <a:pt x="1009" y="0"/>
                  </a:cubicBezTo>
                  <a:cubicBezTo>
                    <a:pt x="556" y="0"/>
                    <a:pt x="274" y="262"/>
                    <a:pt x="274" y="750"/>
                  </a:cubicBezTo>
                  <a:cubicBezTo>
                    <a:pt x="274" y="969"/>
                    <a:pt x="274" y="969"/>
                    <a:pt x="274" y="969"/>
                  </a:cubicBezTo>
                  <a:cubicBezTo>
                    <a:pt x="0" y="969"/>
                    <a:pt x="0" y="969"/>
                    <a:pt x="0" y="969"/>
                  </a:cubicBezTo>
                  <a:cubicBezTo>
                    <a:pt x="0" y="1413"/>
                    <a:pt x="0" y="1413"/>
                    <a:pt x="0" y="1413"/>
                  </a:cubicBezTo>
                  <a:cubicBezTo>
                    <a:pt x="274" y="1413"/>
                    <a:pt x="274" y="1413"/>
                    <a:pt x="274" y="1413"/>
                  </a:cubicBezTo>
                  <a:cubicBezTo>
                    <a:pt x="274" y="2819"/>
                    <a:pt x="274" y="2819"/>
                    <a:pt x="274" y="2819"/>
                  </a:cubicBezTo>
                  <a:cubicBezTo>
                    <a:pt x="826" y="2819"/>
                    <a:pt x="826" y="2819"/>
                    <a:pt x="826" y="2819"/>
                  </a:cubicBezTo>
                  <a:cubicBezTo>
                    <a:pt x="826" y="1413"/>
                    <a:pt x="826" y="1413"/>
                    <a:pt x="826" y="1413"/>
                  </a:cubicBezTo>
                  <a:cubicBezTo>
                    <a:pt x="1453" y="1413"/>
                    <a:pt x="1453" y="1413"/>
                    <a:pt x="1453" y="1413"/>
                  </a:cubicBezTo>
                  <a:cubicBezTo>
                    <a:pt x="1453" y="969"/>
                    <a:pt x="1453" y="969"/>
                    <a:pt x="1453" y="969"/>
                  </a:cubicBezTo>
                  <a:cubicBezTo>
                    <a:pt x="826" y="969"/>
                    <a:pt x="826" y="969"/>
                    <a:pt x="826" y="969"/>
                  </a:cubicBezTo>
                  <a:cubicBezTo>
                    <a:pt x="826" y="798"/>
                    <a:pt x="826" y="798"/>
                    <a:pt x="826" y="798"/>
                  </a:cubicBezTo>
                  <a:cubicBezTo>
                    <a:pt x="826" y="564"/>
                    <a:pt x="933" y="449"/>
                    <a:pt x="1128" y="44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52" name="Rectangle 184"/>
            <p:cNvSpPr>
              <a:spLocks noChangeArrowheads="1"/>
            </p:cNvSpPr>
            <p:nvPr userDrawn="1"/>
          </p:nvSpPr>
          <p:spPr bwMode="auto">
            <a:xfrm>
              <a:off x="-2006600" y="2409825"/>
              <a:ext cx="87313" cy="441325"/>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3" name="Datumsplatzhalter 2"/>
          <p:cNvSpPr>
            <a:spLocks noGrp="1"/>
          </p:cNvSpPr>
          <p:nvPr>
            <p:ph type="dt" sz="half" idx="19"/>
          </p:nvPr>
        </p:nvSpPr>
        <p:spPr>
          <a:xfrm>
            <a:off x="7985795" y="4836160"/>
            <a:ext cx="540059" cy="136050"/>
          </a:xfrm>
          <a:prstGeom prst="rect">
            <a:avLst/>
          </a:prstGeom>
        </p:spPr>
        <p:txBody>
          <a:bodyPr/>
          <a:lstStyle>
            <a:lvl1pPr>
              <a:defRPr>
                <a:noFill/>
              </a:defRPr>
            </a:lvl1pPr>
          </a:lstStyle>
          <a:p>
            <a:endParaRPr lang="de-DE" dirty="0"/>
          </a:p>
        </p:txBody>
      </p:sp>
      <p:sp>
        <p:nvSpPr>
          <p:cNvPr id="4" name="Fußzeilenplatzhalter 3"/>
          <p:cNvSpPr>
            <a:spLocks noGrp="1"/>
          </p:cNvSpPr>
          <p:nvPr>
            <p:ph type="ftr" sz="quarter" idx="20"/>
          </p:nvPr>
        </p:nvSpPr>
        <p:spPr>
          <a:xfrm>
            <a:off x="5788992" y="4836160"/>
            <a:ext cx="2196803" cy="136050"/>
          </a:xfrm>
          <a:prstGeom prst="rect">
            <a:avLst/>
          </a:prstGeom>
        </p:spPr>
        <p:txBody>
          <a:bodyPr/>
          <a:lstStyle>
            <a:lvl1pPr>
              <a:defRPr>
                <a:noFill/>
              </a:defRPr>
            </a:lvl1pPr>
          </a:lstStyle>
          <a:p>
            <a:endParaRPr lang="de-DE" dirty="0"/>
          </a:p>
        </p:txBody>
      </p:sp>
      <p:sp>
        <p:nvSpPr>
          <p:cNvPr id="5" name="Foliennummernplatzhalter 4"/>
          <p:cNvSpPr>
            <a:spLocks noGrp="1"/>
          </p:cNvSpPr>
          <p:nvPr>
            <p:ph type="sldNum" sz="quarter" idx="21"/>
          </p:nvPr>
        </p:nvSpPr>
        <p:spPr>
          <a:xfrm>
            <a:off x="8532440" y="4836160"/>
            <a:ext cx="611561" cy="136050"/>
          </a:xfrm>
          <a:prstGeom prst="rect">
            <a:avLst/>
          </a:prstGeom>
        </p:spPr>
        <p:txBody>
          <a:bodyPr/>
          <a:lstStyle>
            <a:lvl1pPr>
              <a:defRPr>
                <a:noFill/>
              </a:defRPr>
            </a:lvl1pPr>
          </a:lstStyle>
          <a:p>
            <a:r>
              <a:rPr lang="de-DE"/>
              <a:t> </a:t>
            </a:r>
            <a:r>
              <a:rPr lang="de-DE">
                <a:sym typeface="Wingdings"/>
              </a:rPr>
              <a:t>  </a:t>
            </a:r>
            <a:fld id="{443B15C8-972D-49F6-9B7C-5A2154A8C95F}" type="slidenum">
              <a:rPr lang="de-DE" smtClean="0"/>
              <a:pPr/>
              <a:t>‹Nr.›</a:t>
            </a:fld>
            <a:endParaRPr lang="de-DE" dirty="0"/>
          </a:p>
        </p:txBody>
      </p:sp>
      <p:grpSp>
        <p:nvGrpSpPr>
          <p:cNvPr id="45" name="Gruppieren 44"/>
          <p:cNvGrpSpPr/>
          <p:nvPr/>
        </p:nvGrpSpPr>
        <p:grpSpPr>
          <a:xfrm>
            <a:off x="-373329" y="-380578"/>
            <a:ext cx="9664396" cy="5679553"/>
            <a:chOff x="-373329" y="-380578"/>
            <a:chExt cx="9664396" cy="5679553"/>
          </a:xfrm>
        </p:grpSpPr>
        <p:sp>
          <p:nvSpPr>
            <p:cNvPr id="46" name="Textfeld 125"/>
            <p:cNvSpPr txBox="1"/>
            <p:nvPr userDrawn="1"/>
          </p:nvSpPr>
          <p:spPr bwMode="gray">
            <a:xfrm>
              <a:off x="169614" y="-137946"/>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11,60</a:t>
              </a:r>
            </a:p>
          </p:txBody>
        </p:sp>
        <p:cxnSp>
          <p:nvCxnSpPr>
            <p:cNvPr id="47" name="Gerade Verbindung 88"/>
            <p:cNvCxnSpPr/>
            <p:nvPr userDrawn="1"/>
          </p:nvCxnSpPr>
          <p:spPr bwMode="gray">
            <a:xfrm>
              <a:off x="395287" y="-380578"/>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48" name="Textfeld 125"/>
            <p:cNvSpPr txBox="1"/>
            <p:nvPr userDrawn="1"/>
          </p:nvSpPr>
          <p:spPr bwMode="gray">
            <a:xfrm>
              <a:off x="4468316" y="-247911"/>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0</a:t>
              </a:r>
            </a:p>
          </p:txBody>
        </p:sp>
        <p:cxnSp>
          <p:nvCxnSpPr>
            <p:cNvPr id="49" name="Gerade Verbindung 90"/>
            <p:cNvCxnSpPr/>
            <p:nvPr userDrawn="1"/>
          </p:nvCxnSpPr>
          <p:spPr bwMode="gray">
            <a:xfrm>
              <a:off x="4572000" y="-164554"/>
              <a:ext cx="0" cy="9465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50" name="Textfeld 125"/>
            <p:cNvSpPr txBox="1"/>
            <p:nvPr userDrawn="1"/>
          </p:nvSpPr>
          <p:spPr bwMode="gray">
            <a:xfrm>
              <a:off x="8765420" y="-137946"/>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11,60</a:t>
              </a:r>
            </a:p>
          </p:txBody>
        </p:sp>
        <p:cxnSp>
          <p:nvCxnSpPr>
            <p:cNvPr id="51" name="Gerade Verbindung 95"/>
            <p:cNvCxnSpPr/>
            <p:nvPr userDrawn="1"/>
          </p:nvCxnSpPr>
          <p:spPr bwMode="gray">
            <a:xfrm>
              <a:off x="8745367" y="-380578"/>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Gerade Verbindung 96"/>
            <p:cNvCxnSpPr/>
            <p:nvPr userDrawn="1"/>
          </p:nvCxnSpPr>
          <p:spPr bwMode="gray">
            <a:xfrm>
              <a:off x="395287" y="5205375"/>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3" name="Gerade Verbindung 97"/>
            <p:cNvCxnSpPr/>
            <p:nvPr userDrawn="1"/>
          </p:nvCxnSpPr>
          <p:spPr bwMode="gray">
            <a:xfrm>
              <a:off x="4572000" y="5205375"/>
              <a:ext cx="0"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p:cNvCxnSpPr/>
            <p:nvPr userDrawn="1"/>
          </p:nvCxnSpPr>
          <p:spPr bwMode="gray">
            <a:xfrm>
              <a:off x="8745367" y="5205375"/>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55" name="Textfeld 125"/>
            <p:cNvSpPr txBox="1"/>
            <p:nvPr userDrawn="1"/>
          </p:nvSpPr>
          <p:spPr bwMode="gray">
            <a:xfrm>
              <a:off x="-270016" y="4604219"/>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5,</a:t>
              </a:r>
              <a:r>
                <a:rPr lang="de-DE" sz="600" noProof="0" dirty="0">
                  <a:solidFill>
                    <a:schemeClr val="tx2"/>
                  </a:solidFill>
                </a:rPr>
                <a:t>6</a:t>
              </a:r>
              <a:r>
                <a:rPr lang="pl-PL" sz="600" noProof="0" dirty="0">
                  <a:solidFill>
                    <a:schemeClr val="tx2"/>
                  </a:solidFill>
                </a:rPr>
                <a:t>0</a:t>
              </a:r>
            </a:p>
          </p:txBody>
        </p:sp>
        <p:cxnSp>
          <p:nvCxnSpPr>
            <p:cNvPr id="56" name="Gerade Verbindung 103"/>
            <p:cNvCxnSpPr/>
            <p:nvPr userDrawn="1"/>
          </p:nvCxnSpPr>
          <p:spPr bwMode="gray">
            <a:xfrm rot="5400000">
              <a:off x="-217989" y="4425629"/>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57" name="Textfeld 125"/>
            <p:cNvSpPr txBox="1"/>
            <p:nvPr userDrawn="1"/>
          </p:nvSpPr>
          <p:spPr bwMode="gray">
            <a:xfrm>
              <a:off x="-270016" y="1042102"/>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4,00</a:t>
              </a:r>
            </a:p>
          </p:txBody>
        </p:sp>
        <p:cxnSp>
          <p:nvCxnSpPr>
            <p:cNvPr id="58" name="Gerade Verbindung 105"/>
            <p:cNvCxnSpPr/>
            <p:nvPr userDrawn="1"/>
          </p:nvCxnSpPr>
          <p:spPr bwMode="gray">
            <a:xfrm rot="5400000">
              <a:off x="-217989" y="970017"/>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59" name="Textfeld 125"/>
            <p:cNvSpPr txBox="1"/>
            <p:nvPr userDrawn="1"/>
          </p:nvSpPr>
          <p:spPr bwMode="gray">
            <a:xfrm>
              <a:off x="-325696" y="2825353"/>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0</a:t>
              </a:r>
              <a:r>
                <a:rPr lang="de-DE" sz="600" noProof="0" dirty="0">
                  <a:solidFill>
                    <a:schemeClr val="tx2"/>
                  </a:solidFill>
                </a:rPr>
                <a:t>,8</a:t>
              </a:r>
              <a:endParaRPr lang="pl-PL" sz="600" noProof="0" dirty="0">
                <a:solidFill>
                  <a:schemeClr val="tx2"/>
                </a:solidFill>
              </a:endParaRPr>
            </a:p>
          </p:txBody>
        </p:sp>
        <p:cxnSp>
          <p:nvCxnSpPr>
            <p:cNvPr id="60" name="Gerade Verbindung 107"/>
            <p:cNvCxnSpPr/>
            <p:nvPr userDrawn="1"/>
          </p:nvCxnSpPr>
          <p:spPr bwMode="gray">
            <a:xfrm rot="16200000">
              <a:off x="-109977" y="2815134"/>
              <a:ext cx="0" cy="9465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Gerade Verbindung 108"/>
            <p:cNvCxnSpPr/>
            <p:nvPr userDrawn="1"/>
          </p:nvCxnSpPr>
          <p:spPr bwMode="gray">
            <a:xfrm rot="5400000">
              <a:off x="9244266" y="4534169"/>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2" name="Gerade Verbindung 109"/>
            <p:cNvCxnSpPr/>
            <p:nvPr userDrawn="1"/>
          </p:nvCxnSpPr>
          <p:spPr bwMode="gray">
            <a:xfrm rot="5400000">
              <a:off x="9244266" y="1078557"/>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 name="Gerade Verbindung 110"/>
            <p:cNvCxnSpPr/>
            <p:nvPr userDrawn="1"/>
          </p:nvCxnSpPr>
          <p:spPr bwMode="gray">
            <a:xfrm rot="16200000">
              <a:off x="9244266" y="2815662"/>
              <a:ext cx="0"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0731158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620" name="think-cell Folie" r:id="rId4" imgW="245" imgH="245" progId="TCLayout.ActiveDocument.1">
                  <p:embed/>
                </p:oleObj>
              </mc:Choice>
              <mc:Fallback>
                <p:oleObj name="think-cell Folie" r:id="rId4" imgW="245" imgH="245"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7" name="Text Placeholder 2"/>
          <p:cNvSpPr>
            <a:spLocks noGrp="1"/>
          </p:cNvSpPr>
          <p:nvPr>
            <p:ph type="body" sz="quarter" idx="10" hasCustomPrompt="1"/>
          </p:nvPr>
        </p:nvSpPr>
        <p:spPr bwMode="gray">
          <a:xfrm>
            <a:off x="3077988" y="123269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28" name="Text Placeholder 2"/>
          <p:cNvSpPr>
            <a:spLocks noGrp="1"/>
          </p:cNvSpPr>
          <p:nvPr>
            <p:ph type="body" sz="quarter" idx="11" hasCustomPrompt="1"/>
          </p:nvPr>
        </p:nvSpPr>
        <p:spPr bwMode="gray">
          <a:xfrm>
            <a:off x="3077988" y="173401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29" name="Text Placeholder 2"/>
          <p:cNvSpPr>
            <a:spLocks noGrp="1"/>
          </p:cNvSpPr>
          <p:nvPr>
            <p:ph type="body" sz="quarter" idx="12" hasCustomPrompt="1"/>
          </p:nvPr>
        </p:nvSpPr>
        <p:spPr bwMode="gray">
          <a:xfrm>
            <a:off x="3077988" y="223533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0" name="Text Placeholder 2"/>
          <p:cNvSpPr>
            <a:spLocks noGrp="1"/>
          </p:cNvSpPr>
          <p:nvPr>
            <p:ph type="body" sz="quarter" idx="13" hasCustomPrompt="1"/>
          </p:nvPr>
        </p:nvSpPr>
        <p:spPr bwMode="gray">
          <a:xfrm>
            <a:off x="3077988" y="273665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2" name="Text Placeholder 2"/>
          <p:cNvSpPr>
            <a:spLocks noGrp="1"/>
          </p:cNvSpPr>
          <p:nvPr>
            <p:ph type="body" sz="quarter" idx="14" hasCustomPrompt="1"/>
          </p:nvPr>
        </p:nvSpPr>
        <p:spPr bwMode="gray">
          <a:xfrm>
            <a:off x="3077988" y="3237972"/>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3" name="Text Placeholder 2"/>
          <p:cNvSpPr>
            <a:spLocks noGrp="1"/>
          </p:cNvSpPr>
          <p:nvPr>
            <p:ph type="body" sz="quarter" idx="15" hasCustomPrompt="1"/>
          </p:nvPr>
        </p:nvSpPr>
        <p:spPr bwMode="gray">
          <a:xfrm>
            <a:off x="5688013" y="123269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4" name="Text Placeholder 2"/>
          <p:cNvSpPr>
            <a:spLocks noGrp="1"/>
          </p:cNvSpPr>
          <p:nvPr>
            <p:ph type="body" sz="quarter" idx="16" hasCustomPrompt="1"/>
          </p:nvPr>
        </p:nvSpPr>
        <p:spPr bwMode="gray">
          <a:xfrm>
            <a:off x="5688013" y="173401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5" name="Text Placeholder 2"/>
          <p:cNvSpPr>
            <a:spLocks noGrp="1"/>
          </p:cNvSpPr>
          <p:nvPr>
            <p:ph type="body" sz="quarter" idx="17" hasCustomPrompt="1"/>
          </p:nvPr>
        </p:nvSpPr>
        <p:spPr bwMode="gray">
          <a:xfrm>
            <a:off x="5688013" y="223533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6" name="Text Placeholder 2"/>
          <p:cNvSpPr>
            <a:spLocks noGrp="1"/>
          </p:cNvSpPr>
          <p:nvPr>
            <p:ph type="body" sz="quarter" idx="18" hasCustomPrompt="1"/>
          </p:nvPr>
        </p:nvSpPr>
        <p:spPr bwMode="gray">
          <a:xfrm>
            <a:off x="5688013" y="273665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7" name="Text Placeholder 2"/>
          <p:cNvSpPr>
            <a:spLocks noGrp="1"/>
          </p:cNvSpPr>
          <p:nvPr>
            <p:ph type="body" sz="quarter" idx="19" hasCustomPrompt="1"/>
          </p:nvPr>
        </p:nvSpPr>
        <p:spPr bwMode="gray">
          <a:xfrm>
            <a:off x="5688013" y="3237972"/>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9" name="Text Placeholder 4"/>
          <p:cNvSpPr>
            <a:spLocks noGrp="1"/>
          </p:cNvSpPr>
          <p:nvPr>
            <p:ph type="body" sz="quarter" idx="20" hasCustomPrompt="1"/>
          </p:nvPr>
        </p:nvSpPr>
        <p:spPr bwMode="gray">
          <a:xfrm>
            <a:off x="3600450" y="1233488"/>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baseline="0">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4" name="Text Placeholder 4"/>
          <p:cNvSpPr>
            <a:spLocks noGrp="1"/>
          </p:cNvSpPr>
          <p:nvPr>
            <p:ph type="body" sz="quarter" idx="21" hasCustomPrompt="1"/>
          </p:nvPr>
        </p:nvSpPr>
        <p:spPr bwMode="gray">
          <a:xfrm>
            <a:off x="3600450" y="1734609"/>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5" name="Text Placeholder 4"/>
          <p:cNvSpPr>
            <a:spLocks noGrp="1"/>
          </p:cNvSpPr>
          <p:nvPr>
            <p:ph type="body" sz="quarter" idx="22" hasCustomPrompt="1"/>
          </p:nvPr>
        </p:nvSpPr>
        <p:spPr bwMode="gray">
          <a:xfrm>
            <a:off x="3600450" y="2235730"/>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6" name="Text Placeholder 4"/>
          <p:cNvSpPr>
            <a:spLocks noGrp="1"/>
          </p:cNvSpPr>
          <p:nvPr>
            <p:ph type="body" sz="quarter" idx="23" hasCustomPrompt="1"/>
          </p:nvPr>
        </p:nvSpPr>
        <p:spPr bwMode="gray">
          <a:xfrm>
            <a:off x="3600450" y="2736851"/>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7" name="Text Placeholder 4"/>
          <p:cNvSpPr>
            <a:spLocks noGrp="1"/>
          </p:cNvSpPr>
          <p:nvPr>
            <p:ph type="body" sz="quarter" idx="24" hasCustomPrompt="1"/>
          </p:nvPr>
        </p:nvSpPr>
        <p:spPr bwMode="gray">
          <a:xfrm>
            <a:off x="3600450" y="3237972"/>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8" name="Text Placeholder 4"/>
          <p:cNvSpPr>
            <a:spLocks noGrp="1"/>
          </p:cNvSpPr>
          <p:nvPr>
            <p:ph type="body" sz="quarter" idx="25" hasCustomPrompt="1"/>
          </p:nvPr>
        </p:nvSpPr>
        <p:spPr bwMode="gray">
          <a:xfrm>
            <a:off x="6210475" y="1233488"/>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9" name="Text Placeholder 4"/>
          <p:cNvSpPr>
            <a:spLocks noGrp="1"/>
          </p:cNvSpPr>
          <p:nvPr>
            <p:ph type="body" sz="quarter" idx="26" hasCustomPrompt="1"/>
          </p:nvPr>
        </p:nvSpPr>
        <p:spPr bwMode="gray">
          <a:xfrm>
            <a:off x="6210475" y="1734609"/>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4" name="Text Placeholder 4"/>
          <p:cNvSpPr>
            <a:spLocks noGrp="1"/>
          </p:cNvSpPr>
          <p:nvPr>
            <p:ph type="body" sz="quarter" idx="27" hasCustomPrompt="1"/>
          </p:nvPr>
        </p:nvSpPr>
        <p:spPr bwMode="gray">
          <a:xfrm>
            <a:off x="6210475" y="2235730"/>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5" name="Text Placeholder 4"/>
          <p:cNvSpPr>
            <a:spLocks noGrp="1"/>
          </p:cNvSpPr>
          <p:nvPr>
            <p:ph type="body" sz="quarter" idx="28" hasCustomPrompt="1"/>
          </p:nvPr>
        </p:nvSpPr>
        <p:spPr bwMode="gray">
          <a:xfrm>
            <a:off x="6210475" y="2736851"/>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6" name="Text Placeholder 4"/>
          <p:cNvSpPr>
            <a:spLocks noGrp="1"/>
          </p:cNvSpPr>
          <p:nvPr>
            <p:ph type="body" sz="quarter" idx="29" hasCustomPrompt="1"/>
          </p:nvPr>
        </p:nvSpPr>
        <p:spPr bwMode="gray">
          <a:xfrm>
            <a:off x="6210475" y="3237972"/>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2" name="Titel 1"/>
          <p:cNvSpPr>
            <a:spLocks noGrp="1"/>
          </p:cNvSpPr>
          <p:nvPr>
            <p:ph type="title" hasCustomPrompt="1"/>
          </p:nvPr>
        </p:nvSpPr>
        <p:spPr>
          <a:xfrm>
            <a:off x="395288" y="1527175"/>
            <a:ext cx="2160587" cy="1941196"/>
          </a:xfrm>
        </p:spPr>
        <p:txBody>
          <a:bodyPr anchor="ctr"/>
          <a:lstStyle>
            <a:lvl1pPr>
              <a:defRPr sz="1800" b="1" cap="all" baseline="0"/>
            </a:lvl1pPr>
          </a:lstStyle>
          <a:p>
            <a:r>
              <a:rPr lang="de-DE" dirty="0"/>
              <a:t>Agenda</a:t>
            </a:r>
            <a:endParaRPr lang="en-US" dirty="0"/>
          </a:p>
        </p:txBody>
      </p:sp>
      <p:sp>
        <p:nvSpPr>
          <p:cNvPr id="3" name="Datumsplatzhalter 2"/>
          <p:cNvSpPr>
            <a:spLocks noGrp="1"/>
          </p:cNvSpPr>
          <p:nvPr>
            <p:ph type="dt" sz="half" idx="30"/>
          </p:nvPr>
        </p:nvSpPr>
        <p:spPr>
          <a:xfrm>
            <a:off x="7985795" y="4836160"/>
            <a:ext cx="540059" cy="136050"/>
          </a:xfrm>
          <a:prstGeom prst="rect">
            <a:avLst/>
          </a:prstGeom>
        </p:spPr>
        <p:txBody>
          <a:bodyPr/>
          <a:lstStyle>
            <a:lvl1pPr>
              <a:defRPr>
                <a:solidFill>
                  <a:schemeClr val="bg1"/>
                </a:solidFill>
              </a:defRPr>
            </a:lvl1pPr>
          </a:lstStyle>
          <a:p>
            <a:endParaRPr lang="de-DE" dirty="0"/>
          </a:p>
        </p:txBody>
      </p:sp>
      <p:sp>
        <p:nvSpPr>
          <p:cNvPr id="4" name="Fußzeilenplatzhalter 3"/>
          <p:cNvSpPr>
            <a:spLocks noGrp="1"/>
          </p:cNvSpPr>
          <p:nvPr>
            <p:ph type="ftr" sz="quarter" idx="31"/>
          </p:nvPr>
        </p:nvSpPr>
        <p:spPr>
          <a:xfrm>
            <a:off x="5788992" y="4836160"/>
            <a:ext cx="2196803" cy="136050"/>
          </a:xfrm>
          <a:prstGeom prst="rect">
            <a:avLst/>
          </a:prstGeom>
        </p:spPr>
        <p:txBody>
          <a:bodyPr/>
          <a:lstStyle>
            <a:lvl1pPr>
              <a:defRPr>
                <a:solidFill>
                  <a:schemeClr val="bg1"/>
                </a:solidFill>
              </a:defRPr>
            </a:lvl1pPr>
          </a:lstStyle>
          <a:p>
            <a:endParaRPr lang="de-DE" dirty="0"/>
          </a:p>
        </p:txBody>
      </p:sp>
      <p:sp>
        <p:nvSpPr>
          <p:cNvPr id="5" name="Foliennummernplatzhalter 4"/>
          <p:cNvSpPr>
            <a:spLocks noGrp="1"/>
          </p:cNvSpPr>
          <p:nvPr>
            <p:ph type="sldNum" sz="quarter" idx="32"/>
          </p:nvPr>
        </p:nvSpPr>
        <p:spPr>
          <a:xfrm>
            <a:off x="8532440" y="4836160"/>
            <a:ext cx="611561" cy="136050"/>
          </a:xfrm>
          <a:prstGeom prst="rect">
            <a:avLst/>
          </a:prstGeom>
        </p:spPr>
        <p:txBody>
          <a:bodyPr/>
          <a:lstStyle>
            <a:lvl1pPr>
              <a:defRPr>
                <a:solidFill>
                  <a:schemeClr val="bg1"/>
                </a:solidFill>
              </a:defRPr>
            </a:lvl1pPr>
          </a:lstStyle>
          <a:p>
            <a:r>
              <a:rPr lang="de-DE"/>
              <a:t> </a:t>
            </a:r>
            <a:r>
              <a:rPr lang="de-DE">
                <a:sym typeface="Wingdings"/>
              </a:rPr>
              <a:t>  </a:t>
            </a:r>
            <a:fld id="{443B15C8-972D-49F6-9B7C-5A2154A8C95F}" type="slidenum">
              <a:rPr lang="de-DE" smtClean="0"/>
              <a:pPr/>
              <a:t>‹Nr.›</a:t>
            </a:fld>
            <a:endParaRPr lang="de-DE" dirty="0"/>
          </a:p>
        </p:txBody>
      </p:sp>
    </p:spTree>
    <p:extLst>
      <p:ext uri="{BB962C8B-B14F-4D97-AF65-F5344CB8AC3E}">
        <p14:creationId xmlns:p14="http://schemas.microsoft.com/office/powerpoint/2010/main" val="355904784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bwMode="gray">
          <a:xfrm>
            <a:off x="395289" y="1131889"/>
            <a:ext cx="8353424" cy="3456085"/>
          </a:xfrm>
        </p:spPr>
        <p:txBody>
          <a:bodyPr/>
          <a:lstStyle>
            <a:lvl1pPr>
              <a:defRPr/>
            </a:lvl1pPr>
            <a:lvl9pPr>
              <a:defRPr>
                <a:solidFill>
                  <a:schemeClr val="tx2"/>
                </a:solidFill>
              </a:defRPr>
            </a:lvl9pPr>
          </a:lstStyle>
          <a:p>
            <a:pPr lvl="0"/>
            <a:r>
              <a:rPr lang="de-DE" noProof="0" dirty="0"/>
              <a:t>Schreibe hier deinen Text.</a:t>
            </a:r>
          </a:p>
        </p:txBody>
      </p:sp>
      <p:sp>
        <p:nvSpPr>
          <p:cNvPr id="12" name="Text Placeholder 4"/>
          <p:cNvSpPr>
            <a:spLocks noGrp="1"/>
          </p:cNvSpPr>
          <p:nvPr>
            <p:ph type="body" sz="quarter" idx="20" hasCustomPrompt="1"/>
          </p:nvPr>
        </p:nvSpPr>
        <p:spPr bwMode="gray">
          <a:xfrm>
            <a:off x="395287" y="267494"/>
            <a:ext cx="8350079" cy="180181"/>
          </a:xfrm>
        </p:spPr>
        <p:txBody>
          <a:bodyPr wrap="none" bIns="18000" anchor="b"/>
          <a:lstStyle>
            <a:lvl1pPr marL="0" indent="0">
              <a:lnSpc>
                <a:spcPct val="100000"/>
              </a:lnSpc>
              <a:spcBef>
                <a:spcPts val="0"/>
              </a:spcBef>
              <a:spcAft>
                <a:spcPts val="0"/>
              </a:spcAft>
              <a:buFont typeface="Arial" panose="020B0604020202020204" pitchFamily="34" charset="0"/>
              <a:buNone/>
              <a:defRPr sz="1000" b="0" cap="all" baseline="0">
                <a:solidFill>
                  <a:schemeClr val="accent4"/>
                </a:solidFill>
              </a:defRPr>
            </a:lvl1pPr>
            <a:lvl2pPr marL="0" indent="0">
              <a:lnSpc>
                <a:spcPct val="100000"/>
              </a:lnSpc>
              <a:spcBef>
                <a:spcPts val="0"/>
              </a:spcBef>
              <a:spcAft>
                <a:spcPts val="0"/>
              </a:spcAft>
              <a:buNone/>
              <a:defRPr sz="1000" b="1" cap="all">
                <a:solidFill>
                  <a:schemeClr val="accent4"/>
                </a:solidFill>
              </a:defRPr>
            </a:lvl2pPr>
            <a:lvl3pPr marL="0" indent="0">
              <a:lnSpc>
                <a:spcPct val="100000"/>
              </a:lnSpc>
              <a:spcBef>
                <a:spcPts val="0"/>
              </a:spcBef>
              <a:spcAft>
                <a:spcPts val="0"/>
              </a:spcAft>
              <a:buNone/>
              <a:defRPr sz="1000" b="1" cap="all">
                <a:solidFill>
                  <a:schemeClr val="accent4"/>
                </a:solidFill>
              </a:defRPr>
            </a:lvl3pPr>
            <a:lvl4pPr marL="0" indent="0">
              <a:lnSpc>
                <a:spcPct val="100000"/>
              </a:lnSpc>
              <a:spcBef>
                <a:spcPts val="0"/>
              </a:spcBef>
              <a:spcAft>
                <a:spcPts val="0"/>
              </a:spcAft>
              <a:buFont typeface="Arial" panose="020B0604020202020204" pitchFamily="34" charset="0"/>
              <a:buNone/>
              <a:defRPr sz="1000" b="1" cap="all">
                <a:solidFill>
                  <a:schemeClr val="accent4"/>
                </a:solidFill>
              </a:defRPr>
            </a:lvl4pPr>
            <a:lvl5pPr marL="0" indent="0">
              <a:lnSpc>
                <a:spcPct val="100000"/>
              </a:lnSpc>
              <a:spcBef>
                <a:spcPts val="0"/>
              </a:spcBef>
              <a:spcAft>
                <a:spcPts val="0"/>
              </a:spcAft>
              <a:buFont typeface="Arial" panose="020B0604020202020204" pitchFamily="34" charset="0"/>
              <a:buNone/>
              <a:defRPr sz="1000" b="1" cap="all">
                <a:solidFill>
                  <a:schemeClr val="accent4"/>
                </a:solidFill>
              </a:defRPr>
            </a:lvl5pPr>
            <a:lvl6pPr marL="0" indent="0">
              <a:lnSpc>
                <a:spcPct val="100000"/>
              </a:lnSpc>
              <a:spcBef>
                <a:spcPts val="0"/>
              </a:spcBef>
              <a:spcAft>
                <a:spcPts val="0"/>
              </a:spcAft>
              <a:buFont typeface="Arial" panose="020B0604020202020204" pitchFamily="34" charset="0"/>
              <a:buNone/>
              <a:defRPr sz="1000" b="1" cap="all">
                <a:solidFill>
                  <a:schemeClr val="accent4"/>
                </a:solidFill>
              </a:defRPr>
            </a:lvl6pPr>
            <a:lvl7pPr marL="0" indent="0">
              <a:lnSpc>
                <a:spcPct val="100000"/>
              </a:lnSpc>
              <a:spcBef>
                <a:spcPts val="0"/>
              </a:spcBef>
              <a:spcAft>
                <a:spcPts val="0"/>
              </a:spcAft>
              <a:buFont typeface="Arial" panose="020B0604020202020204" pitchFamily="34" charset="0"/>
              <a:buNone/>
              <a:defRPr sz="1000" b="1" cap="all">
                <a:solidFill>
                  <a:schemeClr val="accent4"/>
                </a:solidFill>
              </a:defRPr>
            </a:lvl7pPr>
            <a:lvl8pPr marL="0" indent="0">
              <a:lnSpc>
                <a:spcPct val="100000"/>
              </a:lnSpc>
              <a:spcBef>
                <a:spcPts val="0"/>
              </a:spcBef>
              <a:spcAft>
                <a:spcPts val="0"/>
              </a:spcAft>
              <a:buFont typeface="Arial" panose="020B0604020202020204" pitchFamily="34" charset="0"/>
              <a:buNone/>
              <a:defRPr sz="1000" b="1" cap="all">
                <a:solidFill>
                  <a:schemeClr val="accent4"/>
                </a:solidFill>
              </a:defRPr>
            </a:lvl8pPr>
            <a:lvl9pPr marL="0" indent="0">
              <a:lnSpc>
                <a:spcPct val="100000"/>
              </a:lnSpc>
              <a:spcBef>
                <a:spcPts val="0"/>
              </a:spcBef>
              <a:spcAft>
                <a:spcPts val="0"/>
              </a:spcAft>
              <a:buFont typeface="Arial" panose="020B0604020202020204" pitchFamily="34" charset="0"/>
              <a:buNone/>
              <a:defRPr sz="1000" b="1" cap="all">
                <a:solidFill>
                  <a:schemeClr val="accent4"/>
                </a:solidFill>
              </a:defRPr>
            </a:lvl9pPr>
          </a:lstStyle>
          <a:p>
            <a:pPr lvl="0"/>
            <a:r>
              <a:rPr lang="de-DE" noProof="0" dirty="0"/>
              <a:t>Kapitelüberschrift (OPTIONAL)</a:t>
            </a:r>
          </a:p>
        </p:txBody>
      </p:sp>
      <p:sp>
        <p:nvSpPr>
          <p:cNvPr id="3" name="Titel 2"/>
          <p:cNvSpPr>
            <a:spLocks noGrp="1"/>
          </p:cNvSpPr>
          <p:nvPr>
            <p:ph type="title"/>
          </p:nvPr>
        </p:nvSpPr>
        <p:spPr/>
        <p:txBody>
          <a:bodyPr/>
          <a:lstStyle/>
          <a:p>
            <a:r>
              <a:rPr lang="de-DE"/>
              <a:t>Titelmasterformat durch Klicken bearbeiten</a:t>
            </a:r>
            <a:endParaRPr lang="en-US" dirty="0"/>
          </a:p>
        </p:txBody>
      </p:sp>
      <p:sp>
        <p:nvSpPr>
          <p:cNvPr id="9"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1" name="Datumsplatzhalter 10"/>
          <p:cNvSpPr>
            <a:spLocks noGrp="1"/>
          </p:cNvSpPr>
          <p:nvPr>
            <p:ph type="dt" sz="half" idx="29"/>
          </p:nvPr>
        </p:nvSpPr>
        <p:spPr/>
        <p:txBody>
          <a:bodyPr/>
          <a:lstStyle/>
          <a:p>
            <a:endParaRPr lang="cs-CZ" dirty="0"/>
          </a:p>
        </p:txBody>
      </p:sp>
      <p:sp>
        <p:nvSpPr>
          <p:cNvPr id="13" name="Fußzeilenplatzhalter 12"/>
          <p:cNvSpPr>
            <a:spLocks noGrp="1"/>
          </p:cNvSpPr>
          <p:nvPr>
            <p:ph type="ftr" sz="quarter" idx="30"/>
          </p:nvPr>
        </p:nvSpPr>
        <p:spPr/>
        <p:txBody>
          <a:bodyPr/>
          <a:lstStyle/>
          <a:p>
            <a:endParaRPr lang="cs-CZ" noProof="0" dirty="0"/>
          </a:p>
        </p:txBody>
      </p:sp>
      <p:sp>
        <p:nvSpPr>
          <p:cNvPr id="14" name="Foliennummernplatzhalter 13"/>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556653095"/>
      </p:ext>
    </p:extLst>
  </p:cSld>
  <p:clrMapOvr>
    <a:masterClrMapping/>
  </p:clrMapOvr>
  <p:transition>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2 x tex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bwMode="gray">
          <a:xfrm>
            <a:off x="395288" y="1131889"/>
            <a:ext cx="4104712" cy="3456085"/>
          </a:xfrm>
        </p:spPr>
        <p:txBody>
          <a:bodyPr/>
          <a:lstStyle/>
          <a:p>
            <a:pPr lvl="0"/>
            <a:r>
              <a:rPr lang="de-DE" noProof="0" dirty="0"/>
              <a:t>Schreibe hier deinen Text.</a:t>
            </a:r>
          </a:p>
        </p:txBody>
      </p:sp>
      <p:sp>
        <p:nvSpPr>
          <p:cNvPr id="7" name="Text Placeholder 7"/>
          <p:cNvSpPr>
            <a:spLocks noGrp="1"/>
          </p:cNvSpPr>
          <p:nvPr>
            <p:ph type="body" sz="quarter" idx="17" hasCustomPrompt="1"/>
          </p:nvPr>
        </p:nvSpPr>
        <p:spPr bwMode="gray">
          <a:xfrm>
            <a:off x="4644000" y="1131889"/>
            <a:ext cx="4104712" cy="3456085"/>
          </a:xfrm>
        </p:spPr>
        <p:txBody>
          <a:bodyPr lIns="0"/>
          <a:lstStyle/>
          <a:p>
            <a:pPr lvl="0"/>
            <a:r>
              <a:rPr lang="de-DE" noProof="0" dirty="0"/>
              <a:t>Schreibe hier deinen Text.</a:t>
            </a:r>
          </a:p>
        </p:txBody>
      </p:sp>
      <p:sp>
        <p:nvSpPr>
          <p:cNvPr id="3" name="Titel 2"/>
          <p:cNvSpPr>
            <a:spLocks noGrp="1"/>
          </p:cNvSpPr>
          <p:nvPr>
            <p:ph type="title"/>
          </p:nvPr>
        </p:nvSpPr>
        <p:spPr/>
        <p:txBody>
          <a:bodyPr/>
          <a:lstStyle/>
          <a:p>
            <a:r>
              <a:rPr lang="de-DE"/>
              <a:t>Titelmasterformat durch Klicken bearbeiten</a:t>
            </a:r>
            <a:endParaRPr lang="en-US" dirty="0"/>
          </a:p>
        </p:txBody>
      </p:sp>
      <p:sp>
        <p:nvSpPr>
          <p:cNvPr id="10"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3"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2" name="Datumsplatzhalter 11"/>
          <p:cNvSpPr>
            <a:spLocks noGrp="1"/>
          </p:cNvSpPr>
          <p:nvPr>
            <p:ph type="dt" sz="half" idx="29"/>
          </p:nvPr>
        </p:nvSpPr>
        <p:spPr/>
        <p:txBody>
          <a:bodyPr/>
          <a:lstStyle/>
          <a:p>
            <a:endParaRPr lang="cs-CZ" dirty="0"/>
          </a:p>
        </p:txBody>
      </p:sp>
      <p:sp>
        <p:nvSpPr>
          <p:cNvPr id="14" name="Fußzeilenplatzhalter 13"/>
          <p:cNvSpPr>
            <a:spLocks noGrp="1"/>
          </p:cNvSpPr>
          <p:nvPr>
            <p:ph type="ftr" sz="quarter" idx="30"/>
          </p:nvPr>
        </p:nvSpPr>
        <p:spPr/>
        <p:txBody>
          <a:bodyPr/>
          <a:lstStyle/>
          <a:p>
            <a:endParaRPr lang="cs-CZ" noProof="0" dirty="0"/>
          </a:p>
        </p:txBody>
      </p:sp>
      <p:sp>
        <p:nvSpPr>
          <p:cNvPr id="15" name="Foliennummernplatzhalter 14"/>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395483443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4 x tex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bwMode="gray">
          <a:xfrm>
            <a:off x="395288" y="1131889"/>
            <a:ext cx="1980355" cy="3456085"/>
          </a:xfrm>
        </p:spPr>
        <p:txBody>
          <a:bodyPr/>
          <a:lstStyle/>
          <a:p>
            <a:pPr lvl="0"/>
            <a:r>
              <a:rPr lang="de-DE" noProof="0" dirty="0"/>
              <a:t>Schreibe hier deinen Text.</a:t>
            </a:r>
          </a:p>
        </p:txBody>
      </p:sp>
      <p:sp>
        <p:nvSpPr>
          <p:cNvPr id="7" name="Text Placeholder 7"/>
          <p:cNvSpPr>
            <a:spLocks noGrp="1"/>
          </p:cNvSpPr>
          <p:nvPr>
            <p:ph type="body" sz="quarter" idx="17" hasCustomPrompt="1"/>
          </p:nvPr>
        </p:nvSpPr>
        <p:spPr bwMode="gray">
          <a:xfrm>
            <a:off x="2519644" y="1131889"/>
            <a:ext cx="1979860" cy="3456085"/>
          </a:xfrm>
        </p:spPr>
        <p:txBody>
          <a:bodyPr/>
          <a:lstStyle/>
          <a:p>
            <a:pPr lvl="0"/>
            <a:r>
              <a:rPr lang="de-DE" noProof="0" dirty="0"/>
              <a:t>Schreibe hier deinen Text.</a:t>
            </a:r>
          </a:p>
        </p:txBody>
      </p:sp>
      <p:sp>
        <p:nvSpPr>
          <p:cNvPr id="12" name="Text Placeholder 7"/>
          <p:cNvSpPr>
            <a:spLocks noGrp="1"/>
          </p:cNvSpPr>
          <p:nvPr>
            <p:ph type="body" sz="quarter" idx="21" hasCustomPrompt="1"/>
          </p:nvPr>
        </p:nvSpPr>
        <p:spPr bwMode="gray">
          <a:xfrm>
            <a:off x="4644496" y="1131889"/>
            <a:ext cx="1979860" cy="3456085"/>
          </a:xfrm>
        </p:spPr>
        <p:txBody>
          <a:bodyPr/>
          <a:lstStyle/>
          <a:p>
            <a:pPr lvl="0"/>
            <a:r>
              <a:rPr lang="de-DE" noProof="0" dirty="0"/>
              <a:t>Schreibe hier deinen Text.</a:t>
            </a:r>
          </a:p>
        </p:txBody>
      </p:sp>
      <p:sp>
        <p:nvSpPr>
          <p:cNvPr id="13" name="Text Placeholder 7"/>
          <p:cNvSpPr>
            <a:spLocks noGrp="1"/>
          </p:cNvSpPr>
          <p:nvPr>
            <p:ph type="body" sz="quarter" idx="22" hasCustomPrompt="1"/>
          </p:nvPr>
        </p:nvSpPr>
        <p:spPr bwMode="gray">
          <a:xfrm>
            <a:off x="6768355" y="1131889"/>
            <a:ext cx="1977011" cy="3456085"/>
          </a:xfrm>
        </p:spPr>
        <p:txBody>
          <a:bodyPr/>
          <a:lstStyle/>
          <a:p>
            <a:pPr lvl="0"/>
            <a:r>
              <a:rPr lang="de-DE" noProof="0" dirty="0"/>
              <a:t>Schreibe hier deinen Text.</a:t>
            </a:r>
          </a:p>
        </p:txBody>
      </p:sp>
      <p:sp>
        <p:nvSpPr>
          <p:cNvPr id="4" name="Titel 3"/>
          <p:cNvSpPr>
            <a:spLocks noGrp="1"/>
          </p:cNvSpPr>
          <p:nvPr>
            <p:ph type="title"/>
          </p:nvPr>
        </p:nvSpPr>
        <p:spPr/>
        <p:txBody>
          <a:bodyPr/>
          <a:lstStyle/>
          <a:p>
            <a:r>
              <a:rPr lang="de-DE"/>
              <a:t>Titelmasterformat durch Klicken bearbeiten</a:t>
            </a:r>
            <a:endParaRPr lang="en-US"/>
          </a:p>
        </p:txBody>
      </p:sp>
      <p:sp>
        <p:nvSpPr>
          <p:cNvPr id="18"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5"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1" name="Datumsplatzhalter 10"/>
          <p:cNvSpPr>
            <a:spLocks noGrp="1"/>
          </p:cNvSpPr>
          <p:nvPr>
            <p:ph type="dt" sz="half" idx="29"/>
          </p:nvPr>
        </p:nvSpPr>
        <p:spPr/>
        <p:txBody>
          <a:bodyPr/>
          <a:lstStyle/>
          <a:p>
            <a:endParaRPr lang="cs-CZ" dirty="0"/>
          </a:p>
        </p:txBody>
      </p:sp>
      <p:sp>
        <p:nvSpPr>
          <p:cNvPr id="14" name="Fußzeilenplatzhalter 13"/>
          <p:cNvSpPr>
            <a:spLocks noGrp="1"/>
          </p:cNvSpPr>
          <p:nvPr>
            <p:ph type="ftr" sz="quarter" idx="30"/>
          </p:nvPr>
        </p:nvSpPr>
        <p:spPr/>
        <p:txBody>
          <a:bodyPr/>
          <a:lstStyle/>
          <a:p>
            <a:endParaRPr lang="cs-CZ" noProof="0" dirty="0"/>
          </a:p>
        </p:txBody>
      </p:sp>
      <p:sp>
        <p:nvSpPr>
          <p:cNvPr id="16" name="Foliennummernplatzhalter 15"/>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208415338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ext + image">
    <p:spTree>
      <p:nvGrpSpPr>
        <p:cNvPr id="1" name=""/>
        <p:cNvGrpSpPr/>
        <p:nvPr/>
      </p:nvGrpSpPr>
      <p:grpSpPr>
        <a:xfrm>
          <a:off x="0" y="0"/>
          <a:ext cx="0" cy="0"/>
          <a:chOff x="0" y="0"/>
          <a:chExt cx="0" cy="0"/>
        </a:xfrm>
      </p:grpSpPr>
      <p:sp>
        <p:nvSpPr>
          <p:cNvPr id="7" name="Picture Placeholder 3"/>
          <p:cNvSpPr>
            <a:spLocks noGrp="1"/>
          </p:cNvSpPr>
          <p:nvPr>
            <p:ph type="pic" sz="quarter" idx="18" hasCustomPrompt="1"/>
          </p:nvPr>
        </p:nvSpPr>
        <p:spPr bwMode="gray">
          <a:xfrm>
            <a:off x="395286" y="1131889"/>
            <a:ext cx="5794920" cy="3456085"/>
          </a:xfrm>
          <a:solidFill>
            <a:schemeClr val="accent3"/>
          </a:solidFill>
        </p:spPr>
        <p:txBody>
          <a:bodyPr anchor="ctr"/>
          <a:lstStyle>
            <a:lvl1pPr algn="ctr">
              <a:defRPr>
                <a:solidFill>
                  <a:schemeClr val="tx1"/>
                </a:solidFill>
              </a:defRPr>
            </a:lvl1pPr>
          </a:lstStyle>
          <a:p>
            <a:r>
              <a:rPr lang="de-DE" noProof="0" dirty="0"/>
              <a:t>Klicke auf das Icon, um ein Bild einzufügen</a:t>
            </a:r>
            <a:br>
              <a:rPr lang="de-DE" noProof="0" dirty="0"/>
            </a:br>
            <a:endParaRPr lang="de-DE" noProof="0" dirty="0"/>
          </a:p>
        </p:txBody>
      </p:sp>
      <p:sp>
        <p:nvSpPr>
          <p:cNvPr id="8" name="Text Placeholder 7"/>
          <p:cNvSpPr>
            <a:spLocks noGrp="1"/>
          </p:cNvSpPr>
          <p:nvPr>
            <p:ph type="body" sz="quarter" idx="13" hasCustomPrompt="1"/>
          </p:nvPr>
        </p:nvSpPr>
        <p:spPr bwMode="gray">
          <a:xfrm>
            <a:off x="6334206" y="1131889"/>
            <a:ext cx="2411161" cy="3456085"/>
          </a:xfrm>
        </p:spPr>
        <p:txBody>
          <a:bodyPr lIns="0"/>
          <a:lstStyle/>
          <a:p>
            <a:pPr lvl="0"/>
            <a:r>
              <a:rPr lang="de-DE" noProof="0" dirty="0"/>
              <a:t>Schreibe hier deinen Text.</a:t>
            </a:r>
          </a:p>
        </p:txBody>
      </p:sp>
      <p:sp>
        <p:nvSpPr>
          <p:cNvPr id="3" name="Titel 2"/>
          <p:cNvSpPr>
            <a:spLocks noGrp="1"/>
          </p:cNvSpPr>
          <p:nvPr>
            <p:ph type="title"/>
          </p:nvPr>
        </p:nvSpPr>
        <p:spPr/>
        <p:txBody>
          <a:bodyPr/>
          <a:lstStyle/>
          <a:p>
            <a:r>
              <a:rPr lang="de-DE"/>
              <a:t>Titelmasterformat durch Klicken bearbeiten</a:t>
            </a:r>
            <a:endParaRPr lang="en-US"/>
          </a:p>
        </p:txBody>
      </p:sp>
      <p:sp>
        <p:nvSpPr>
          <p:cNvPr id="10"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2"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3" name="Datumsplatzhalter 12"/>
          <p:cNvSpPr>
            <a:spLocks noGrp="1"/>
          </p:cNvSpPr>
          <p:nvPr>
            <p:ph type="dt" sz="half" idx="29"/>
          </p:nvPr>
        </p:nvSpPr>
        <p:spPr/>
        <p:txBody>
          <a:bodyPr/>
          <a:lstStyle/>
          <a:p>
            <a:endParaRPr lang="cs-CZ" dirty="0"/>
          </a:p>
        </p:txBody>
      </p:sp>
      <p:sp>
        <p:nvSpPr>
          <p:cNvPr id="14" name="Fußzeilenplatzhalter 13"/>
          <p:cNvSpPr>
            <a:spLocks noGrp="1"/>
          </p:cNvSpPr>
          <p:nvPr>
            <p:ph type="ftr" sz="quarter" idx="30"/>
          </p:nvPr>
        </p:nvSpPr>
        <p:spPr/>
        <p:txBody>
          <a:bodyPr/>
          <a:lstStyle/>
          <a:p>
            <a:endParaRPr lang="cs-CZ" noProof="0" dirty="0"/>
          </a:p>
        </p:txBody>
      </p:sp>
      <p:sp>
        <p:nvSpPr>
          <p:cNvPr id="15" name="Foliennummernplatzhalter 14"/>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391327433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 x images">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bwMode="gray">
          <a:xfrm>
            <a:off x="395288" y="1131889"/>
            <a:ext cx="4104712" cy="2323603"/>
          </a:xfrm>
          <a:solidFill>
            <a:schemeClr val="accent3"/>
          </a:solidFill>
        </p:spPr>
        <p:txBody>
          <a:bodyPr anchor="ctr"/>
          <a:lstStyle>
            <a:lvl1pPr algn="ctr">
              <a:defRPr>
                <a:solidFill>
                  <a:schemeClr val="tx1"/>
                </a:solidFill>
              </a:defRPr>
            </a:lvl1pPr>
          </a:lstStyle>
          <a:p>
            <a:r>
              <a:rPr lang="de-DE" noProof="0" dirty="0"/>
              <a:t>Klicke auf das Icon, um ein Bild einzufügen</a:t>
            </a:r>
            <a:br>
              <a:rPr lang="de-DE" noProof="0" dirty="0"/>
            </a:br>
            <a:endParaRPr lang="de-DE" noProof="0" dirty="0"/>
          </a:p>
        </p:txBody>
      </p:sp>
      <p:sp>
        <p:nvSpPr>
          <p:cNvPr id="7" name="Picture Placeholder 3"/>
          <p:cNvSpPr>
            <a:spLocks noGrp="1"/>
          </p:cNvSpPr>
          <p:nvPr>
            <p:ph type="pic" sz="quarter" idx="18" hasCustomPrompt="1"/>
          </p:nvPr>
        </p:nvSpPr>
        <p:spPr bwMode="gray">
          <a:xfrm>
            <a:off x="4644000" y="1131889"/>
            <a:ext cx="4104712" cy="2323603"/>
          </a:xfrm>
          <a:solidFill>
            <a:schemeClr val="accent3"/>
          </a:solidFill>
        </p:spPr>
        <p:txBody>
          <a:bodyPr anchor="ctr"/>
          <a:lstStyle>
            <a:lvl1pPr algn="ctr">
              <a:defRPr>
                <a:solidFill>
                  <a:schemeClr val="tx1"/>
                </a:solidFill>
              </a:defRPr>
            </a:lvl1pPr>
          </a:lstStyle>
          <a:p>
            <a:r>
              <a:rPr lang="de-DE" noProof="0" dirty="0"/>
              <a:t>Klicke auf das Icon, um ein Bild einzufügen</a:t>
            </a:r>
            <a:br>
              <a:rPr lang="de-DE" noProof="0" dirty="0"/>
            </a:br>
            <a:endParaRPr lang="de-DE" noProof="0" dirty="0"/>
          </a:p>
        </p:txBody>
      </p:sp>
      <p:sp>
        <p:nvSpPr>
          <p:cNvPr id="3" name="Titel 2"/>
          <p:cNvSpPr>
            <a:spLocks noGrp="1"/>
          </p:cNvSpPr>
          <p:nvPr>
            <p:ph type="title"/>
          </p:nvPr>
        </p:nvSpPr>
        <p:spPr/>
        <p:txBody>
          <a:bodyPr/>
          <a:lstStyle/>
          <a:p>
            <a:r>
              <a:rPr lang="de-DE"/>
              <a:t>Titelmasterformat durch Klicken bearbeiten</a:t>
            </a:r>
            <a:endParaRPr lang="en-US"/>
          </a:p>
        </p:txBody>
      </p:sp>
      <p:sp>
        <p:nvSpPr>
          <p:cNvPr id="13"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4" name="Text Placeholder 7"/>
          <p:cNvSpPr>
            <a:spLocks noGrp="1"/>
          </p:cNvSpPr>
          <p:nvPr>
            <p:ph type="body" sz="quarter" idx="13" hasCustomPrompt="1"/>
          </p:nvPr>
        </p:nvSpPr>
        <p:spPr bwMode="gray">
          <a:xfrm>
            <a:off x="395287" y="3455492"/>
            <a:ext cx="4104713" cy="1132482"/>
          </a:xfrm>
        </p:spPr>
        <p:txBody>
          <a:bodyPr lIns="0" tIns="144000"/>
          <a:lstStyle/>
          <a:p>
            <a:pPr lvl="0"/>
            <a:r>
              <a:rPr lang="de-DE" noProof="0" dirty="0"/>
              <a:t>Schreibe hier deinen Text.</a:t>
            </a:r>
          </a:p>
        </p:txBody>
      </p:sp>
      <p:sp>
        <p:nvSpPr>
          <p:cNvPr id="15" name="Text Placeholder 7"/>
          <p:cNvSpPr>
            <a:spLocks noGrp="1"/>
          </p:cNvSpPr>
          <p:nvPr>
            <p:ph type="body" sz="quarter" idx="28" hasCustomPrompt="1"/>
          </p:nvPr>
        </p:nvSpPr>
        <p:spPr bwMode="gray">
          <a:xfrm>
            <a:off x="4643999" y="3455492"/>
            <a:ext cx="4104713" cy="1132482"/>
          </a:xfrm>
        </p:spPr>
        <p:txBody>
          <a:bodyPr lIns="0" tIns="144000"/>
          <a:lstStyle/>
          <a:p>
            <a:pPr lvl="0"/>
            <a:r>
              <a:rPr lang="de-DE" noProof="0" dirty="0"/>
              <a:t>Schreibe hier deinen Text.</a:t>
            </a:r>
          </a:p>
        </p:txBody>
      </p:sp>
      <p:sp>
        <p:nvSpPr>
          <p:cNvPr id="16" name="Textplatzhalter 4"/>
          <p:cNvSpPr>
            <a:spLocks noGrp="1"/>
          </p:cNvSpPr>
          <p:nvPr>
            <p:ph type="body" sz="quarter" idx="33"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2" name="Datumsplatzhalter 11"/>
          <p:cNvSpPr>
            <a:spLocks noGrp="1"/>
          </p:cNvSpPr>
          <p:nvPr>
            <p:ph type="dt" sz="half" idx="34"/>
          </p:nvPr>
        </p:nvSpPr>
        <p:spPr/>
        <p:txBody>
          <a:bodyPr/>
          <a:lstStyle/>
          <a:p>
            <a:endParaRPr lang="cs-CZ" dirty="0"/>
          </a:p>
        </p:txBody>
      </p:sp>
      <p:sp>
        <p:nvSpPr>
          <p:cNvPr id="17" name="Fußzeilenplatzhalter 16"/>
          <p:cNvSpPr>
            <a:spLocks noGrp="1"/>
          </p:cNvSpPr>
          <p:nvPr>
            <p:ph type="ftr" sz="quarter" idx="35"/>
          </p:nvPr>
        </p:nvSpPr>
        <p:spPr/>
        <p:txBody>
          <a:bodyPr/>
          <a:lstStyle/>
          <a:p>
            <a:endParaRPr lang="cs-CZ" noProof="0" dirty="0"/>
          </a:p>
        </p:txBody>
      </p:sp>
      <p:sp>
        <p:nvSpPr>
          <p:cNvPr id="18" name="Foliennummernplatzhalter 17"/>
          <p:cNvSpPr>
            <a:spLocks noGrp="1"/>
          </p:cNvSpPr>
          <p:nvPr>
            <p:ph type="sldNum" sz="quarter" idx="36"/>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329736529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Image fullsiz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44" name="think-cell Folie" r:id="rId4" imgW="245" imgH="245" progId="TCLayout.ActiveDocument.1">
                  <p:embed/>
                </p:oleObj>
              </mc:Choice>
              <mc:Fallback>
                <p:oleObj name="think-cell Folie" r:id="rId4" imgW="245" imgH="245"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3"/>
          <p:cNvSpPr>
            <a:spLocks noGrp="1"/>
          </p:cNvSpPr>
          <p:nvPr>
            <p:ph type="pic" sz="quarter" idx="18" hasCustomPrompt="1"/>
          </p:nvPr>
        </p:nvSpPr>
        <p:spPr bwMode="gray">
          <a:xfrm>
            <a:off x="0" y="0"/>
            <a:ext cx="9144000" cy="4675499"/>
          </a:xfrm>
          <a:prstGeom prst="rect">
            <a:avLst/>
          </a:prstGeom>
          <a:solidFill>
            <a:schemeClr val="accent3"/>
          </a:solidFill>
        </p:spPr>
        <p:txBody>
          <a:bodyPr anchor="ctr"/>
          <a:lstStyle>
            <a:lvl1pPr algn="ctr">
              <a:defRPr>
                <a:solidFill>
                  <a:schemeClr val="tx1"/>
                </a:solidFill>
              </a:defRPr>
            </a:lvl1pPr>
          </a:lstStyle>
          <a:p>
            <a:r>
              <a:rPr lang="de-DE" noProof="0" dirty="0"/>
              <a:t>Klicke auf das Icon, um ein Bild einzufügen</a:t>
            </a:r>
            <a:br>
              <a:rPr lang="de-DE" noProof="0" dirty="0"/>
            </a:br>
            <a:endParaRPr lang="de-DE" noProof="0" dirty="0"/>
          </a:p>
        </p:txBody>
      </p:sp>
      <p:sp>
        <p:nvSpPr>
          <p:cNvPr id="4" name="Titel 3"/>
          <p:cNvSpPr>
            <a:spLocks noGrp="1"/>
          </p:cNvSpPr>
          <p:nvPr>
            <p:ph type="title"/>
          </p:nvPr>
        </p:nvSpPr>
        <p:spPr>
          <a:xfrm>
            <a:off x="-1" y="4675500"/>
            <a:ext cx="9144001" cy="468000"/>
          </a:xfrm>
          <a:solidFill>
            <a:schemeClr val="tx1"/>
          </a:solidFill>
        </p:spPr>
        <p:txBody>
          <a:bodyPr anchor="ctr"/>
          <a:lstStyle>
            <a:lvl1pPr algn="ctr">
              <a:defRPr>
                <a:solidFill>
                  <a:schemeClr val="bg1"/>
                </a:solidFill>
              </a:defRPr>
            </a:lvl1pPr>
          </a:lstStyle>
          <a:p>
            <a:r>
              <a:rPr lang="de-DE"/>
              <a:t>Titelmasterformat durch Klicken bearbeiten</a:t>
            </a:r>
            <a:endParaRPr lang="en-US" dirty="0"/>
          </a:p>
        </p:txBody>
      </p:sp>
      <p:sp>
        <p:nvSpPr>
          <p:cNvPr id="5" name="Datumsplatzhalter 4"/>
          <p:cNvSpPr>
            <a:spLocks noGrp="1"/>
          </p:cNvSpPr>
          <p:nvPr>
            <p:ph type="dt" sz="half" idx="19"/>
          </p:nvPr>
        </p:nvSpPr>
        <p:spPr>
          <a:xfrm>
            <a:off x="7776356" y="5200042"/>
            <a:ext cx="720079" cy="136050"/>
          </a:xfrm>
          <a:prstGeom prst="rect">
            <a:avLst/>
          </a:prstGeom>
        </p:spPr>
        <p:txBody>
          <a:bodyPr/>
          <a:lstStyle/>
          <a:p>
            <a:endParaRPr lang="de-DE" dirty="0"/>
          </a:p>
        </p:txBody>
      </p:sp>
      <p:sp>
        <p:nvSpPr>
          <p:cNvPr id="6" name="Fußzeilenplatzhalter 5"/>
          <p:cNvSpPr>
            <a:spLocks noGrp="1"/>
          </p:cNvSpPr>
          <p:nvPr>
            <p:ph type="ftr" sz="quarter" idx="20"/>
          </p:nvPr>
        </p:nvSpPr>
        <p:spPr>
          <a:xfrm>
            <a:off x="5543550" y="5200042"/>
            <a:ext cx="2232806" cy="136050"/>
          </a:xfrm>
          <a:prstGeom prst="rect">
            <a:avLst/>
          </a:prstGeom>
        </p:spPr>
        <p:txBody>
          <a:bodyPr/>
          <a:lstStyle/>
          <a:p>
            <a:endParaRPr lang="de-DE" dirty="0"/>
          </a:p>
        </p:txBody>
      </p:sp>
      <p:sp>
        <p:nvSpPr>
          <p:cNvPr id="7" name="Foliennummernplatzhalter 6"/>
          <p:cNvSpPr>
            <a:spLocks noGrp="1"/>
          </p:cNvSpPr>
          <p:nvPr>
            <p:ph type="sldNum" sz="quarter" idx="21"/>
          </p:nvPr>
        </p:nvSpPr>
        <p:spPr>
          <a:xfrm>
            <a:off x="8496436" y="5200042"/>
            <a:ext cx="647565" cy="136050"/>
          </a:xfrm>
          <a:prstGeom prst="rect">
            <a:avLst/>
          </a:prstGeom>
        </p:spPr>
        <p:txBody>
          <a:bodyPr/>
          <a:lstStyle/>
          <a:p>
            <a:r>
              <a:rPr lang="de-DE" dirty="0">
                <a:sym typeface="Wingdings"/>
              </a:rPr>
              <a:t>  </a:t>
            </a:r>
            <a:fld id="{443B15C8-972D-49F6-9B7C-5A2154A8C95F}" type="slidenum">
              <a:rPr lang="de-DE" smtClean="0"/>
              <a:pPr/>
              <a:t>‹Nr.›</a:t>
            </a:fld>
            <a:endParaRPr lang="de-DE" dirty="0"/>
          </a:p>
        </p:txBody>
      </p:sp>
    </p:spTree>
    <p:extLst>
      <p:ext uri="{BB962C8B-B14F-4D97-AF65-F5344CB8AC3E}">
        <p14:creationId xmlns:p14="http://schemas.microsoft.com/office/powerpoint/2010/main" val="153525971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a:t>Titelmasterformat durch Klicken bearbeiten</a:t>
            </a:r>
            <a:endParaRPr lang="en-US"/>
          </a:p>
        </p:txBody>
      </p:sp>
      <p:sp>
        <p:nvSpPr>
          <p:cNvPr id="8"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0"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9" name="Datumsplatzhalter 8"/>
          <p:cNvSpPr>
            <a:spLocks noGrp="1"/>
          </p:cNvSpPr>
          <p:nvPr>
            <p:ph type="dt" sz="half" idx="29"/>
          </p:nvPr>
        </p:nvSpPr>
        <p:spPr/>
        <p:txBody>
          <a:bodyPr/>
          <a:lstStyle/>
          <a:p>
            <a:endParaRPr lang="cs-CZ" dirty="0"/>
          </a:p>
        </p:txBody>
      </p:sp>
      <p:sp>
        <p:nvSpPr>
          <p:cNvPr id="11" name="Fußzeilenplatzhalter 10"/>
          <p:cNvSpPr>
            <a:spLocks noGrp="1"/>
          </p:cNvSpPr>
          <p:nvPr>
            <p:ph type="ftr" sz="quarter" idx="30"/>
          </p:nvPr>
        </p:nvSpPr>
        <p:spPr/>
        <p:txBody>
          <a:bodyPr/>
          <a:lstStyle/>
          <a:p>
            <a:endParaRPr lang="cs-CZ" noProof="0" dirty="0"/>
          </a:p>
        </p:txBody>
      </p:sp>
      <p:sp>
        <p:nvSpPr>
          <p:cNvPr id="12" name="Foliennummernplatzhalter 11"/>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422006139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668" name="think-cell Folie" r:id="rId4" imgW="245" imgH="245" progId="TCLayout.ActiveDocument.1">
                  <p:embed/>
                </p:oleObj>
              </mc:Choice>
              <mc:Fallback>
                <p:oleObj name="think-cell Folie" r:id="rId4" imgW="245" imgH="245"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bwMode="gray">
          <a:xfrm>
            <a:off x="0" y="0"/>
            <a:ext cx="9144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 name="Title 1"/>
          <p:cNvSpPr>
            <a:spLocks noGrp="1"/>
          </p:cNvSpPr>
          <p:nvPr>
            <p:ph type="title" hasCustomPrompt="1"/>
          </p:nvPr>
        </p:nvSpPr>
        <p:spPr bwMode="gray">
          <a:xfrm>
            <a:off x="468312" y="1527176"/>
            <a:ext cx="5075238" cy="3060798"/>
          </a:xfrm>
        </p:spPr>
        <p:txBody>
          <a:bodyPr anchor="b"/>
          <a:lstStyle>
            <a:lvl1pPr>
              <a:defRPr sz="4400" baseline="0">
                <a:solidFill>
                  <a:schemeClr val="bg1"/>
                </a:solidFill>
              </a:defRPr>
            </a:lvl1pPr>
          </a:lstStyle>
          <a:p>
            <a:r>
              <a:rPr lang="de-DE" noProof="0" dirty="0" err="1"/>
              <a:t>Kapiteltrenner</a:t>
            </a:r>
            <a:r>
              <a:rPr lang="de-DE" noProof="0" dirty="0"/>
              <a:t> - </a:t>
            </a:r>
            <a:br>
              <a:rPr lang="de-DE" noProof="0" dirty="0"/>
            </a:br>
            <a:r>
              <a:rPr lang="de-DE" noProof="0" dirty="0"/>
              <a:t>Text eintragen</a:t>
            </a:r>
          </a:p>
        </p:txBody>
      </p:sp>
      <p:sp>
        <p:nvSpPr>
          <p:cNvPr id="13" name="Date Placeholder 4"/>
          <p:cNvSpPr>
            <a:spLocks noGrp="1"/>
          </p:cNvSpPr>
          <p:nvPr>
            <p:ph type="dt" sz="half" idx="10"/>
          </p:nvPr>
        </p:nvSpPr>
        <p:spPr>
          <a:xfrm>
            <a:off x="7956376" y="5236046"/>
            <a:ext cx="657959" cy="136050"/>
          </a:xfrm>
          <a:prstGeom prst="rect">
            <a:avLst/>
          </a:prstGeom>
        </p:spPr>
        <p:txBody>
          <a:bodyPr/>
          <a:lstStyle>
            <a:lvl1pPr>
              <a:defRPr>
                <a:solidFill>
                  <a:schemeClr val="accent1">
                    <a:alpha val="0"/>
                  </a:schemeClr>
                </a:solidFill>
              </a:defRPr>
            </a:lvl1pPr>
          </a:lstStyle>
          <a:p>
            <a:endParaRPr lang="de-DE" noProof="0" dirty="0"/>
          </a:p>
        </p:txBody>
      </p:sp>
      <p:sp>
        <p:nvSpPr>
          <p:cNvPr id="14" name="Footer Placeholder 5"/>
          <p:cNvSpPr>
            <a:spLocks noGrp="1"/>
          </p:cNvSpPr>
          <p:nvPr>
            <p:ph type="ftr" sz="quarter" idx="11"/>
          </p:nvPr>
        </p:nvSpPr>
        <p:spPr>
          <a:xfrm>
            <a:off x="5543550" y="5236046"/>
            <a:ext cx="2412826" cy="136050"/>
          </a:xfrm>
          <a:prstGeom prst="rect">
            <a:avLst/>
          </a:prstGeom>
        </p:spPr>
        <p:txBody>
          <a:bodyPr/>
          <a:lstStyle>
            <a:lvl1pPr>
              <a:defRPr>
                <a:solidFill>
                  <a:schemeClr val="accent1">
                    <a:alpha val="0"/>
                  </a:schemeClr>
                </a:solidFill>
              </a:defRPr>
            </a:lvl1pPr>
          </a:lstStyle>
          <a:p>
            <a:endParaRPr lang="de-DE" noProof="0" dirty="0"/>
          </a:p>
        </p:txBody>
      </p:sp>
      <p:sp>
        <p:nvSpPr>
          <p:cNvPr id="15" name="Slide Number Placeholder 6"/>
          <p:cNvSpPr>
            <a:spLocks noGrp="1"/>
          </p:cNvSpPr>
          <p:nvPr>
            <p:ph type="sldNum" sz="quarter" idx="12"/>
          </p:nvPr>
        </p:nvSpPr>
        <p:spPr>
          <a:xfrm>
            <a:off x="8580769" y="5236046"/>
            <a:ext cx="563231" cy="136050"/>
          </a:xfrm>
          <a:prstGeom prst="rect">
            <a:avLst/>
          </a:prstGeom>
        </p:spPr>
        <p:txBody>
          <a:bodyPr/>
          <a:lstStyle>
            <a:lvl1pPr>
              <a:defRPr>
                <a:solidFill>
                  <a:schemeClr val="accent1">
                    <a:alpha val="0"/>
                  </a:schemeClr>
                </a:solidFill>
              </a:defRPr>
            </a:lvl1pPr>
          </a:lstStyle>
          <a:p>
            <a:r>
              <a:rPr lang="de-DE" noProof="0" dirty="0"/>
              <a:t> </a:t>
            </a:r>
            <a:r>
              <a:rPr lang="de-DE" noProof="0" dirty="0">
                <a:sym typeface="Wingdings"/>
              </a:rPr>
              <a:t>  </a:t>
            </a:r>
            <a:fld id="{443B15C8-972D-49F6-9B7C-5A2154A8C95F}" type="slidenum">
              <a:rPr lang="de-DE" noProof="0" smtClean="0"/>
              <a:pPr/>
              <a:t>‹Nr.›</a:t>
            </a:fld>
            <a:endParaRPr lang="de-DE" noProof="0" dirty="0"/>
          </a:p>
        </p:txBody>
      </p:sp>
    </p:spTree>
    <p:extLst>
      <p:ext uri="{BB962C8B-B14F-4D97-AF65-F5344CB8AC3E}">
        <p14:creationId xmlns:p14="http://schemas.microsoft.com/office/powerpoint/2010/main" val="76156012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 x tex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bwMode="gray">
          <a:xfrm>
            <a:off x="395288" y="1131889"/>
            <a:ext cx="1980355" cy="3456085"/>
          </a:xfrm>
        </p:spPr>
        <p:txBody>
          <a:bodyPr/>
          <a:lstStyle/>
          <a:p>
            <a:pPr lvl="0"/>
            <a:r>
              <a:rPr lang="de-DE" noProof="0" dirty="0"/>
              <a:t>Schreibe hier deinen Text.</a:t>
            </a:r>
          </a:p>
        </p:txBody>
      </p:sp>
      <p:sp>
        <p:nvSpPr>
          <p:cNvPr id="7" name="Text Placeholder 7"/>
          <p:cNvSpPr>
            <a:spLocks noGrp="1"/>
          </p:cNvSpPr>
          <p:nvPr>
            <p:ph type="body" sz="quarter" idx="17" hasCustomPrompt="1"/>
          </p:nvPr>
        </p:nvSpPr>
        <p:spPr bwMode="gray">
          <a:xfrm>
            <a:off x="2519644" y="1131889"/>
            <a:ext cx="1979860" cy="3456085"/>
          </a:xfrm>
        </p:spPr>
        <p:txBody>
          <a:bodyPr/>
          <a:lstStyle/>
          <a:p>
            <a:pPr lvl="0"/>
            <a:r>
              <a:rPr lang="de-DE" noProof="0" dirty="0"/>
              <a:t>Schreibe hier deinen Text.</a:t>
            </a:r>
          </a:p>
        </p:txBody>
      </p:sp>
      <p:sp>
        <p:nvSpPr>
          <p:cNvPr id="12" name="Text Placeholder 7"/>
          <p:cNvSpPr>
            <a:spLocks noGrp="1"/>
          </p:cNvSpPr>
          <p:nvPr>
            <p:ph type="body" sz="quarter" idx="21" hasCustomPrompt="1"/>
          </p:nvPr>
        </p:nvSpPr>
        <p:spPr bwMode="gray">
          <a:xfrm>
            <a:off x="4644496" y="1131889"/>
            <a:ext cx="1979860" cy="3456085"/>
          </a:xfrm>
        </p:spPr>
        <p:txBody>
          <a:bodyPr/>
          <a:lstStyle/>
          <a:p>
            <a:pPr lvl="0"/>
            <a:r>
              <a:rPr lang="de-DE" noProof="0" dirty="0"/>
              <a:t>Schreibe hier deinen Text.</a:t>
            </a:r>
          </a:p>
        </p:txBody>
      </p:sp>
      <p:sp>
        <p:nvSpPr>
          <p:cNvPr id="13" name="Text Placeholder 7"/>
          <p:cNvSpPr>
            <a:spLocks noGrp="1"/>
          </p:cNvSpPr>
          <p:nvPr>
            <p:ph type="body" sz="quarter" idx="22" hasCustomPrompt="1"/>
          </p:nvPr>
        </p:nvSpPr>
        <p:spPr bwMode="gray">
          <a:xfrm>
            <a:off x="6768355" y="1131889"/>
            <a:ext cx="1977011" cy="3456085"/>
          </a:xfrm>
        </p:spPr>
        <p:txBody>
          <a:bodyPr/>
          <a:lstStyle/>
          <a:p>
            <a:pPr lvl="0"/>
            <a:r>
              <a:rPr lang="de-DE" noProof="0" dirty="0"/>
              <a:t>Schreibe hier deinen Text.</a:t>
            </a:r>
          </a:p>
        </p:txBody>
      </p:sp>
      <p:sp>
        <p:nvSpPr>
          <p:cNvPr id="4" name="Titel 3"/>
          <p:cNvSpPr>
            <a:spLocks noGrp="1"/>
          </p:cNvSpPr>
          <p:nvPr>
            <p:ph type="title"/>
          </p:nvPr>
        </p:nvSpPr>
        <p:spPr/>
        <p:txBody>
          <a:bodyPr/>
          <a:lstStyle/>
          <a:p>
            <a:r>
              <a:rPr lang="de-DE"/>
              <a:t>Titelmasterformat durch Klicken bearbeiten</a:t>
            </a:r>
            <a:endParaRPr lang="en-US"/>
          </a:p>
        </p:txBody>
      </p:sp>
      <p:sp>
        <p:nvSpPr>
          <p:cNvPr id="18"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5"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1" name="Datumsplatzhalter 10"/>
          <p:cNvSpPr>
            <a:spLocks noGrp="1"/>
          </p:cNvSpPr>
          <p:nvPr>
            <p:ph type="dt" sz="half" idx="29"/>
          </p:nvPr>
        </p:nvSpPr>
        <p:spPr/>
        <p:txBody>
          <a:bodyPr/>
          <a:lstStyle/>
          <a:p>
            <a:endParaRPr lang="cs-CZ" dirty="0"/>
          </a:p>
        </p:txBody>
      </p:sp>
      <p:sp>
        <p:nvSpPr>
          <p:cNvPr id="14" name="Fußzeilenplatzhalter 13"/>
          <p:cNvSpPr>
            <a:spLocks noGrp="1"/>
          </p:cNvSpPr>
          <p:nvPr>
            <p:ph type="ftr" sz="quarter" idx="30"/>
          </p:nvPr>
        </p:nvSpPr>
        <p:spPr/>
        <p:txBody>
          <a:bodyPr/>
          <a:lstStyle/>
          <a:p>
            <a:endParaRPr lang="cs-CZ" noProof="0" dirty="0"/>
          </a:p>
        </p:txBody>
      </p:sp>
      <p:sp>
        <p:nvSpPr>
          <p:cNvPr id="16" name="Foliennummernplatzhalter 15"/>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420778481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enutzerdefiniertes Layout">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endParaRPr lang="cs-CZ" dirty="0"/>
          </a:p>
        </p:txBody>
      </p:sp>
      <p:sp>
        <p:nvSpPr>
          <p:cNvPr id="4" name="Fußzeilenplatzhalter 3"/>
          <p:cNvSpPr>
            <a:spLocks noGrp="1"/>
          </p:cNvSpPr>
          <p:nvPr>
            <p:ph type="ftr" sz="quarter" idx="11"/>
          </p:nvPr>
        </p:nvSpPr>
        <p:spPr/>
        <p:txBody>
          <a:bodyPr/>
          <a:lstStyle/>
          <a:p>
            <a:endParaRPr lang="cs-CZ" noProof="0" dirty="0"/>
          </a:p>
        </p:txBody>
      </p:sp>
      <p:sp>
        <p:nvSpPr>
          <p:cNvPr id="5" name="Foliennummernplatzhalter 4"/>
          <p:cNvSpPr>
            <a:spLocks noGrp="1"/>
          </p:cNvSpPr>
          <p:nvPr>
            <p:ph type="sldNum" sz="quarter" idx="12"/>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263472931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92"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Objekt 2" hidden="1"/>
          <p:cNvPicPr>
            <a:picLocks noChangeAspect="1"/>
          </p:cNvPicPr>
          <p:nvPr>
            <p:custDataLst>
              <p:tags r:id="rId3"/>
            </p:custDataLst>
          </p:nvPr>
        </p:nvPicPr>
        <p:blipFill>
          <a:blip r:embed="rId7"/>
          <a:stretch>
            <a:fillRect/>
          </a:stretch>
        </p:blipFill>
        <p:spPr>
          <a:xfrm>
            <a:off x="1588" y="1588"/>
            <a:ext cx="1587" cy="1587"/>
          </a:xfrm>
          <a:prstGeom prst="rect">
            <a:avLst/>
          </a:prstGeom>
        </p:spPr>
      </p:pic>
      <p:sp>
        <p:nvSpPr>
          <p:cNvPr id="2" name="Title 1"/>
          <p:cNvSpPr>
            <a:spLocks noGrp="1"/>
          </p:cNvSpPr>
          <p:nvPr>
            <p:ph type="title" hasCustomPrompt="1"/>
          </p:nvPr>
        </p:nvSpPr>
        <p:spPr bwMode="gray"/>
        <p:txBody>
          <a:bodyPr/>
          <a:lstStyle/>
          <a:p>
            <a:r>
              <a:rPr lang="de-DE" noProof="0" dirty="0"/>
              <a:t>Folientitel</a:t>
            </a:r>
          </a:p>
        </p:txBody>
      </p:sp>
      <p:sp>
        <p:nvSpPr>
          <p:cNvPr id="12" name="Text Placeholder 4"/>
          <p:cNvSpPr>
            <a:spLocks noGrp="1"/>
          </p:cNvSpPr>
          <p:nvPr>
            <p:ph type="body" sz="quarter" idx="20" hasCustomPrompt="1"/>
          </p:nvPr>
        </p:nvSpPr>
        <p:spPr bwMode="gray">
          <a:xfrm>
            <a:off x="468312" y="339725"/>
            <a:ext cx="5075238" cy="144463"/>
          </a:xfrm>
        </p:spPr>
        <p:txBody>
          <a:bodyPr wrap="none" bIns="18000" anchor="b"/>
          <a:lstStyle>
            <a:lvl1pPr marL="0" indent="0">
              <a:lnSpc>
                <a:spcPct val="100000"/>
              </a:lnSpc>
              <a:spcBef>
                <a:spcPts val="0"/>
              </a:spcBef>
              <a:spcAft>
                <a:spcPts val="0"/>
              </a:spcAft>
              <a:buFont typeface="Arial" panose="020B0604020202020204" pitchFamily="34" charset="0"/>
              <a:buNone/>
              <a:defRPr sz="1000" b="1" cap="all" baseline="0">
                <a:solidFill>
                  <a:schemeClr val="accent4"/>
                </a:solidFill>
              </a:defRPr>
            </a:lvl1pPr>
            <a:lvl2pPr marL="0" indent="0">
              <a:lnSpc>
                <a:spcPct val="100000"/>
              </a:lnSpc>
              <a:spcBef>
                <a:spcPts val="0"/>
              </a:spcBef>
              <a:spcAft>
                <a:spcPts val="0"/>
              </a:spcAft>
              <a:buNone/>
              <a:defRPr sz="1000" b="1" cap="all">
                <a:solidFill>
                  <a:schemeClr val="accent4"/>
                </a:solidFill>
              </a:defRPr>
            </a:lvl2pPr>
            <a:lvl3pPr marL="0" indent="0">
              <a:lnSpc>
                <a:spcPct val="100000"/>
              </a:lnSpc>
              <a:spcBef>
                <a:spcPts val="0"/>
              </a:spcBef>
              <a:spcAft>
                <a:spcPts val="0"/>
              </a:spcAft>
              <a:buNone/>
              <a:defRPr sz="1000" b="1" cap="all">
                <a:solidFill>
                  <a:schemeClr val="accent4"/>
                </a:solidFill>
              </a:defRPr>
            </a:lvl3pPr>
            <a:lvl4pPr marL="0" indent="0">
              <a:lnSpc>
                <a:spcPct val="100000"/>
              </a:lnSpc>
              <a:spcBef>
                <a:spcPts val="0"/>
              </a:spcBef>
              <a:spcAft>
                <a:spcPts val="0"/>
              </a:spcAft>
              <a:buFont typeface="Arial" panose="020B0604020202020204" pitchFamily="34" charset="0"/>
              <a:buNone/>
              <a:defRPr sz="1000" b="1" cap="all">
                <a:solidFill>
                  <a:schemeClr val="accent4"/>
                </a:solidFill>
              </a:defRPr>
            </a:lvl4pPr>
            <a:lvl5pPr marL="0" indent="0">
              <a:lnSpc>
                <a:spcPct val="100000"/>
              </a:lnSpc>
              <a:spcBef>
                <a:spcPts val="0"/>
              </a:spcBef>
              <a:spcAft>
                <a:spcPts val="0"/>
              </a:spcAft>
              <a:buFont typeface="Arial" panose="020B0604020202020204" pitchFamily="34" charset="0"/>
              <a:buNone/>
              <a:defRPr sz="1000" b="1" cap="all">
                <a:solidFill>
                  <a:schemeClr val="accent4"/>
                </a:solidFill>
              </a:defRPr>
            </a:lvl5pPr>
            <a:lvl6pPr marL="0" indent="0">
              <a:lnSpc>
                <a:spcPct val="100000"/>
              </a:lnSpc>
              <a:spcBef>
                <a:spcPts val="0"/>
              </a:spcBef>
              <a:spcAft>
                <a:spcPts val="0"/>
              </a:spcAft>
              <a:buFont typeface="Arial" panose="020B0604020202020204" pitchFamily="34" charset="0"/>
              <a:buNone/>
              <a:defRPr sz="1000" b="1" cap="all">
                <a:solidFill>
                  <a:schemeClr val="accent4"/>
                </a:solidFill>
              </a:defRPr>
            </a:lvl6pPr>
            <a:lvl7pPr marL="0" indent="0">
              <a:lnSpc>
                <a:spcPct val="100000"/>
              </a:lnSpc>
              <a:spcBef>
                <a:spcPts val="0"/>
              </a:spcBef>
              <a:spcAft>
                <a:spcPts val="0"/>
              </a:spcAft>
              <a:buFont typeface="Arial" panose="020B0604020202020204" pitchFamily="34" charset="0"/>
              <a:buNone/>
              <a:defRPr sz="1000" b="1" cap="all">
                <a:solidFill>
                  <a:schemeClr val="accent4"/>
                </a:solidFill>
              </a:defRPr>
            </a:lvl7pPr>
            <a:lvl8pPr marL="0" indent="0">
              <a:lnSpc>
                <a:spcPct val="100000"/>
              </a:lnSpc>
              <a:spcBef>
                <a:spcPts val="0"/>
              </a:spcBef>
              <a:spcAft>
                <a:spcPts val="0"/>
              </a:spcAft>
              <a:buFont typeface="Arial" panose="020B0604020202020204" pitchFamily="34" charset="0"/>
              <a:buNone/>
              <a:defRPr sz="1000" b="1" cap="all">
                <a:solidFill>
                  <a:schemeClr val="accent4"/>
                </a:solidFill>
              </a:defRPr>
            </a:lvl8pPr>
            <a:lvl9pPr marL="0" indent="0">
              <a:lnSpc>
                <a:spcPct val="100000"/>
              </a:lnSpc>
              <a:spcBef>
                <a:spcPts val="0"/>
              </a:spcBef>
              <a:spcAft>
                <a:spcPts val="0"/>
              </a:spcAft>
              <a:buFont typeface="Arial" panose="020B0604020202020204" pitchFamily="34" charset="0"/>
              <a:buNone/>
              <a:defRPr sz="1000" b="1" cap="all">
                <a:solidFill>
                  <a:schemeClr val="accent4"/>
                </a:solidFill>
              </a:defRPr>
            </a:lvl9pPr>
          </a:lstStyle>
          <a:p>
            <a:pPr lvl="0"/>
            <a:r>
              <a:rPr lang="de-DE" noProof="0" dirty="0"/>
              <a:t>Kapitelüberschrift (OPTIONAL)</a:t>
            </a:r>
          </a:p>
        </p:txBody>
      </p:sp>
      <p:sp>
        <p:nvSpPr>
          <p:cNvPr id="11" name="ClipArt Placeholder 5"/>
          <p:cNvSpPr>
            <a:spLocks noGrp="1"/>
          </p:cNvSpPr>
          <p:nvPr>
            <p:ph type="clipArt" sz="quarter" idx="24"/>
          </p:nvPr>
        </p:nvSpPr>
        <p:spPr>
          <a:xfrm>
            <a:off x="7895176" y="4874400"/>
            <a:ext cx="61200" cy="61200"/>
          </a:xfrm>
          <a:solidFill>
            <a:schemeClr val="accent1"/>
          </a:solidFill>
        </p:spPr>
        <p:txBody>
          <a:bodyPr wrap="none" rIns="0"/>
          <a:lstStyle>
            <a:lvl1pPr algn="ctr">
              <a:defRPr sz="100">
                <a:solidFill>
                  <a:schemeClr val="tx1">
                    <a:alpha val="0"/>
                  </a:schemeClr>
                </a:solidFill>
              </a:defRPr>
            </a:lvl1pPr>
          </a:lstStyle>
          <a:p>
            <a:r>
              <a:rPr lang="de-DE" noProof="0"/>
              <a:t>ClipArt durch Klicken auf Symbol hinzufügen</a:t>
            </a:r>
            <a:endParaRPr lang="de-DE" noProof="0" dirty="0"/>
          </a:p>
        </p:txBody>
      </p:sp>
      <p:sp>
        <p:nvSpPr>
          <p:cNvPr id="13" name="Date Placeholder 12"/>
          <p:cNvSpPr>
            <a:spLocks noGrp="1"/>
          </p:cNvSpPr>
          <p:nvPr>
            <p:ph type="dt" sz="half" idx="25"/>
          </p:nvPr>
        </p:nvSpPr>
        <p:spPr>
          <a:xfrm>
            <a:off x="7956376" y="4836160"/>
            <a:ext cx="657959" cy="136050"/>
          </a:xfrm>
          <a:prstGeom prst="rect">
            <a:avLst/>
          </a:prstGeom>
        </p:spPr>
        <p:txBody>
          <a:bodyPr/>
          <a:lstStyle/>
          <a:p>
            <a:endParaRPr lang="de-DE" noProof="0" dirty="0"/>
          </a:p>
        </p:txBody>
      </p:sp>
      <p:sp>
        <p:nvSpPr>
          <p:cNvPr id="14" name="Footer Placeholder 16"/>
          <p:cNvSpPr>
            <a:spLocks noGrp="1"/>
          </p:cNvSpPr>
          <p:nvPr>
            <p:ph type="ftr" sz="quarter" idx="26"/>
          </p:nvPr>
        </p:nvSpPr>
        <p:spPr>
          <a:xfrm>
            <a:off x="5543550" y="4836160"/>
            <a:ext cx="2412826" cy="136050"/>
          </a:xfrm>
          <a:prstGeom prst="rect">
            <a:avLst/>
          </a:prstGeom>
        </p:spPr>
        <p:txBody>
          <a:bodyPr/>
          <a:lstStyle>
            <a:lvl1pPr>
              <a:defRPr/>
            </a:lvl1pPr>
          </a:lstStyle>
          <a:p>
            <a:endParaRPr lang="de-DE" noProof="0" dirty="0"/>
          </a:p>
        </p:txBody>
      </p:sp>
      <p:sp>
        <p:nvSpPr>
          <p:cNvPr id="15" name="Slide Number Placeholder 17"/>
          <p:cNvSpPr>
            <a:spLocks noGrp="1"/>
          </p:cNvSpPr>
          <p:nvPr>
            <p:ph type="sldNum" sz="quarter" idx="27"/>
          </p:nvPr>
        </p:nvSpPr>
        <p:spPr>
          <a:xfrm>
            <a:off x="8580769" y="4836160"/>
            <a:ext cx="563231" cy="136050"/>
          </a:xfrm>
          <a:prstGeom prst="rect">
            <a:avLst/>
          </a:prstGeom>
        </p:spPr>
        <p:txBody>
          <a:bodyPr/>
          <a:lstStyle/>
          <a:p>
            <a:r>
              <a:rPr lang="de-DE" noProof="0" dirty="0"/>
              <a:t> </a:t>
            </a:r>
            <a:r>
              <a:rPr lang="de-DE" noProof="0" dirty="0">
                <a:sym typeface="Wingdings"/>
              </a:rPr>
              <a:t>  </a:t>
            </a:r>
            <a:fld id="{443B15C8-972D-49F6-9B7C-5A2154A8C95F}" type="slidenum">
              <a:rPr lang="de-DE" noProof="0" smtClean="0"/>
              <a:pPr/>
              <a:t>‹Nr.›</a:t>
            </a:fld>
            <a:endParaRPr lang="de-DE" noProof="0" dirty="0"/>
          </a:p>
        </p:txBody>
      </p:sp>
    </p:spTree>
    <p:extLst>
      <p:ext uri="{BB962C8B-B14F-4D97-AF65-F5344CB8AC3E}">
        <p14:creationId xmlns:p14="http://schemas.microsoft.com/office/powerpoint/2010/main" val="161931001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716" name="think-cell Folie" r:id="rId4" imgW="270" imgH="270" progId="TCLayout.ActiveDocument.1">
                  <p:embed/>
                </p:oleObj>
              </mc:Choice>
              <mc:Fallback>
                <p:oleObj name="think-cell Folie" r:id="rId4" imgW="270" imgH="270"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gray"/>
        <p:txBody>
          <a:bodyPr/>
          <a:lstStyle/>
          <a:p>
            <a:r>
              <a:rPr lang="de-DE" noProof="0" dirty="0"/>
              <a:t>Folientitel</a:t>
            </a:r>
          </a:p>
        </p:txBody>
      </p:sp>
      <p:sp>
        <p:nvSpPr>
          <p:cNvPr id="12" name="Text Placeholder 4"/>
          <p:cNvSpPr>
            <a:spLocks noGrp="1"/>
          </p:cNvSpPr>
          <p:nvPr>
            <p:ph type="body" sz="quarter" idx="20" hasCustomPrompt="1"/>
          </p:nvPr>
        </p:nvSpPr>
        <p:spPr bwMode="gray">
          <a:xfrm>
            <a:off x="468312" y="339725"/>
            <a:ext cx="5075238" cy="144463"/>
          </a:xfrm>
        </p:spPr>
        <p:txBody>
          <a:bodyPr wrap="none" bIns="18000" anchor="b"/>
          <a:lstStyle>
            <a:lvl1pPr marL="0" indent="0">
              <a:lnSpc>
                <a:spcPct val="100000"/>
              </a:lnSpc>
              <a:spcBef>
                <a:spcPts val="0"/>
              </a:spcBef>
              <a:spcAft>
                <a:spcPts val="0"/>
              </a:spcAft>
              <a:buFont typeface="Arial" panose="020B0604020202020204" pitchFamily="34" charset="0"/>
              <a:buNone/>
              <a:defRPr sz="1000" b="1" cap="all" baseline="0">
                <a:solidFill>
                  <a:schemeClr val="accent4"/>
                </a:solidFill>
              </a:defRPr>
            </a:lvl1pPr>
            <a:lvl2pPr marL="0" indent="0">
              <a:lnSpc>
                <a:spcPct val="100000"/>
              </a:lnSpc>
              <a:spcBef>
                <a:spcPts val="0"/>
              </a:spcBef>
              <a:spcAft>
                <a:spcPts val="0"/>
              </a:spcAft>
              <a:buNone/>
              <a:defRPr sz="1000" b="1" cap="all">
                <a:solidFill>
                  <a:schemeClr val="accent4"/>
                </a:solidFill>
              </a:defRPr>
            </a:lvl2pPr>
            <a:lvl3pPr marL="0" indent="0">
              <a:lnSpc>
                <a:spcPct val="100000"/>
              </a:lnSpc>
              <a:spcBef>
                <a:spcPts val="0"/>
              </a:spcBef>
              <a:spcAft>
                <a:spcPts val="0"/>
              </a:spcAft>
              <a:buNone/>
              <a:defRPr sz="1000" b="1" cap="all">
                <a:solidFill>
                  <a:schemeClr val="accent4"/>
                </a:solidFill>
              </a:defRPr>
            </a:lvl3pPr>
            <a:lvl4pPr marL="0" indent="0">
              <a:lnSpc>
                <a:spcPct val="100000"/>
              </a:lnSpc>
              <a:spcBef>
                <a:spcPts val="0"/>
              </a:spcBef>
              <a:spcAft>
                <a:spcPts val="0"/>
              </a:spcAft>
              <a:buFont typeface="Arial" panose="020B0604020202020204" pitchFamily="34" charset="0"/>
              <a:buNone/>
              <a:defRPr sz="1000" b="1" cap="all">
                <a:solidFill>
                  <a:schemeClr val="accent4"/>
                </a:solidFill>
              </a:defRPr>
            </a:lvl4pPr>
            <a:lvl5pPr marL="0" indent="0">
              <a:lnSpc>
                <a:spcPct val="100000"/>
              </a:lnSpc>
              <a:spcBef>
                <a:spcPts val="0"/>
              </a:spcBef>
              <a:spcAft>
                <a:spcPts val="0"/>
              </a:spcAft>
              <a:buFont typeface="Arial" panose="020B0604020202020204" pitchFamily="34" charset="0"/>
              <a:buNone/>
              <a:defRPr sz="1000" b="1" cap="all">
                <a:solidFill>
                  <a:schemeClr val="accent4"/>
                </a:solidFill>
              </a:defRPr>
            </a:lvl5pPr>
            <a:lvl6pPr marL="0" indent="0">
              <a:lnSpc>
                <a:spcPct val="100000"/>
              </a:lnSpc>
              <a:spcBef>
                <a:spcPts val="0"/>
              </a:spcBef>
              <a:spcAft>
                <a:spcPts val="0"/>
              </a:spcAft>
              <a:buFont typeface="Arial" panose="020B0604020202020204" pitchFamily="34" charset="0"/>
              <a:buNone/>
              <a:defRPr sz="1000" b="1" cap="all">
                <a:solidFill>
                  <a:schemeClr val="accent4"/>
                </a:solidFill>
              </a:defRPr>
            </a:lvl6pPr>
            <a:lvl7pPr marL="0" indent="0">
              <a:lnSpc>
                <a:spcPct val="100000"/>
              </a:lnSpc>
              <a:spcBef>
                <a:spcPts val="0"/>
              </a:spcBef>
              <a:spcAft>
                <a:spcPts val="0"/>
              </a:spcAft>
              <a:buFont typeface="Arial" panose="020B0604020202020204" pitchFamily="34" charset="0"/>
              <a:buNone/>
              <a:defRPr sz="1000" b="1" cap="all">
                <a:solidFill>
                  <a:schemeClr val="accent4"/>
                </a:solidFill>
              </a:defRPr>
            </a:lvl7pPr>
            <a:lvl8pPr marL="0" indent="0">
              <a:lnSpc>
                <a:spcPct val="100000"/>
              </a:lnSpc>
              <a:spcBef>
                <a:spcPts val="0"/>
              </a:spcBef>
              <a:spcAft>
                <a:spcPts val="0"/>
              </a:spcAft>
              <a:buFont typeface="Arial" panose="020B0604020202020204" pitchFamily="34" charset="0"/>
              <a:buNone/>
              <a:defRPr sz="1000" b="1" cap="all">
                <a:solidFill>
                  <a:schemeClr val="accent4"/>
                </a:solidFill>
              </a:defRPr>
            </a:lvl8pPr>
            <a:lvl9pPr marL="0" indent="0">
              <a:lnSpc>
                <a:spcPct val="100000"/>
              </a:lnSpc>
              <a:spcBef>
                <a:spcPts val="0"/>
              </a:spcBef>
              <a:spcAft>
                <a:spcPts val="0"/>
              </a:spcAft>
              <a:buFont typeface="Arial" panose="020B0604020202020204" pitchFamily="34" charset="0"/>
              <a:buNone/>
              <a:defRPr sz="1000" b="1" cap="all">
                <a:solidFill>
                  <a:schemeClr val="accent4"/>
                </a:solidFill>
              </a:defRPr>
            </a:lvl9pPr>
          </a:lstStyle>
          <a:p>
            <a:pPr lvl="0"/>
            <a:r>
              <a:rPr lang="de-DE" noProof="0" dirty="0"/>
              <a:t>Kapitelüberschrift (OPTIONAL)</a:t>
            </a:r>
          </a:p>
        </p:txBody>
      </p:sp>
      <p:sp>
        <p:nvSpPr>
          <p:cNvPr id="15" name="Slide Number Placeholder 17"/>
          <p:cNvSpPr>
            <a:spLocks noGrp="1"/>
          </p:cNvSpPr>
          <p:nvPr>
            <p:ph type="sldNum" sz="quarter" idx="27"/>
          </p:nvPr>
        </p:nvSpPr>
        <p:spPr>
          <a:xfrm>
            <a:off x="8580769" y="4836160"/>
            <a:ext cx="563231" cy="136050"/>
          </a:xfrm>
          <a:prstGeom prst="rect">
            <a:avLst/>
          </a:prstGeom>
        </p:spPr>
        <p:txBody>
          <a:bodyPr/>
          <a:lstStyle/>
          <a:p>
            <a:r>
              <a:rPr lang="de-DE" noProof="0" dirty="0"/>
              <a:t> </a:t>
            </a:r>
            <a:r>
              <a:rPr lang="de-DE" noProof="0" dirty="0">
                <a:sym typeface="Wingdings"/>
              </a:rPr>
              <a:t>  </a:t>
            </a:r>
            <a:fld id="{443B15C8-972D-49F6-9B7C-5A2154A8C95F}" type="slidenum">
              <a:rPr lang="de-DE" noProof="0" smtClean="0"/>
              <a:pPr/>
              <a:t>‹Nr.›</a:t>
            </a:fld>
            <a:endParaRPr lang="de-DE" noProof="0" dirty="0"/>
          </a:p>
        </p:txBody>
      </p:sp>
    </p:spTree>
    <p:extLst>
      <p:ext uri="{BB962C8B-B14F-4D97-AF65-F5344CB8AC3E}">
        <p14:creationId xmlns:p14="http://schemas.microsoft.com/office/powerpoint/2010/main" val="379926331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Titelfoli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749" name="think-cell Folie" r:id="rId4" imgW="245" imgH="245" progId="TCLayout.ActiveDocument.1">
                  <p:embed/>
                </p:oleObj>
              </mc:Choice>
              <mc:Fallback>
                <p:oleObj name="think-cell Folie" r:id="rId4" imgW="245" imgH="245"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bwMode="gray">
          <a:xfrm>
            <a:off x="773357" y="2008981"/>
            <a:ext cx="4770193" cy="1609225"/>
          </a:xfrm>
          <a:solidFill>
            <a:schemeClr val="accent4"/>
          </a:solidFill>
        </p:spPr>
        <p:txBody>
          <a:bodyPr lIns="180000" tIns="144000" rIns="180000" bIns="144000">
            <a:noAutofit/>
          </a:bodyPr>
          <a:lstStyle>
            <a:lvl1pPr>
              <a:defRPr sz="3200">
                <a:solidFill>
                  <a:schemeClr val="bg1"/>
                </a:solidFill>
              </a:defRPr>
            </a:lvl1pPr>
          </a:lstStyle>
          <a:p>
            <a:r>
              <a:rPr lang="de-DE" noProof="0" dirty="0"/>
              <a:t>Präsentationstitel</a:t>
            </a:r>
            <a:br>
              <a:rPr lang="de-DE" noProof="0" dirty="0"/>
            </a:br>
            <a:r>
              <a:rPr lang="de-DE" noProof="0" dirty="0"/>
              <a:t>- maximal 2 Zeilen</a:t>
            </a:r>
          </a:p>
        </p:txBody>
      </p:sp>
      <p:sp>
        <p:nvSpPr>
          <p:cNvPr id="28" name="Subtitle 2"/>
          <p:cNvSpPr>
            <a:spLocks noGrp="1"/>
          </p:cNvSpPr>
          <p:nvPr>
            <p:ph type="subTitle" idx="1" hasCustomPrompt="1"/>
          </p:nvPr>
        </p:nvSpPr>
        <p:spPr bwMode="gray">
          <a:xfrm>
            <a:off x="773356" y="3075807"/>
            <a:ext cx="4770193" cy="542400"/>
          </a:xfrm>
        </p:spPr>
        <p:txBody>
          <a:bodyPr lIns="180000" tIns="108000" rIns="180000" bIns="108000" anchor="b"/>
          <a:lstStyle>
            <a:lvl1pPr marL="0" indent="0" algn="l">
              <a:lnSpc>
                <a:spcPct val="110000"/>
              </a:lnSpc>
              <a:spcBef>
                <a:spcPts val="0"/>
              </a:spcBef>
              <a:spcAft>
                <a:spcPts val="0"/>
              </a:spcAft>
              <a:buNone/>
              <a:defRPr sz="1200" cap="all" baseline="0">
                <a:solidFill>
                  <a:schemeClr val="bg1"/>
                </a:solidFill>
              </a:defRPr>
            </a:lvl1pPr>
            <a:lvl2pPr marL="0" indent="0" algn="l">
              <a:lnSpc>
                <a:spcPct val="110000"/>
              </a:lnSpc>
              <a:spcBef>
                <a:spcPts val="0"/>
              </a:spcBef>
              <a:spcAft>
                <a:spcPts val="0"/>
              </a:spcAft>
              <a:buNone/>
              <a:defRPr sz="1200" b="0" cap="all">
                <a:solidFill>
                  <a:schemeClr val="bg1"/>
                </a:solidFill>
              </a:defRPr>
            </a:lvl2pPr>
            <a:lvl3pPr marL="0" indent="0" algn="l">
              <a:lnSpc>
                <a:spcPct val="110000"/>
              </a:lnSpc>
              <a:spcBef>
                <a:spcPts val="0"/>
              </a:spcBef>
              <a:spcAft>
                <a:spcPts val="0"/>
              </a:spcAft>
              <a:buNone/>
              <a:defRPr sz="1200" b="0" cap="all">
                <a:solidFill>
                  <a:schemeClr val="bg1"/>
                </a:solidFill>
              </a:defRPr>
            </a:lvl3pPr>
            <a:lvl4pPr marL="0" indent="0" algn="l">
              <a:lnSpc>
                <a:spcPct val="110000"/>
              </a:lnSpc>
              <a:spcBef>
                <a:spcPts val="0"/>
              </a:spcBef>
              <a:spcAft>
                <a:spcPts val="0"/>
              </a:spcAft>
              <a:buNone/>
              <a:defRPr sz="1200" b="0" cap="all">
                <a:solidFill>
                  <a:schemeClr val="bg1"/>
                </a:solidFill>
              </a:defRPr>
            </a:lvl4pPr>
            <a:lvl5pPr marL="0" indent="0" algn="l">
              <a:lnSpc>
                <a:spcPct val="110000"/>
              </a:lnSpc>
              <a:spcBef>
                <a:spcPts val="0"/>
              </a:spcBef>
              <a:spcAft>
                <a:spcPts val="0"/>
              </a:spcAft>
              <a:buNone/>
              <a:defRPr sz="1200" b="0" cap="all">
                <a:solidFill>
                  <a:schemeClr val="bg1"/>
                </a:solidFill>
              </a:defRPr>
            </a:lvl5pPr>
            <a:lvl6pPr marL="0" indent="0" algn="l">
              <a:lnSpc>
                <a:spcPct val="110000"/>
              </a:lnSpc>
              <a:spcBef>
                <a:spcPts val="0"/>
              </a:spcBef>
              <a:spcAft>
                <a:spcPts val="0"/>
              </a:spcAft>
              <a:buNone/>
              <a:defRPr sz="1200" b="0" cap="all">
                <a:solidFill>
                  <a:schemeClr val="bg1"/>
                </a:solidFill>
              </a:defRPr>
            </a:lvl6pPr>
            <a:lvl7pPr marL="0" indent="0" algn="l">
              <a:lnSpc>
                <a:spcPct val="110000"/>
              </a:lnSpc>
              <a:spcBef>
                <a:spcPts val="0"/>
              </a:spcBef>
              <a:spcAft>
                <a:spcPts val="0"/>
              </a:spcAft>
              <a:buNone/>
              <a:defRPr sz="1200" b="0" cap="all">
                <a:solidFill>
                  <a:schemeClr val="bg1"/>
                </a:solidFill>
              </a:defRPr>
            </a:lvl7pPr>
            <a:lvl8pPr marL="0" indent="0" algn="l">
              <a:lnSpc>
                <a:spcPct val="110000"/>
              </a:lnSpc>
              <a:spcBef>
                <a:spcPts val="0"/>
              </a:spcBef>
              <a:spcAft>
                <a:spcPts val="0"/>
              </a:spcAft>
              <a:buNone/>
              <a:defRPr sz="1200" b="0" cap="all">
                <a:solidFill>
                  <a:schemeClr val="bg1"/>
                </a:solidFill>
              </a:defRPr>
            </a:lvl8pPr>
            <a:lvl9pPr marL="0" indent="0" algn="l">
              <a:lnSpc>
                <a:spcPct val="110000"/>
              </a:lnSpc>
              <a:spcBef>
                <a:spcPts val="0"/>
              </a:spcBef>
              <a:spcAft>
                <a:spcPts val="0"/>
              </a:spcAft>
              <a:buNone/>
              <a:defRPr sz="1200" b="0" cap="all">
                <a:solidFill>
                  <a:schemeClr val="bg1"/>
                </a:solidFill>
              </a:defRPr>
            </a:lvl9pPr>
          </a:lstStyle>
          <a:p>
            <a:pPr lvl="0"/>
            <a:r>
              <a:rPr lang="de-DE" noProof="0" dirty="0"/>
              <a:t>UNTERTITEL BEI BEDARF</a:t>
            </a:r>
            <a:br>
              <a:rPr lang="de-DE" noProof="0" dirty="0"/>
            </a:br>
            <a:r>
              <a:rPr lang="de-DE" noProof="0" dirty="0"/>
              <a:t>AUTOR, ORT, DATUM</a:t>
            </a:r>
          </a:p>
        </p:txBody>
      </p:sp>
      <p:sp>
        <p:nvSpPr>
          <p:cNvPr id="22" name="ClipArt Placeholder 88"/>
          <p:cNvSpPr>
            <a:spLocks noGrp="1"/>
          </p:cNvSpPr>
          <p:nvPr>
            <p:ph type="clipArt" sz="quarter" idx="13" hasCustomPrompt="1"/>
          </p:nvPr>
        </p:nvSpPr>
        <p:spPr bwMode="gray">
          <a:xfrm>
            <a:off x="0" y="1232694"/>
            <a:ext cx="630000" cy="630000"/>
          </a:xfrm>
          <a:solidFill>
            <a:schemeClr val="accent4"/>
          </a:solidFill>
        </p:spPr>
        <p:txBody>
          <a:bodyPr anchor="ctr"/>
          <a:lstStyle>
            <a:lvl1pPr algn="ctr">
              <a:defRPr sz="800" b="0" i="1">
                <a:solidFill>
                  <a:schemeClr val="bg1"/>
                </a:solidFill>
              </a:defRPr>
            </a:lvl1pPr>
          </a:lstStyle>
          <a:p>
            <a:r>
              <a:rPr lang="de-DE" noProof="0" dirty="0"/>
              <a:t>Füge dein</a:t>
            </a:r>
            <a:br>
              <a:rPr lang="de-DE" noProof="0" dirty="0"/>
            </a:br>
            <a:r>
              <a:rPr lang="de-DE" noProof="0" dirty="0"/>
              <a:t>Icon </a:t>
            </a:r>
            <a:br>
              <a:rPr lang="de-DE" noProof="0" dirty="0"/>
            </a:br>
            <a:r>
              <a:rPr lang="de-DE" noProof="0" dirty="0"/>
              <a:t>hier ein</a:t>
            </a:r>
          </a:p>
        </p:txBody>
      </p:sp>
      <p:sp>
        <p:nvSpPr>
          <p:cNvPr id="116" name="Picture Placeholder 3"/>
          <p:cNvSpPr>
            <a:spLocks noGrp="1"/>
          </p:cNvSpPr>
          <p:nvPr>
            <p:ph type="pic" sz="quarter" idx="18" hasCustomPrompt="1"/>
          </p:nvPr>
        </p:nvSpPr>
        <p:spPr bwMode="gray">
          <a:xfrm>
            <a:off x="0" y="0"/>
            <a:ext cx="9143999" cy="5143499"/>
          </a:xfrm>
          <a:custGeom>
            <a:avLst/>
            <a:gdLst/>
            <a:ahLst/>
            <a:cxnLst/>
            <a:rect l="l" t="t" r="r" b="b"/>
            <a:pathLst>
              <a:path w="9143999" h="5143499">
                <a:moveTo>
                  <a:pt x="7750850" y="109788"/>
                </a:moveTo>
                <a:lnTo>
                  <a:pt x="7750850" y="1394988"/>
                </a:lnTo>
                <a:lnTo>
                  <a:pt x="9036050" y="1394988"/>
                </a:lnTo>
                <a:lnTo>
                  <a:pt x="9036050" y="109788"/>
                </a:lnTo>
                <a:close/>
                <a:moveTo>
                  <a:pt x="0" y="0"/>
                </a:moveTo>
                <a:lnTo>
                  <a:pt x="9143999" y="0"/>
                </a:lnTo>
                <a:lnTo>
                  <a:pt x="9143999" y="5143499"/>
                </a:lnTo>
                <a:lnTo>
                  <a:pt x="0" y="5143499"/>
                </a:lnTo>
                <a:close/>
              </a:path>
            </a:pathLst>
          </a:custGeom>
          <a:noFill/>
        </p:spPr>
        <p:txBody>
          <a:bodyPr lIns="5040000" anchor="ctr"/>
          <a:lstStyle>
            <a:lvl1pPr marL="0" marR="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sz="1000">
                <a:solidFill>
                  <a:schemeClr val="tx1"/>
                </a:solidFill>
              </a:defRPr>
            </a:lvl1pPr>
          </a:lstStyle>
          <a:p>
            <a:r>
              <a:rPr lang="de-DE" noProof="0" dirty="0"/>
              <a:t/>
            </a:r>
            <a:br>
              <a:rPr lang="de-DE" noProof="0" dirty="0"/>
            </a:br>
            <a:r>
              <a:rPr lang="de-DE" noProof="0" dirty="0"/>
              <a:t>Klicke auf das Icon, um ein Bild einzufügen</a:t>
            </a:r>
            <a:br>
              <a:rPr lang="de-DE" noProof="0" dirty="0"/>
            </a:br>
            <a:r>
              <a:rPr lang="de-DE" noProof="0" dirty="0"/>
              <a:t/>
            </a:r>
            <a:br>
              <a:rPr lang="de-DE" noProof="0" dirty="0"/>
            </a:br>
            <a:r>
              <a:rPr lang="de-DE" noProof="0" dirty="0"/>
              <a:t>Verschiebe das Bild in den Hintergrund, um den Text zu bearbeiten </a:t>
            </a:r>
            <a:br>
              <a:rPr lang="de-DE" noProof="0" dirty="0"/>
            </a:br>
            <a:r>
              <a:rPr lang="de-DE" noProof="0" dirty="0"/>
              <a:t>(Bild auswählen &gt; Start &gt; Anordnen &gt; „In den Hintergrund“)</a:t>
            </a:r>
            <a:br>
              <a:rPr lang="de-DE" noProof="0" dirty="0"/>
            </a:br>
            <a:r>
              <a:rPr lang="de-DE" noProof="0" dirty="0"/>
              <a:t/>
            </a:r>
            <a:br>
              <a:rPr lang="de-DE" noProof="0" dirty="0"/>
            </a:br>
            <a:r>
              <a:rPr lang="de-DE" noProof="0" dirty="0"/>
              <a:t>Bitte verwende für deine Präsentation vorrangig Bilder aus unserer Folienbibliothek. Solltest du dort kein passendes Motiv finden, dann achte bei der Suche bitte auf unsere Kaufland Bildsprache: </a:t>
            </a:r>
            <a:br>
              <a:rPr lang="de-DE" noProof="0" dirty="0"/>
            </a:br>
            <a:r>
              <a:rPr lang="de-DE" noProof="0" dirty="0"/>
              <a:t/>
            </a:r>
            <a:br>
              <a:rPr lang="de-DE" noProof="0" dirty="0"/>
            </a:br>
            <a:r>
              <a:rPr lang="de-DE" noProof="0" dirty="0"/>
              <a:t>Wir zeigen Menschen, Mitarbeiter und Produkte immer in realistischen Alltagssituationen – </a:t>
            </a:r>
            <a:r>
              <a:rPr lang="de-DE" noProof="0" dirty="0" err="1"/>
              <a:t>ungestellt</a:t>
            </a:r>
            <a:r>
              <a:rPr lang="de-DE" noProof="0" dirty="0"/>
              <a:t>, lebendig und authentisch. </a:t>
            </a:r>
          </a:p>
          <a:p>
            <a:endParaRPr lang="de-DE" noProof="0" dirty="0"/>
          </a:p>
        </p:txBody>
      </p:sp>
      <p:grpSp>
        <p:nvGrpSpPr>
          <p:cNvPr id="137" name="Gruppieren 136"/>
          <p:cNvGrpSpPr/>
          <p:nvPr/>
        </p:nvGrpSpPr>
        <p:grpSpPr>
          <a:xfrm>
            <a:off x="7750850" y="109788"/>
            <a:ext cx="1285200" cy="1285200"/>
            <a:chOff x="-3889375" y="0"/>
            <a:chExt cx="3600450" cy="3600450"/>
          </a:xfrm>
        </p:grpSpPr>
        <p:sp>
          <p:nvSpPr>
            <p:cNvPr id="138" name="AutoShape 169"/>
            <p:cNvSpPr>
              <a:spLocks noChangeAspect="1" noChangeArrowheads="1" noTextEdit="1"/>
            </p:cNvSpPr>
            <p:nvPr userDrawn="1"/>
          </p:nvSpPr>
          <p:spPr bwMode="auto">
            <a:xfrm>
              <a:off x="-3889375" y="0"/>
              <a:ext cx="3600450"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9" name="Freeform 171"/>
            <p:cNvSpPr>
              <a:spLocks/>
            </p:cNvSpPr>
            <p:nvPr userDrawn="1"/>
          </p:nvSpPr>
          <p:spPr bwMode="auto">
            <a:xfrm>
              <a:off x="-3889375" y="0"/>
              <a:ext cx="3600450" cy="3600450"/>
            </a:xfrm>
            <a:custGeom>
              <a:avLst/>
              <a:gdLst>
                <a:gd name="T0" fmla="*/ 2268 w 2268"/>
                <a:gd name="T1" fmla="*/ 0 h 2268"/>
                <a:gd name="T2" fmla="*/ 0 w 2268"/>
                <a:gd name="T3" fmla="*/ 0 h 2268"/>
                <a:gd name="T4" fmla="*/ 0 w 2268"/>
                <a:gd name="T5" fmla="*/ 2268 h 2268"/>
                <a:gd name="T6" fmla="*/ 2268 w 2268"/>
                <a:gd name="T7" fmla="*/ 2268 h 2268"/>
                <a:gd name="T8" fmla="*/ 2268 w 2268"/>
                <a:gd name="T9" fmla="*/ 0 h 2268"/>
                <a:gd name="T10" fmla="*/ 2268 w 2268"/>
                <a:gd name="T11" fmla="*/ 0 h 2268"/>
              </a:gdLst>
              <a:ahLst/>
              <a:cxnLst>
                <a:cxn ang="0">
                  <a:pos x="T0" y="T1"/>
                </a:cxn>
                <a:cxn ang="0">
                  <a:pos x="T2" y="T3"/>
                </a:cxn>
                <a:cxn ang="0">
                  <a:pos x="T4" y="T5"/>
                </a:cxn>
                <a:cxn ang="0">
                  <a:pos x="T6" y="T7"/>
                </a:cxn>
                <a:cxn ang="0">
                  <a:pos x="T8" y="T9"/>
                </a:cxn>
                <a:cxn ang="0">
                  <a:pos x="T10" y="T11"/>
                </a:cxn>
              </a:cxnLst>
              <a:rect l="0" t="0" r="r" b="b"/>
              <a:pathLst>
                <a:path w="2268" h="2268">
                  <a:moveTo>
                    <a:pt x="2268" y="0"/>
                  </a:moveTo>
                  <a:lnTo>
                    <a:pt x="0" y="0"/>
                  </a:lnTo>
                  <a:lnTo>
                    <a:pt x="0" y="2268"/>
                  </a:lnTo>
                  <a:lnTo>
                    <a:pt x="2268" y="2268"/>
                  </a:lnTo>
                  <a:lnTo>
                    <a:pt x="2268" y="0"/>
                  </a:lnTo>
                  <a:lnTo>
                    <a:pt x="226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sp>
          <p:nvSpPr>
            <p:cNvPr id="140" name="Freeform 172"/>
            <p:cNvSpPr>
              <a:spLocks noEditPoints="1"/>
            </p:cNvSpPr>
            <p:nvPr userDrawn="1"/>
          </p:nvSpPr>
          <p:spPr bwMode="auto">
            <a:xfrm>
              <a:off x="-3752850" y="138113"/>
              <a:ext cx="3327400" cy="3325813"/>
            </a:xfrm>
            <a:custGeom>
              <a:avLst/>
              <a:gdLst>
                <a:gd name="T0" fmla="*/ 0 w 2096"/>
                <a:gd name="T1" fmla="*/ 0 h 2095"/>
                <a:gd name="T2" fmla="*/ 0 w 2096"/>
                <a:gd name="T3" fmla="*/ 2095 h 2095"/>
                <a:gd name="T4" fmla="*/ 2096 w 2096"/>
                <a:gd name="T5" fmla="*/ 2095 h 2095"/>
                <a:gd name="T6" fmla="*/ 2096 w 2096"/>
                <a:gd name="T7" fmla="*/ 0 h 2095"/>
                <a:gd name="T8" fmla="*/ 0 w 2096"/>
                <a:gd name="T9" fmla="*/ 0 h 2095"/>
                <a:gd name="T10" fmla="*/ 2009 w 2096"/>
                <a:gd name="T11" fmla="*/ 2008 h 2095"/>
                <a:gd name="T12" fmla="*/ 87 w 2096"/>
                <a:gd name="T13" fmla="*/ 2008 h 2095"/>
                <a:gd name="T14" fmla="*/ 87 w 2096"/>
                <a:gd name="T15" fmla="*/ 86 h 2095"/>
                <a:gd name="T16" fmla="*/ 2009 w 2096"/>
                <a:gd name="T17" fmla="*/ 86 h 2095"/>
                <a:gd name="T18" fmla="*/ 2009 w 2096"/>
                <a:gd name="T19" fmla="*/ 2008 h 2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96" h="2095">
                  <a:moveTo>
                    <a:pt x="0" y="0"/>
                  </a:moveTo>
                  <a:lnTo>
                    <a:pt x="0" y="2095"/>
                  </a:lnTo>
                  <a:lnTo>
                    <a:pt x="2096" y="2095"/>
                  </a:lnTo>
                  <a:lnTo>
                    <a:pt x="2096" y="0"/>
                  </a:lnTo>
                  <a:lnTo>
                    <a:pt x="0" y="0"/>
                  </a:lnTo>
                  <a:close/>
                  <a:moveTo>
                    <a:pt x="2009" y="2008"/>
                  </a:moveTo>
                  <a:lnTo>
                    <a:pt x="87" y="2008"/>
                  </a:lnTo>
                  <a:lnTo>
                    <a:pt x="87" y="86"/>
                  </a:lnTo>
                  <a:lnTo>
                    <a:pt x="2009" y="86"/>
                  </a:lnTo>
                  <a:lnTo>
                    <a:pt x="2009" y="200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1" name="Rectangle 173"/>
            <p:cNvSpPr>
              <a:spLocks noChangeArrowheads="1"/>
            </p:cNvSpPr>
            <p:nvPr userDrawn="1"/>
          </p:nvSpPr>
          <p:spPr bwMode="auto">
            <a:xfrm>
              <a:off x="-2705100" y="1443038"/>
              <a:ext cx="608013" cy="60801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2" name="Freeform 174"/>
            <p:cNvSpPr>
              <a:spLocks/>
            </p:cNvSpPr>
            <p:nvPr userDrawn="1"/>
          </p:nvSpPr>
          <p:spPr bwMode="auto">
            <a:xfrm>
              <a:off x="-2005013" y="1441450"/>
              <a:ext cx="608013" cy="609600"/>
            </a:xfrm>
            <a:custGeom>
              <a:avLst/>
              <a:gdLst>
                <a:gd name="T0" fmla="*/ 0 w 383"/>
                <a:gd name="T1" fmla="*/ 0 h 384"/>
                <a:gd name="T2" fmla="*/ 0 w 383"/>
                <a:gd name="T3" fmla="*/ 384 h 384"/>
                <a:gd name="T4" fmla="*/ 383 w 383"/>
                <a:gd name="T5" fmla="*/ 384 h 384"/>
                <a:gd name="T6" fmla="*/ 0 w 383"/>
                <a:gd name="T7" fmla="*/ 0 h 384"/>
              </a:gdLst>
              <a:ahLst/>
              <a:cxnLst>
                <a:cxn ang="0">
                  <a:pos x="T0" y="T1"/>
                </a:cxn>
                <a:cxn ang="0">
                  <a:pos x="T2" y="T3"/>
                </a:cxn>
                <a:cxn ang="0">
                  <a:pos x="T4" y="T5"/>
                </a:cxn>
                <a:cxn ang="0">
                  <a:pos x="T6" y="T7"/>
                </a:cxn>
              </a:cxnLst>
              <a:rect l="0" t="0" r="r" b="b"/>
              <a:pathLst>
                <a:path w="383" h="384">
                  <a:moveTo>
                    <a:pt x="0" y="0"/>
                  </a:moveTo>
                  <a:lnTo>
                    <a:pt x="0" y="384"/>
                  </a:lnTo>
                  <a:lnTo>
                    <a:pt x="383" y="384"/>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3" name="Rectangle 175"/>
            <p:cNvSpPr>
              <a:spLocks noChangeArrowheads="1"/>
            </p:cNvSpPr>
            <p:nvPr userDrawn="1"/>
          </p:nvSpPr>
          <p:spPr bwMode="auto">
            <a:xfrm>
              <a:off x="-2705100" y="742950"/>
              <a:ext cx="608013" cy="60801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4" name="Freeform 176"/>
            <p:cNvSpPr>
              <a:spLocks/>
            </p:cNvSpPr>
            <p:nvPr userDrawn="1"/>
          </p:nvSpPr>
          <p:spPr bwMode="auto">
            <a:xfrm>
              <a:off x="-2005013" y="742950"/>
              <a:ext cx="608013" cy="608013"/>
            </a:xfrm>
            <a:custGeom>
              <a:avLst/>
              <a:gdLst>
                <a:gd name="T0" fmla="*/ 0 w 383"/>
                <a:gd name="T1" fmla="*/ 0 h 383"/>
                <a:gd name="T2" fmla="*/ 0 w 383"/>
                <a:gd name="T3" fmla="*/ 383 h 383"/>
                <a:gd name="T4" fmla="*/ 383 w 383"/>
                <a:gd name="T5" fmla="*/ 0 h 383"/>
                <a:gd name="T6" fmla="*/ 0 w 383"/>
                <a:gd name="T7" fmla="*/ 0 h 383"/>
              </a:gdLst>
              <a:ahLst/>
              <a:cxnLst>
                <a:cxn ang="0">
                  <a:pos x="T0" y="T1"/>
                </a:cxn>
                <a:cxn ang="0">
                  <a:pos x="T2" y="T3"/>
                </a:cxn>
                <a:cxn ang="0">
                  <a:pos x="T4" y="T5"/>
                </a:cxn>
                <a:cxn ang="0">
                  <a:pos x="T6" y="T7"/>
                </a:cxn>
              </a:cxnLst>
              <a:rect l="0" t="0" r="r" b="b"/>
              <a:pathLst>
                <a:path w="383" h="383">
                  <a:moveTo>
                    <a:pt x="0" y="0"/>
                  </a:moveTo>
                  <a:lnTo>
                    <a:pt x="0" y="383"/>
                  </a:lnTo>
                  <a:lnTo>
                    <a:pt x="383" y="0"/>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5" name="Freeform 177"/>
            <p:cNvSpPr>
              <a:spLocks/>
            </p:cNvSpPr>
            <p:nvPr userDrawn="1"/>
          </p:nvSpPr>
          <p:spPr bwMode="auto">
            <a:xfrm>
              <a:off x="-3346450" y="2409825"/>
              <a:ext cx="358775" cy="441325"/>
            </a:xfrm>
            <a:custGeom>
              <a:avLst/>
              <a:gdLst>
                <a:gd name="T0" fmla="*/ 224 w 226"/>
                <a:gd name="T1" fmla="*/ 0 h 278"/>
                <a:gd name="T2" fmla="*/ 154 w 226"/>
                <a:gd name="T3" fmla="*/ 0 h 278"/>
                <a:gd name="T4" fmla="*/ 62 w 226"/>
                <a:gd name="T5" fmla="*/ 128 h 278"/>
                <a:gd name="T6" fmla="*/ 62 w 226"/>
                <a:gd name="T7" fmla="*/ 0 h 278"/>
                <a:gd name="T8" fmla="*/ 0 w 226"/>
                <a:gd name="T9" fmla="*/ 0 h 278"/>
                <a:gd name="T10" fmla="*/ 0 w 226"/>
                <a:gd name="T11" fmla="*/ 278 h 278"/>
                <a:gd name="T12" fmla="*/ 62 w 226"/>
                <a:gd name="T13" fmla="*/ 278 h 278"/>
                <a:gd name="T14" fmla="*/ 62 w 226"/>
                <a:gd name="T15" fmla="*/ 153 h 278"/>
                <a:gd name="T16" fmla="*/ 154 w 226"/>
                <a:gd name="T17" fmla="*/ 278 h 278"/>
                <a:gd name="T18" fmla="*/ 226 w 226"/>
                <a:gd name="T19" fmla="*/ 278 h 278"/>
                <a:gd name="T20" fmla="*/ 119 w 226"/>
                <a:gd name="T21" fmla="*/ 136 h 278"/>
                <a:gd name="T22" fmla="*/ 224 w 226"/>
                <a:gd name="T23"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6" h="278">
                  <a:moveTo>
                    <a:pt x="224" y="0"/>
                  </a:moveTo>
                  <a:lnTo>
                    <a:pt x="154" y="0"/>
                  </a:lnTo>
                  <a:lnTo>
                    <a:pt x="62" y="128"/>
                  </a:lnTo>
                  <a:lnTo>
                    <a:pt x="62" y="0"/>
                  </a:lnTo>
                  <a:lnTo>
                    <a:pt x="0" y="0"/>
                  </a:lnTo>
                  <a:lnTo>
                    <a:pt x="0" y="278"/>
                  </a:lnTo>
                  <a:lnTo>
                    <a:pt x="62" y="278"/>
                  </a:lnTo>
                  <a:lnTo>
                    <a:pt x="62" y="153"/>
                  </a:lnTo>
                  <a:lnTo>
                    <a:pt x="154" y="278"/>
                  </a:lnTo>
                  <a:lnTo>
                    <a:pt x="226" y="278"/>
                  </a:lnTo>
                  <a:lnTo>
                    <a:pt x="119" y="136"/>
                  </a:lnTo>
                  <a:lnTo>
                    <a:pt x="224"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6" name="Freeform 178"/>
            <p:cNvSpPr>
              <a:spLocks/>
            </p:cNvSpPr>
            <p:nvPr userDrawn="1"/>
          </p:nvSpPr>
          <p:spPr bwMode="auto">
            <a:xfrm>
              <a:off x="-2625725" y="2557463"/>
              <a:ext cx="292100" cy="300038"/>
            </a:xfrm>
            <a:custGeom>
              <a:avLst/>
              <a:gdLst>
                <a:gd name="T0" fmla="*/ 1303 w 1839"/>
                <a:gd name="T1" fmla="*/ 1215 h 1890"/>
                <a:gd name="T2" fmla="*/ 906 w 1839"/>
                <a:gd name="T3" fmla="*/ 1425 h 1890"/>
                <a:gd name="T4" fmla="*/ 544 w 1839"/>
                <a:gd name="T5" fmla="*/ 1036 h 1890"/>
                <a:gd name="T6" fmla="*/ 544 w 1839"/>
                <a:gd name="T7" fmla="*/ 0 h 1890"/>
                <a:gd name="T8" fmla="*/ 0 w 1839"/>
                <a:gd name="T9" fmla="*/ 0 h 1890"/>
                <a:gd name="T10" fmla="*/ 0 w 1839"/>
                <a:gd name="T11" fmla="*/ 1143 h 1890"/>
                <a:gd name="T12" fmla="*/ 711 w 1839"/>
                <a:gd name="T13" fmla="*/ 1890 h 1890"/>
                <a:gd name="T14" fmla="*/ 1303 w 1839"/>
                <a:gd name="T15" fmla="*/ 1627 h 1890"/>
                <a:gd name="T16" fmla="*/ 1303 w 1839"/>
                <a:gd name="T17" fmla="*/ 1850 h 1890"/>
                <a:gd name="T18" fmla="*/ 1839 w 1839"/>
                <a:gd name="T19" fmla="*/ 1850 h 1890"/>
                <a:gd name="T20" fmla="*/ 1839 w 1839"/>
                <a:gd name="T21" fmla="*/ 0 h 1890"/>
                <a:gd name="T22" fmla="*/ 1303 w 1839"/>
                <a:gd name="T23" fmla="*/ 0 h 1890"/>
                <a:gd name="T24" fmla="*/ 1303 w 1839"/>
                <a:gd name="T25" fmla="*/ 1215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9" h="1890">
                  <a:moveTo>
                    <a:pt x="1303" y="1215"/>
                  </a:moveTo>
                  <a:cubicBezTo>
                    <a:pt x="1231" y="1306"/>
                    <a:pt x="1104" y="1425"/>
                    <a:pt x="906" y="1425"/>
                  </a:cubicBezTo>
                  <a:cubicBezTo>
                    <a:pt x="679" y="1425"/>
                    <a:pt x="544" y="1278"/>
                    <a:pt x="544" y="1036"/>
                  </a:cubicBezTo>
                  <a:cubicBezTo>
                    <a:pt x="544" y="0"/>
                    <a:pt x="544" y="0"/>
                    <a:pt x="544" y="0"/>
                  </a:cubicBezTo>
                  <a:cubicBezTo>
                    <a:pt x="0" y="0"/>
                    <a:pt x="0" y="0"/>
                    <a:pt x="0" y="0"/>
                  </a:cubicBezTo>
                  <a:cubicBezTo>
                    <a:pt x="0" y="1143"/>
                    <a:pt x="0" y="1143"/>
                    <a:pt x="0" y="1143"/>
                  </a:cubicBezTo>
                  <a:cubicBezTo>
                    <a:pt x="0" y="1580"/>
                    <a:pt x="251" y="1890"/>
                    <a:pt x="711" y="1890"/>
                  </a:cubicBezTo>
                  <a:cubicBezTo>
                    <a:pt x="1017" y="1890"/>
                    <a:pt x="1207" y="1731"/>
                    <a:pt x="1303" y="1627"/>
                  </a:cubicBezTo>
                  <a:cubicBezTo>
                    <a:pt x="1303" y="1850"/>
                    <a:pt x="1303" y="1850"/>
                    <a:pt x="1303" y="1850"/>
                  </a:cubicBezTo>
                  <a:cubicBezTo>
                    <a:pt x="1839" y="1850"/>
                    <a:pt x="1839" y="1850"/>
                    <a:pt x="1839" y="1850"/>
                  </a:cubicBezTo>
                  <a:cubicBezTo>
                    <a:pt x="1839" y="0"/>
                    <a:pt x="1839" y="0"/>
                    <a:pt x="1839" y="0"/>
                  </a:cubicBezTo>
                  <a:cubicBezTo>
                    <a:pt x="1303" y="0"/>
                    <a:pt x="1303" y="0"/>
                    <a:pt x="1303" y="0"/>
                  </a:cubicBezTo>
                  <a:lnTo>
                    <a:pt x="1303" y="121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7" name="Freeform 179"/>
            <p:cNvSpPr>
              <a:spLocks noEditPoints="1"/>
            </p:cNvSpPr>
            <p:nvPr userDrawn="1"/>
          </p:nvSpPr>
          <p:spPr bwMode="auto">
            <a:xfrm>
              <a:off x="-1865313" y="2551113"/>
              <a:ext cx="314325" cy="306388"/>
            </a:xfrm>
            <a:custGeom>
              <a:avLst/>
              <a:gdLst>
                <a:gd name="T0" fmla="*/ 1441 w 1977"/>
                <a:gd name="T1" fmla="*/ 234 h 1930"/>
                <a:gd name="T2" fmla="*/ 874 w 1977"/>
                <a:gd name="T3" fmla="*/ 0 h 1930"/>
                <a:gd name="T4" fmla="*/ 0 w 1977"/>
                <a:gd name="T5" fmla="*/ 973 h 1930"/>
                <a:gd name="T6" fmla="*/ 874 w 1977"/>
                <a:gd name="T7" fmla="*/ 1930 h 1930"/>
                <a:gd name="T8" fmla="*/ 1441 w 1977"/>
                <a:gd name="T9" fmla="*/ 1699 h 1930"/>
                <a:gd name="T10" fmla="*/ 1441 w 1977"/>
                <a:gd name="T11" fmla="*/ 1890 h 1930"/>
                <a:gd name="T12" fmla="*/ 1977 w 1977"/>
                <a:gd name="T13" fmla="*/ 1890 h 1930"/>
                <a:gd name="T14" fmla="*/ 1977 w 1977"/>
                <a:gd name="T15" fmla="*/ 40 h 1930"/>
                <a:gd name="T16" fmla="*/ 1441 w 1977"/>
                <a:gd name="T17" fmla="*/ 40 h 1930"/>
                <a:gd name="T18" fmla="*/ 1441 w 1977"/>
                <a:gd name="T19" fmla="*/ 234 h 1930"/>
                <a:gd name="T20" fmla="*/ 1441 w 1977"/>
                <a:gd name="T21" fmla="*/ 1298 h 1930"/>
                <a:gd name="T22" fmla="*/ 1048 w 1977"/>
                <a:gd name="T23" fmla="*/ 1473 h 1930"/>
                <a:gd name="T24" fmla="*/ 560 w 1977"/>
                <a:gd name="T25" fmla="*/ 965 h 1930"/>
                <a:gd name="T26" fmla="*/ 1048 w 1977"/>
                <a:gd name="T27" fmla="*/ 457 h 1930"/>
                <a:gd name="T28" fmla="*/ 1441 w 1977"/>
                <a:gd name="T29" fmla="*/ 631 h 1930"/>
                <a:gd name="T30" fmla="*/ 1441 w 1977"/>
                <a:gd name="T31" fmla="*/ 1298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7" h="1930">
                  <a:moveTo>
                    <a:pt x="1441" y="234"/>
                  </a:moveTo>
                  <a:cubicBezTo>
                    <a:pt x="1330" y="127"/>
                    <a:pt x="1140" y="0"/>
                    <a:pt x="874" y="0"/>
                  </a:cubicBezTo>
                  <a:cubicBezTo>
                    <a:pt x="358" y="0"/>
                    <a:pt x="0" y="429"/>
                    <a:pt x="0" y="973"/>
                  </a:cubicBezTo>
                  <a:cubicBezTo>
                    <a:pt x="0" y="1509"/>
                    <a:pt x="354" y="1930"/>
                    <a:pt x="874" y="1930"/>
                  </a:cubicBezTo>
                  <a:cubicBezTo>
                    <a:pt x="1156" y="1930"/>
                    <a:pt x="1342" y="1799"/>
                    <a:pt x="1441" y="1699"/>
                  </a:cubicBezTo>
                  <a:cubicBezTo>
                    <a:pt x="1441" y="1890"/>
                    <a:pt x="1441" y="1890"/>
                    <a:pt x="1441" y="1890"/>
                  </a:cubicBezTo>
                  <a:cubicBezTo>
                    <a:pt x="1977" y="1890"/>
                    <a:pt x="1977" y="1890"/>
                    <a:pt x="1977" y="1890"/>
                  </a:cubicBezTo>
                  <a:cubicBezTo>
                    <a:pt x="1977" y="40"/>
                    <a:pt x="1977" y="40"/>
                    <a:pt x="1977" y="40"/>
                  </a:cubicBezTo>
                  <a:cubicBezTo>
                    <a:pt x="1441" y="40"/>
                    <a:pt x="1441" y="40"/>
                    <a:pt x="1441" y="40"/>
                  </a:cubicBezTo>
                  <a:lnTo>
                    <a:pt x="1441" y="234"/>
                  </a:lnTo>
                  <a:close/>
                  <a:moveTo>
                    <a:pt x="1441" y="1298"/>
                  </a:moveTo>
                  <a:cubicBezTo>
                    <a:pt x="1366" y="1382"/>
                    <a:pt x="1239" y="1473"/>
                    <a:pt x="1048" y="1473"/>
                  </a:cubicBezTo>
                  <a:cubicBezTo>
                    <a:pt x="762" y="1473"/>
                    <a:pt x="560" y="1266"/>
                    <a:pt x="560" y="965"/>
                  </a:cubicBezTo>
                  <a:cubicBezTo>
                    <a:pt x="560" y="663"/>
                    <a:pt x="762" y="457"/>
                    <a:pt x="1048" y="457"/>
                  </a:cubicBezTo>
                  <a:cubicBezTo>
                    <a:pt x="1239" y="457"/>
                    <a:pt x="1366" y="548"/>
                    <a:pt x="1441" y="631"/>
                  </a:cubicBezTo>
                  <a:lnTo>
                    <a:pt x="1441" y="129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8" name="Freeform 180"/>
            <p:cNvSpPr>
              <a:spLocks noEditPoints="1"/>
            </p:cNvSpPr>
            <p:nvPr userDrawn="1"/>
          </p:nvSpPr>
          <p:spPr bwMode="auto">
            <a:xfrm>
              <a:off x="-3000375" y="2551113"/>
              <a:ext cx="314325" cy="306388"/>
            </a:xfrm>
            <a:custGeom>
              <a:avLst/>
              <a:gdLst>
                <a:gd name="T0" fmla="*/ 1441 w 1977"/>
                <a:gd name="T1" fmla="*/ 234 h 1930"/>
                <a:gd name="T2" fmla="*/ 873 w 1977"/>
                <a:gd name="T3" fmla="*/ 0 h 1930"/>
                <a:gd name="T4" fmla="*/ 0 w 1977"/>
                <a:gd name="T5" fmla="*/ 973 h 1930"/>
                <a:gd name="T6" fmla="*/ 873 w 1977"/>
                <a:gd name="T7" fmla="*/ 1930 h 1930"/>
                <a:gd name="T8" fmla="*/ 1441 w 1977"/>
                <a:gd name="T9" fmla="*/ 1699 h 1930"/>
                <a:gd name="T10" fmla="*/ 1441 w 1977"/>
                <a:gd name="T11" fmla="*/ 1890 h 1930"/>
                <a:gd name="T12" fmla="*/ 1977 w 1977"/>
                <a:gd name="T13" fmla="*/ 1890 h 1930"/>
                <a:gd name="T14" fmla="*/ 1977 w 1977"/>
                <a:gd name="T15" fmla="*/ 40 h 1930"/>
                <a:gd name="T16" fmla="*/ 1441 w 1977"/>
                <a:gd name="T17" fmla="*/ 40 h 1930"/>
                <a:gd name="T18" fmla="*/ 1441 w 1977"/>
                <a:gd name="T19" fmla="*/ 234 h 1930"/>
                <a:gd name="T20" fmla="*/ 1441 w 1977"/>
                <a:gd name="T21" fmla="*/ 1298 h 1930"/>
                <a:gd name="T22" fmla="*/ 1048 w 1977"/>
                <a:gd name="T23" fmla="*/ 1473 h 1930"/>
                <a:gd name="T24" fmla="*/ 560 w 1977"/>
                <a:gd name="T25" fmla="*/ 965 h 1930"/>
                <a:gd name="T26" fmla="*/ 1048 w 1977"/>
                <a:gd name="T27" fmla="*/ 457 h 1930"/>
                <a:gd name="T28" fmla="*/ 1441 w 1977"/>
                <a:gd name="T29" fmla="*/ 631 h 1930"/>
                <a:gd name="T30" fmla="*/ 1441 w 1977"/>
                <a:gd name="T31" fmla="*/ 1298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7" h="1930">
                  <a:moveTo>
                    <a:pt x="1441" y="234"/>
                  </a:moveTo>
                  <a:cubicBezTo>
                    <a:pt x="1330" y="127"/>
                    <a:pt x="1139" y="0"/>
                    <a:pt x="873" y="0"/>
                  </a:cubicBezTo>
                  <a:cubicBezTo>
                    <a:pt x="357" y="0"/>
                    <a:pt x="0" y="429"/>
                    <a:pt x="0" y="973"/>
                  </a:cubicBezTo>
                  <a:cubicBezTo>
                    <a:pt x="0" y="1509"/>
                    <a:pt x="353" y="1930"/>
                    <a:pt x="873" y="1930"/>
                  </a:cubicBezTo>
                  <a:cubicBezTo>
                    <a:pt x="1155" y="1930"/>
                    <a:pt x="1342" y="1799"/>
                    <a:pt x="1441" y="1699"/>
                  </a:cubicBezTo>
                  <a:cubicBezTo>
                    <a:pt x="1441" y="1890"/>
                    <a:pt x="1441" y="1890"/>
                    <a:pt x="1441" y="1890"/>
                  </a:cubicBezTo>
                  <a:cubicBezTo>
                    <a:pt x="1977" y="1890"/>
                    <a:pt x="1977" y="1890"/>
                    <a:pt x="1977" y="1890"/>
                  </a:cubicBezTo>
                  <a:cubicBezTo>
                    <a:pt x="1977" y="40"/>
                    <a:pt x="1977" y="40"/>
                    <a:pt x="1977" y="40"/>
                  </a:cubicBezTo>
                  <a:cubicBezTo>
                    <a:pt x="1441" y="40"/>
                    <a:pt x="1441" y="40"/>
                    <a:pt x="1441" y="40"/>
                  </a:cubicBezTo>
                  <a:lnTo>
                    <a:pt x="1441" y="234"/>
                  </a:lnTo>
                  <a:close/>
                  <a:moveTo>
                    <a:pt x="1441" y="1298"/>
                  </a:moveTo>
                  <a:cubicBezTo>
                    <a:pt x="1366" y="1382"/>
                    <a:pt x="1239" y="1473"/>
                    <a:pt x="1048" y="1473"/>
                  </a:cubicBezTo>
                  <a:cubicBezTo>
                    <a:pt x="762" y="1473"/>
                    <a:pt x="560" y="1266"/>
                    <a:pt x="560" y="965"/>
                  </a:cubicBezTo>
                  <a:cubicBezTo>
                    <a:pt x="560" y="663"/>
                    <a:pt x="762" y="457"/>
                    <a:pt x="1048" y="457"/>
                  </a:cubicBezTo>
                  <a:cubicBezTo>
                    <a:pt x="1239" y="457"/>
                    <a:pt x="1366" y="548"/>
                    <a:pt x="1441" y="631"/>
                  </a:cubicBezTo>
                  <a:lnTo>
                    <a:pt x="1441" y="129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49" name="Freeform 181"/>
            <p:cNvSpPr>
              <a:spLocks noEditPoints="1"/>
            </p:cNvSpPr>
            <p:nvPr userDrawn="1"/>
          </p:nvSpPr>
          <p:spPr bwMode="auto">
            <a:xfrm>
              <a:off x="-1149350" y="2409825"/>
              <a:ext cx="317500" cy="447675"/>
            </a:xfrm>
            <a:custGeom>
              <a:avLst/>
              <a:gdLst>
                <a:gd name="T0" fmla="*/ 1461 w 1997"/>
                <a:gd name="T1" fmla="*/ 0 h 2819"/>
                <a:gd name="T2" fmla="*/ 1461 w 1997"/>
                <a:gd name="T3" fmla="*/ 1139 h 2819"/>
                <a:gd name="T4" fmla="*/ 873 w 1997"/>
                <a:gd name="T5" fmla="*/ 889 h 2819"/>
                <a:gd name="T6" fmla="*/ 0 w 1997"/>
                <a:gd name="T7" fmla="*/ 1862 h 2819"/>
                <a:gd name="T8" fmla="*/ 873 w 1997"/>
                <a:gd name="T9" fmla="*/ 2819 h 2819"/>
                <a:gd name="T10" fmla="*/ 1461 w 1997"/>
                <a:gd name="T11" fmla="*/ 2568 h 2819"/>
                <a:gd name="T12" fmla="*/ 1461 w 1997"/>
                <a:gd name="T13" fmla="*/ 2779 h 2819"/>
                <a:gd name="T14" fmla="*/ 1997 w 1997"/>
                <a:gd name="T15" fmla="*/ 2779 h 2819"/>
                <a:gd name="T16" fmla="*/ 1997 w 1997"/>
                <a:gd name="T17" fmla="*/ 0 h 2819"/>
                <a:gd name="T18" fmla="*/ 1461 w 1997"/>
                <a:gd name="T19" fmla="*/ 0 h 2819"/>
                <a:gd name="T20" fmla="*/ 1461 w 1997"/>
                <a:gd name="T21" fmla="*/ 2163 h 2819"/>
                <a:gd name="T22" fmla="*/ 1048 w 1997"/>
                <a:gd name="T23" fmla="*/ 2362 h 2819"/>
                <a:gd name="T24" fmla="*/ 560 w 1997"/>
                <a:gd name="T25" fmla="*/ 1854 h 2819"/>
                <a:gd name="T26" fmla="*/ 1048 w 1997"/>
                <a:gd name="T27" fmla="*/ 1346 h 2819"/>
                <a:gd name="T28" fmla="*/ 1461 w 1997"/>
                <a:gd name="T29" fmla="*/ 1544 h 2819"/>
                <a:gd name="T30" fmla="*/ 1461 w 1997"/>
                <a:gd name="T31" fmla="*/ 2163 h 2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97" h="2819">
                  <a:moveTo>
                    <a:pt x="1461" y="0"/>
                  </a:moveTo>
                  <a:cubicBezTo>
                    <a:pt x="1461" y="1139"/>
                    <a:pt x="1461" y="1139"/>
                    <a:pt x="1461" y="1139"/>
                  </a:cubicBezTo>
                  <a:cubicBezTo>
                    <a:pt x="1366" y="1040"/>
                    <a:pt x="1171" y="889"/>
                    <a:pt x="873" y="889"/>
                  </a:cubicBezTo>
                  <a:cubicBezTo>
                    <a:pt x="353" y="889"/>
                    <a:pt x="0" y="1318"/>
                    <a:pt x="0" y="1862"/>
                  </a:cubicBezTo>
                  <a:cubicBezTo>
                    <a:pt x="0" y="2406"/>
                    <a:pt x="361" y="2819"/>
                    <a:pt x="873" y="2819"/>
                  </a:cubicBezTo>
                  <a:cubicBezTo>
                    <a:pt x="1171" y="2819"/>
                    <a:pt x="1366" y="2672"/>
                    <a:pt x="1461" y="2568"/>
                  </a:cubicBezTo>
                  <a:cubicBezTo>
                    <a:pt x="1461" y="2779"/>
                    <a:pt x="1461" y="2779"/>
                    <a:pt x="1461" y="2779"/>
                  </a:cubicBezTo>
                  <a:cubicBezTo>
                    <a:pt x="1997" y="2779"/>
                    <a:pt x="1997" y="2779"/>
                    <a:pt x="1997" y="2779"/>
                  </a:cubicBezTo>
                  <a:cubicBezTo>
                    <a:pt x="1997" y="0"/>
                    <a:pt x="1997" y="0"/>
                    <a:pt x="1997" y="0"/>
                  </a:cubicBezTo>
                  <a:lnTo>
                    <a:pt x="1461" y="0"/>
                  </a:lnTo>
                  <a:close/>
                  <a:moveTo>
                    <a:pt x="1461" y="2163"/>
                  </a:moveTo>
                  <a:cubicBezTo>
                    <a:pt x="1389" y="2255"/>
                    <a:pt x="1254" y="2362"/>
                    <a:pt x="1048" y="2362"/>
                  </a:cubicBezTo>
                  <a:cubicBezTo>
                    <a:pt x="762" y="2362"/>
                    <a:pt x="560" y="2155"/>
                    <a:pt x="560" y="1854"/>
                  </a:cubicBezTo>
                  <a:cubicBezTo>
                    <a:pt x="560" y="1552"/>
                    <a:pt x="762" y="1346"/>
                    <a:pt x="1048" y="1346"/>
                  </a:cubicBezTo>
                  <a:cubicBezTo>
                    <a:pt x="1254" y="1346"/>
                    <a:pt x="1389" y="1453"/>
                    <a:pt x="1461" y="1544"/>
                  </a:cubicBezTo>
                  <a:lnTo>
                    <a:pt x="1461" y="216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50" name="Freeform 182"/>
            <p:cNvSpPr>
              <a:spLocks/>
            </p:cNvSpPr>
            <p:nvPr userDrawn="1"/>
          </p:nvSpPr>
          <p:spPr bwMode="auto">
            <a:xfrm>
              <a:off x="-1487488" y="2551113"/>
              <a:ext cx="290513" cy="300038"/>
            </a:xfrm>
            <a:custGeom>
              <a:avLst/>
              <a:gdLst>
                <a:gd name="T0" fmla="*/ 1128 w 1839"/>
                <a:gd name="T1" fmla="*/ 0 h 1890"/>
                <a:gd name="T2" fmla="*/ 540 w 1839"/>
                <a:gd name="T3" fmla="*/ 262 h 1890"/>
                <a:gd name="T4" fmla="*/ 540 w 1839"/>
                <a:gd name="T5" fmla="*/ 40 h 1890"/>
                <a:gd name="T6" fmla="*/ 0 w 1839"/>
                <a:gd name="T7" fmla="*/ 40 h 1890"/>
                <a:gd name="T8" fmla="*/ 0 w 1839"/>
                <a:gd name="T9" fmla="*/ 1890 h 1890"/>
                <a:gd name="T10" fmla="*/ 540 w 1839"/>
                <a:gd name="T11" fmla="*/ 1890 h 1890"/>
                <a:gd name="T12" fmla="*/ 540 w 1839"/>
                <a:gd name="T13" fmla="*/ 675 h 1890"/>
                <a:gd name="T14" fmla="*/ 937 w 1839"/>
                <a:gd name="T15" fmla="*/ 464 h 1890"/>
                <a:gd name="T16" fmla="*/ 1295 w 1839"/>
                <a:gd name="T17" fmla="*/ 854 h 1890"/>
                <a:gd name="T18" fmla="*/ 1295 w 1839"/>
                <a:gd name="T19" fmla="*/ 1890 h 1890"/>
                <a:gd name="T20" fmla="*/ 1839 w 1839"/>
                <a:gd name="T21" fmla="*/ 1890 h 1890"/>
                <a:gd name="T22" fmla="*/ 1839 w 1839"/>
                <a:gd name="T23" fmla="*/ 746 h 1890"/>
                <a:gd name="T24" fmla="*/ 1128 w 1839"/>
                <a:gd name="T25" fmla="*/ 0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9" h="1890">
                  <a:moveTo>
                    <a:pt x="1128" y="0"/>
                  </a:moveTo>
                  <a:cubicBezTo>
                    <a:pt x="826" y="0"/>
                    <a:pt x="632" y="159"/>
                    <a:pt x="540" y="262"/>
                  </a:cubicBezTo>
                  <a:cubicBezTo>
                    <a:pt x="540" y="40"/>
                    <a:pt x="540" y="40"/>
                    <a:pt x="540" y="40"/>
                  </a:cubicBezTo>
                  <a:cubicBezTo>
                    <a:pt x="0" y="40"/>
                    <a:pt x="0" y="40"/>
                    <a:pt x="0" y="40"/>
                  </a:cubicBezTo>
                  <a:cubicBezTo>
                    <a:pt x="0" y="1890"/>
                    <a:pt x="0" y="1890"/>
                    <a:pt x="0" y="1890"/>
                  </a:cubicBezTo>
                  <a:cubicBezTo>
                    <a:pt x="540" y="1890"/>
                    <a:pt x="540" y="1890"/>
                    <a:pt x="540" y="1890"/>
                  </a:cubicBezTo>
                  <a:cubicBezTo>
                    <a:pt x="540" y="675"/>
                    <a:pt x="540" y="675"/>
                    <a:pt x="540" y="675"/>
                  </a:cubicBezTo>
                  <a:cubicBezTo>
                    <a:pt x="608" y="580"/>
                    <a:pt x="735" y="464"/>
                    <a:pt x="937" y="464"/>
                  </a:cubicBezTo>
                  <a:cubicBezTo>
                    <a:pt x="1164" y="464"/>
                    <a:pt x="1295" y="611"/>
                    <a:pt x="1295" y="854"/>
                  </a:cubicBezTo>
                  <a:cubicBezTo>
                    <a:pt x="1295" y="1890"/>
                    <a:pt x="1295" y="1890"/>
                    <a:pt x="1295" y="1890"/>
                  </a:cubicBezTo>
                  <a:cubicBezTo>
                    <a:pt x="1839" y="1890"/>
                    <a:pt x="1839" y="1890"/>
                    <a:pt x="1839" y="1890"/>
                  </a:cubicBezTo>
                  <a:cubicBezTo>
                    <a:pt x="1839" y="746"/>
                    <a:pt x="1839" y="746"/>
                    <a:pt x="1839" y="746"/>
                  </a:cubicBezTo>
                  <a:cubicBezTo>
                    <a:pt x="1839" y="310"/>
                    <a:pt x="1588" y="0"/>
                    <a:pt x="1128"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51" name="Freeform 183"/>
            <p:cNvSpPr>
              <a:spLocks/>
            </p:cNvSpPr>
            <p:nvPr userDrawn="1"/>
          </p:nvSpPr>
          <p:spPr bwMode="auto">
            <a:xfrm>
              <a:off x="-2286000" y="2403475"/>
              <a:ext cx="238125" cy="447675"/>
            </a:xfrm>
            <a:custGeom>
              <a:avLst/>
              <a:gdLst>
                <a:gd name="T0" fmla="*/ 1128 w 1505"/>
                <a:gd name="T1" fmla="*/ 449 h 2819"/>
                <a:gd name="T2" fmla="*/ 1418 w 1505"/>
                <a:gd name="T3" fmla="*/ 528 h 2819"/>
                <a:gd name="T4" fmla="*/ 1505 w 1505"/>
                <a:gd name="T5" fmla="*/ 115 h 2819"/>
                <a:gd name="T6" fmla="*/ 1009 w 1505"/>
                <a:gd name="T7" fmla="*/ 0 h 2819"/>
                <a:gd name="T8" fmla="*/ 274 w 1505"/>
                <a:gd name="T9" fmla="*/ 750 h 2819"/>
                <a:gd name="T10" fmla="*/ 274 w 1505"/>
                <a:gd name="T11" fmla="*/ 969 h 2819"/>
                <a:gd name="T12" fmla="*/ 0 w 1505"/>
                <a:gd name="T13" fmla="*/ 969 h 2819"/>
                <a:gd name="T14" fmla="*/ 0 w 1505"/>
                <a:gd name="T15" fmla="*/ 1413 h 2819"/>
                <a:gd name="T16" fmla="*/ 274 w 1505"/>
                <a:gd name="T17" fmla="*/ 1413 h 2819"/>
                <a:gd name="T18" fmla="*/ 274 w 1505"/>
                <a:gd name="T19" fmla="*/ 2819 h 2819"/>
                <a:gd name="T20" fmla="*/ 826 w 1505"/>
                <a:gd name="T21" fmla="*/ 2819 h 2819"/>
                <a:gd name="T22" fmla="*/ 826 w 1505"/>
                <a:gd name="T23" fmla="*/ 1413 h 2819"/>
                <a:gd name="T24" fmla="*/ 1453 w 1505"/>
                <a:gd name="T25" fmla="*/ 1413 h 2819"/>
                <a:gd name="T26" fmla="*/ 1453 w 1505"/>
                <a:gd name="T27" fmla="*/ 969 h 2819"/>
                <a:gd name="T28" fmla="*/ 826 w 1505"/>
                <a:gd name="T29" fmla="*/ 969 h 2819"/>
                <a:gd name="T30" fmla="*/ 826 w 1505"/>
                <a:gd name="T31" fmla="*/ 798 h 2819"/>
                <a:gd name="T32" fmla="*/ 1128 w 1505"/>
                <a:gd name="T33" fmla="*/ 449 h 2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5" h="2819">
                  <a:moveTo>
                    <a:pt x="1128" y="449"/>
                  </a:moveTo>
                  <a:cubicBezTo>
                    <a:pt x="1310" y="449"/>
                    <a:pt x="1418" y="528"/>
                    <a:pt x="1418" y="528"/>
                  </a:cubicBezTo>
                  <a:cubicBezTo>
                    <a:pt x="1505" y="115"/>
                    <a:pt x="1505" y="115"/>
                    <a:pt x="1505" y="115"/>
                  </a:cubicBezTo>
                  <a:cubicBezTo>
                    <a:pt x="1505" y="115"/>
                    <a:pt x="1358" y="0"/>
                    <a:pt x="1009" y="0"/>
                  </a:cubicBezTo>
                  <a:cubicBezTo>
                    <a:pt x="556" y="0"/>
                    <a:pt x="274" y="262"/>
                    <a:pt x="274" y="750"/>
                  </a:cubicBezTo>
                  <a:cubicBezTo>
                    <a:pt x="274" y="969"/>
                    <a:pt x="274" y="969"/>
                    <a:pt x="274" y="969"/>
                  </a:cubicBezTo>
                  <a:cubicBezTo>
                    <a:pt x="0" y="969"/>
                    <a:pt x="0" y="969"/>
                    <a:pt x="0" y="969"/>
                  </a:cubicBezTo>
                  <a:cubicBezTo>
                    <a:pt x="0" y="1413"/>
                    <a:pt x="0" y="1413"/>
                    <a:pt x="0" y="1413"/>
                  </a:cubicBezTo>
                  <a:cubicBezTo>
                    <a:pt x="274" y="1413"/>
                    <a:pt x="274" y="1413"/>
                    <a:pt x="274" y="1413"/>
                  </a:cubicBezTo>
                  <a:cubicBezTo>
                    <a:pt x="274" y="2819"/>
                    <a:pt x="274" y="2819"/>
                    <a:pt x="274" y="2819"/>
                  </a:cubicBezTo>
                  <a:cubicBezTo>
                    <a:pt x="826" y="2819"/>
                    <a:pt x="826" y="2819"/>
                    <a:pt x="826" y="2819"/>
                  </a:cubicBezTo>
                  <a:cubicBezTo>
                    <a:pt x="826" y="1413"/>
                    <a:pt x="826" y="1413"/>
                    <a:pt x="826" y="1413"/>
                  </a:cubicBezTo>
                  <a:cubicBezTo>
                    <a:pt x="1453" y="1413"/>
                    <a:pt x="1453" y="1413"/>
                    <a:pt x="1453" y="1413"/>
                  </a:cubicBezTo>
                  <a:cubicBezTo>
                    <a:pt x="1453" y="969"/>
                    <a:pt x="1453" y="969"/>
                    <a:pt x="1453" y="969"/>
                  </a:cubicBezTo>
                  <a:cubicBezTo>
                    <a:pt x="826" y="969"/>
                    <a:pt x="826" y="969"/>
                    <a:pt x="826" y="969"/>
                  </a:cubicBezTo>
                  <a:cubicBezTo>
                    <a:pt x="826" y="798"/>
                    <a:pt x="826" y="798"/>
                    <a:pt x="826" y="798"/>
                  </a:cubicBezTo>
                  <a:cubicBezTo>
                    <a:pt x="826" y="564"/>
                    <a:pt x="933" y="449"/>
                    <a:pt x="1128" y="44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52" name="Rectangle 184"/>
            <p:cNvSpPr>
              <a:spLocks noChangeArrowheads="1"/>
            </p:cNvSpPr>
            <p:nvPr userDrawn="1"/>
          </p:nvSpPr>
          <p:spPr bwMode="auto">
            <a:xfrm>
              <a:off x="-2006600" y="2409825"/>
              <a:ext cx="87313" cy="441325"/>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3" name="Datumsplatzhalter 2"/>
          <p:cNvSpPr>
            <a:spLocks noGrp="1"/>
          </p:cNvSpPr>
          <p:nvPr>
            <p:ph type="dt" sz="half" idx="19"/>
          </p:nvPr>
        </p:nvSpPr>
        <p:spPr>
          <a:xfrm>
            <a:off x="7985795" y="4836160"/>
            <a:ext cx="540059" cy="136050"/>
          </a:xfrm>
          <a:prstGeom prst="rect">
            <a:avLst/>
          </a:prstGeom>
        </p:spPr>
        <p:txBody>
          <a:bodyPr/>
          <a:lstStyle>
            <a:lvl1pPr>
              <a:defRPr>
                <a:noFill/>
              </a:defRPr>
            </a:lvl1pPr>
          </a:lstStyle>
          <a:p>
            <a:endParaRPr lang="de-DE" dirty="0"/>
          </a:p>
        </p:txBody>
      </p:sp>
      <p:sp>
        <p:nvSpPr>
          <p:cNvPr id="4" name="Fußzeilenplatzhalter 3"/>
          <p:cNvSpPr>
            <a:spLocks noGrp="1"/>
          </p:cNvSpPr>
          <p:nvPr>
            <p:ph type="ftr" sz="quarter" idx="20"/>
          </p:nvPr>
        </p:nvSpPr>
        <p:spPr>
          <a:xfrm>
            <a:off x="5788992" y="4836160"/>
            <a:ext cx="2196803" cy="136050"/>
          </a:xfrm>
          <a:prstGeom prst="rect">
            <a:avLst/>
          </a:prstGeom>
        </p:spPr>
        <p:txBody>
          <a:bodyPr/>
          <a:lstStyle>
            <a:lvl1pPr>
              <a:defRPr>
                <a:noFill/>
              </a:defRPr>
            </a:lvl1pPr>
          </a:lstStyle>
          <a:p>
            <a:endParaRPr lang="de-DE" dirty="0"/>
          </a:p>
        </p:txBody>
      </p:sp>
      <p:sp>
        <p:nvSpPr>
          <p:cNvPr id="5" name="Foliennummernplatzhalter 4"/>
          <p:cNvSpPr>
            <a:spLocks noGrp="1"/>
          </p:cNvSpPr>
          <p:nvPr>
            <p:ph type="sldNum" sz="quarter" idx="21"/>
          </p:nvPr>
        </p:nvSpPr>
        <p:spPr>
          <a:xfrm>
            <a:off x="8532440" y="4836160"/>
            <a:ext cx="611561" cy="136050"/>
          </a:xfrm>
          <a:prstGeom prst="rect">
            <a:avLst/>
          </a:prstGeom>
        </p:spPr>
        <p:txBody>
          <a:bodyPr/>
          <a:lstStyle>
            <a:lvl1pPr>
              <a:defRPr>
                <a:noFill/>
              </a:defRPr>
            </a:lvl1pPr>
          </a:lstStyle>
          <a:p>
            <a:r>
              <a:rPr lang="de-DE"/>
              <a:t> </a:t>
            </a:r>
            <a:r>
              <a:rPr lang="de-DE">
                <a:sym typeface="Wingdings"/>
              </a:rPr>
              <a:t>  </a:t>
            </a:r>
            <a:fld id="{443B15C8-972D-49F6-9B7C-5A2154A8C95F}" type="slidenum">
              <a:rPr lang="de-DE" smtClean="0"/>
              <a:pPr/>
              <a:t>‹Nr.›</a:t>
            </a:fld>
            <a:endParaRPr lang="de-DE" dirty="0"/>
          </a:p>
        </p:txBody>
      </p:sp>
      <p:grpSp>
        <p:nvGrpSpPr>
          <p:cNvPr id="45" name="Gruppieren 44"/>
          <p:cNvGrpSpPr/>
          <p:nvPr/>
        </p:nvGrpSpPr>
        <p:grpSpPr>
          <a:xfrm>
            <a:off x="-373329" y="-380578"/>
            <a:ext cx="9664396" cy="5679553"/>
            <a:chOff x="-373329" y="-380578"/>
            <a:chExt cx="9664396" cy="5679553"/>
          </a:xfrm>
        </p:grpSpPr>
        <p:sp>
          <p:nvSpPr>
            <p:cNvPr id="46" name="Textfeld 125"/>
            <p:cNvSpPr txBox="1"/>
            <p:nvPr userDrawn="1"/>
          </p:nvSpPr>
          <p:spPr bwMode="gray">
            <a:xfrm>
              <a:off x="169614" y="-137946"/>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11,60</a:t>
              </a:r>
            </a:p>
          </p:txBody>
        </p:sp>
        <p:cxnSp>
          <p:nvCxnSpPr>
            <p:cNvPr id="47" name="Gerade Verbindung 88"/>
            <p:cNvCxnSpPr/>
            <p:nvPr userDrawn="1"/>
          </p:nvCxnSpPr>
          <p:spPr bwMode="gray">
            <a:xfrm>
              <a:off x="395287" y="-380578"/>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48" name="Textfeld 125"/>
            <p:cNvSpPr txBox="1"/>
            <p:nvPr userDrawn="1"/>
          </p:nvSpPr>
          <p:spPr bwMode="gray">
            <a:xfrm>
              <a:off x="4468316" y="-247911"/>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0</a:t>
              </a:r>
            </a:p>
          </p:txBody>
        </p:sp>
        <p:cxnSp>
          <p:nvCxnSpPr>
            <p:cNvPr id="49" name="Gerade Verbindung 90"/>
            <p:cNvCxnSpPr/>
            <p:nvPr userDrawn="1"/>
          </p:nvCxnSpPr>
          <p:spPr bwMode="gray">
            <a:xfrm>
              <a:off x="4572000" y="-164554"/>
              <a:ext cx="0" cy="9465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50" name="Textfeld 125"/>
            <p:cNvSpPr txBox="1"/>
            <p:nvPr userDrawn="1"/>
          </p:nvSpPr>
          <p:spPr bwMode="gray">
            <a:xfrm>
              <a:off x="8765420" y="-137946"/>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11,60</a:t>
              </a:r>
            </a:p>
          </p:txBody>
        </p:sp>
        <p:cxnSp>
          <p:nvCxnSpPr>
            <p:cNvPr id="51" name="Gerade Verbindung 95"/>
            <p:cNvCxnSpPr/>
            <p:nvPr userDrawn="1"/>
          </p:nvCxnSpPr>
          <p:spPr bwMode="gray">
            <a:xfrm>
              <a:off x="8745367" y="-380578"/>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Gerade Verbindung 96"/>
            <p:cNvCxnSpPr/>
            <p:nvPr userDrawn="1"/>
          </p:nvCxnSpPr>
          <p:spPr bwMode="gray">
            <a:xfrm>
              <a:off x="395287" y="5205375"/>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3" name="Gerade Verbindung 97"/>
            <p:cNvCxnSpPr/>
            <p:nvPr userDrawn="1"/>
          </p:nvCxnSpPr>
          <p:spPr bwMode="gray">
            <a:xfrm>
              <a:off x="4572000" y="5205375"/>
              <a:ext cx="0"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p:cNvCxnSpPr/>
            <p:nvPr userDrawn="1"/>
          </p:nvCxnSpPr>
          <p:spPr bwMode="gray">
            <a:xfrm>
              <a:off x="8745367" y="5205375"/>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55" name="Textfeld 125"/>
            <p:cNvSpPr txBox="1"/>
            <p:nvPr userDrawn="1"/>
          </p:nvSpPr>
          <p:spPr bwMode="gray">
            <a:xfrm>
              <a:off x="-270016" y="4604219"/>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5,</a:t>
              </a:r>
              <a:r>
                <a:rPr lang="de-DE" sz="600" noProof="0" dirty="0">
                  <a:solidFill>
                    <a:schemeClr val="tx2"/>
                  </a:solidFill>
                </a:rPr>
                <a:t>6</a:t>
              </a:r>
              <a:r>
                <a:rPr lang="pl-PL" sz="600" noProof="0" dirty="0">
                  <a:solidFill>
                    <a:schemeClr val="tx2"/>
                  </a:solidFill>
                </a:rPr>
                <a:t>0</a:t>
              </a:r>
            </a:p>
          </p:txBody>
        </p:sp>
        <p:cxnSp>
          <p:nvCxnSpPr>
            <p:cNvPr id="56" name="Gerade Verbindung 103"/>
            <p:cNvCxnSpPr/>
            <p:nvPr userDrawn="1"/>
          </p:nvCxnSpPr>
          <p:spPr bwMode="gray">
            <a:xfrm rot="5400000">
              <a:off x="-217989" y="4425629"/>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57" name="Textfeld 125"/>
            <p:cNvSpPr txBox="1"/>
            <p:nvPr userDrawn="1"/>
          </p:nvSpPr>
          <p:spPr bwMode="gray">
            <a:xfrm>
              <a:off x="-270016" y="1042102"/>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4,00</a:t>
              </a:r>
            </a:p>
          </p:txBody>
        </p:sp>
        <p:cxnSp>
          <p:nvCxnSpPr>
            <p:cNvPr id="58" name="Gerade Verbindung 105"/>
            <p:cNvCxnSpPr/>
            <p:nvPr userDrawn="1"/>
          </p:nvCxnSpPr>
          <p:spPr bwMode="gray">
            <a:xfrm rot="5400000">
              <a:off x="-217989" y="970017"/>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59" name="Textfeld 125"/>
            <p:cNvSpPr txBox="1"/>
            <p:nvPr userDrawn="1"/>
          </p:nvSpPr>
          <p:spPr bwMode="gray">
            <a:xfrm>
              <a:off x="-325696" y="2825353"/>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0</a:t>
              </a:r>
              <a:r>
                <a:rPr lang="de-DE" sz="600" noProof="0" dirty="0">
                  <a:solidFill>
                    <a:schemeClr val="tx2"/>
                  </a:solidFill>
                </a:rPr>
                <a:t>,8</a:t>
              </a:r>
              <a:endParaRPr lang="pl-PL" sz="600" noProof="0" dirty="0">
                <a:solidFill>
                  <a:schemeClr val="tx2"/>
                </a:solidFill>
              </a:endParaRPr>
            </a:p>
          </p:txBody>
        </p:sp>
        <p:cxnSp>
          <p:nvCxnSpPr>
            <p:cNvPr id="60" name="Gerade Verbindung 107"/>
            <p:cNvCxnSpPr/>
            <p:nvPr userDrawn="1"/>
          </p:nvCxnSpPr>
          <p:spPr bwMode="gray">
            <a:xfrm rot="16200000">
              <a:off x="-109977" y="2815134"/>
              <a:ext cx="0" cy="9465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Gerade Verbindung 108"/>
            <p:cNvCxnSpPr/>
            <p:nvPr userDrawn="1"/>
          </p:nvCxnSpPr>
          <p:spPr bwMode="gray">
            <a:xfrm rot="5400000">
              <a:off x="9244266" y="4534169"/>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2" name="Gerade Verbindung 109"/>
            <p:cNvCxnSpPr/>
            <p:nvPr userDrawn="1"/>
          </p:nvCxnSpPr>
          <p:spPr bwMode="gray">
            <a:xfrm rot="5400000">
              <a:off x="9244266" y="1078557"/>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 name="Gerade Verbindung 110"/>
            <p:cNvCxnSpPr/>
            <p:nvPr userDrawn="1"/>
          </p:nvCxnSpPr>
          <p:spPr bwMode="gray">
            <a:xfrm rot="16200000">
              <a:off x="9244266" y="2815662"/>
              <a:ext cx="0"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7648574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773" name="think-cell Folie" r:id="rId4" imgW="245" imgH="245" progId="TCLayout.ActiveDocument.1">
                  <p:embed/>
                </p:oleObj>
              </mc:Choice>
              <mc:Fallback>
                <p:oleObj name="think-cell Folie" r:id="rId4" imgW="245" imgH="245"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7" name="Text Placeholder 2"/>
          <p:cNvSpPr>
            <a:spLocks noGrp="1"/>
          </p:cNvSpPr>
          <p:nvPr>
            <p:ph type="body" sz="quarter" idx="10" hasCustomPrompt="1"/>
          </p:nvPr>
        </p:nvSpPr>
        <p:spPr bwMode="gray">
          <a:xfrm>
            <a:off x="3077988" y="123269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28" name="Text Placeholder 2"/>
          <p:cNvSpPr>
            <a:spLocks noGrp="1"/>
          </p:cNvSpPr>
          <p:nvPr>
            <p:ph type="body" sz="quarter" idx="11" hasCustomPrompt="1"/>
          </p:nvPr>
        </p:nvSpPr>
        <p:spPr bwMode="gray">
          <a:xfrm>
            <a:off x="3077988" y="173401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29" name="Text Placeholder 2"/>
          <p:cNvSpPr>
            <a:spLocks noGrp="1"/>
          </p:cNvSpPr>
          <p:nvPr>
            <p:ph type="body" sz="quarter" idx="12" hasCustomPrompt="1"/>
          </p:nvPr>
        </p:nvSpPr>
        <p:spPr bwMode="gray">
          <a:xfrm>
            <a:off x="3077988" y="223533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0" name="Text Placeholder 2"/>
          <p:cNvSpPr>
            <a:spLocks noGrp="1"/>
          </p:cNvSpPr>
          <p:nvPr>
            <p:ph type="body" sz="quarter" idx="13" hasCustomPrompt="1"/>
          </p:nvPr>
        </p:nvSpPr>
        <p:spPr bwMode="gray">
          <a:xfrm>
            <a:off x="3077988" y="273665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2" name="Text Placeholder 2"/>
          <p:cNvSpPr>
            <a:spLocks noGrp="1"/>
          </p:cNvSpPr>
          <p:nvPr>
            <p:ph type="body" sz="quarter" idx="14" hasCustomPrompt="1"/>
          </p:nvPr>
        </p:nvSpPr>
        <p:spPr bwMode="gray">
          <a:xfrm>
            <a:off x="3077988" y="3237972"/>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3" name="Text Placeholder 2"/>
          <p:cNvSpPr>
            <a:spLocks noGrp="1"/>
          </p:cNvSpPr>
          <p:nvPr>
            <p:ph type="body" sz="quarter" idx="15" hasCustomPrompt="1"/>
          </p:nvPr>
        </p:nvSpPr>
        <p:spPr bwMode="gray">
          <a:xfrm>
            <a:off x="5688013" y="123269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4" name="Text Placeholder 2"/>
          <p:cNvSpPr>
            <a:spLocks noGrp="1"/>
          </p:cNvSpPr>
          <p:nvPr>
            <p:ph type="body" sz="quarter" idx="16" hasCustomPrompt="1"/>
          </p:nvPr>
        </p:nvSpPr>
        <p:spPr bwMode="gray">
          <a:xfrm>
            <a:off x="5688013" y="173401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5" name="Text Placeholder 2"/>
          <p:cNvSpPr>
            <a:spLocks noGrp="1"/>
          </p:cNvSpPr>
          <p:nvPr>
            <p:ph type="body" sz="quarter" idx="17" hasCustomPrompt="1"/>
          </p:nvPr>
        </p:nvSpPr>
        <p:spPr bwMode="gray">
          <a:xfrm>
            <a:off x="5688013" y="223533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6" name="Text Placeholder 2"/>
          <p:cNvSpPr>
            <a:spLocks noGrp="1"/>
          </p:cNvSpPr>
          <p:nvPr>
            <p:ph type="body" sz="quarter" idx="18" hasCustomPrompt="1"/>
          </p:nvPr>
        </p:nvSpPr>
        <p:spPr bwMode="gray">
          <a:xfrm>
            <a:off x="5688013" y="2736654"/>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7" name="Text Placeholder 2"/>
          <p:cNvSpPr>
            <a:spLocks noGrp="1"/>
          </p:cNvSpPr>
          <p:nvPr>
            <p:ph type="body" sz="quarter" idx="19" hasCustomPrompt="1"/>
          </p:nvPr>
        </p:nvSpPr>
        <p:spPr bwMode="gray">
          <a:xfrm>
            <a:off x="5688013" y="3237972"/>
            <a:ext cx="378000" cy="378000"/>
          </a:xfrm>
          <a:solidFill>
            <a:schemeClr val="accent2"/>
          </a:solidFill>
        </p:spPr>
        <p:txBody>
          <a:bodyPr wrap="none" rIns="0" anchor="ctr"/>
          <a:lstStyle>
            <a:lvl1pPr marL="0" indent="0" algn="ctr">
              <a:lnSpc>
                <a:spcPct val="100000"/>
              </a:lnSpc>
              <a:buFont typeface="Arial" panose="020B0604020202020204" pitchFamily="34" charset="0"/>
              <a:buNone/>
              <a:defRPr sz="1800" b="1" cap="none">
                <a:solidFill>
                  <a:schemeClr val="bg1"/>
                </a:solidFill>
              </a:defRPr>
            </a:lvl1pPr>
            <a:lvl2pPr marL="0" indent="0" algn="ctr">
              <a:lnSpc>
                <a:spcPct val="100000"/>
              </a:lnSpc>
              <a:buNone/>
              <a:defRPr sz="1800" b="1" cap="none">
                <a:solidFill>
                  <a:schemeClr val="bg1"/>
                </a:solidFill>
              </a:defRPr>
            </a:lvl2pPr>
            <a:lvl3pPr marL="0" indent="0" algn="ctr">
              <a:lnSpc>
                <a:spcPct val="100000"/>
              </a:lnSpc>
              <a:buNone/>
              <a:defRPr sz="1800" b="1" cap="none">
                <a:solidFill>
                  <a:schemeClr val="bg1"/>
                </a:solidFill>
              </a:defRPr>
            </a:lvl3pPr>
            <a:lvl4pPr marL="0" indent="0" algn="ctr">
              <a:lnSpc>
                <a:spcPct val="100000"/>
              </a:lnSpc>
              <a:buFont typeface="Arial" panose="020B0604020202020204" pitchFamily="34" charset="0"/>
              <a:buNone/>
              <a:defRPr sz="1800" b="1" cap="none">
                <a:solidFill>
                  <a:schemeClr val="bg1"/>
                </a:solidFill>
              </a:defRPr>
            </a:lvl4pPr>
            <a:lvl5pPr marL="0" indent="0" algn="ctr">
              <a:lnSpc>
                <a:spcPct val="100000"/>
              </a:lnSpc>
              <a:buFont typeface="Arial" panose="020B0604020202020204" pitchFamily="34" charset="0"/>
              <a:buNone/>
              <a:defRPr sz="1800" b="1" cap="none">
                <a:solidFill>
                  <a:schemeClr val="bg1"/>
                </a:solidFill>
              </a:defRPr>
            </a:lvl5pPr>
            <a:lvl6pPr marL="0" indent="0" algn="ctr">
              <a:lnSpc>
                <a:spcPct val="100000"/>
              </a:lnSpc>
              <a:buFont typeface="Arial" panose="020B0604020202020204" pitchFamily="34" charset="0"/>
              <a:buNone/>
              <a:defRPr sz="1800" b="1" cap="none">
                <a:solidFill>
                  <a:schemeClr val="bg1"/>
                </a:solidFill>
              </a:defRPr>
            </a:lvl6pPr>
            <a:lvl7pPr marL="0" indent="0" algn="ctr">
              <a:lnSpc>
                <a:spcPct val="100000"/>
              </a:lnSpc>
              <a:buFont typeface="Arial" panose="020B0604020202020204" pitchFamily="34" charset="0"/>
              <a:buNone/>
              <a:defRPr sz="1800" b="1" cap="none">
                <a:solidFill>
                  <a:schemeClr val="bg1"/>
                </a:solidFill>
              </a:defRPr>
            </a:lvl7pPr>
            <a:lvl8pPr marL="0" indent="0" algn="ctr">
              <a:lnSpc>
                <a:spcPct val="100000"/>
              </a:lnSpc>
              <a:buFont typeface="Arial" panose="020B0604020202020204" pitchFamily="34" charset="0"/>
              <a:buNone/>
              <a:defRPr sz="1800" b="1" cap="none">
                <a:solidFill>
                  <a:schemeClr val="bg1"/>
                </a:solidFill>
              </a:defRPr>
            </a:lvl8pPr>
            <a:lvl9pPr marL="0" indent="0" algn="ctr">
              <a:lnSpc>
                <a:spcPct val="100000"/>
              </a:lnSpc>
              <a:buFont typeface="Arial" panose="020B0604020202020204" pitchFamily="34" charset="0"/>
              <a:buNone/>
              <a:defRPr sz="1800" b="1" cap="none">
                <a:solidFill>
                  <a:schemeClr val="bg1"/>
                </a:solidFill>
              </a:defRPr>
            </a:lvl9pPr>
          </a:lstStyle>
          <a:p>
            <a:pPr lvl="0"/>
            <a:r>
              <a:rPr lang="de-DE" noProof="0" dirty="0"/>
              <a:t>NR</a:t>
            </a:r>
          </a:p>
        </p:txBody>
      </p:sp>
      <p:sp>
        <p:nvSpPr>
          <p:cNvPr id="39" name="Text Placeholder 4"/>
          <p:cNvSpPr>
            <a:spLocks noGrp="1"/>
          </p:cNvSpPr>
          <p:nvPr>
            <p:ph type="body" sz="quarter" idx="20" hasCustomPrompt="1"/>
          </p:nvPr>
        </p:nvSpPr>
        <p:spPr bwMode="gray">
          <a:xfrm>
            <a:off x="3600450" y="1233488"/>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baseline="0">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4" name="Text Placeholder 4"/>
          <p:cNvSpPr>
            <a:spLocks noGrp="1"/>
          </p:cNvSpPr>
          <p:nvPr>
            <p:ph type="body" sz="quarter" idx="21" hasCustomPrompt="1"/>
          </p:nvPr>
        </p:nvSpPr>
        <p:spPr bwMode="gray">
          <a:xfrm>
            <a:off x="3600450" y="1734609"/>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5" name="Text Placeholder 4"/>
          <p:cNvSpPr>
            <a:spLocks noGrp="1"/>
          </p:cNvSpPr>
          <p:nvPr>
            <p:ph type="body" sz="quarter" idx="22" hasCustomPrompt="1"/>
          </p:nvPr>
        </p:nvSpPr>
        <p:spPr bwMode="gray">
          <a:xfrm>
            <a:off x="3600450" y="2235730"/>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6" name="Text Placeholder 4"/>
          <p:cNvSpPr>
            <a:spLocks noGrp="1"/>
          </p:cNvSpPr>
          <p:nvPr>
            <p:ph type="body" sz="quarter" idx="23" hasCustomPrompt="1"/>
          </p:nvPr>
        </p:nvSpPr>
        <p:spPr bwMode="gray">
          <a:xfrm>
            <a:off x="3600450" y="2736851"/>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7" name="Text Placeholder 4"/>
          <p:cNvSpPr>
            <a:spLocks noGrp="1"/>
          </p:cNvSpPr>
          <p:nvPr>
            <p:ph type="body" sz="quarter" idx="24" hasCustomPrompt="1"/>
          </p:nvPr>
        </p:nvSpPr>
        <p:spPr bwMode="gray">
          <a:xfrm>
            <a:off x="3600450" y="3237972"/>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8" name="Text Placeholder 4"/>
          <p:cNvSpPr>
            <a:spLocks noGrp="1"/>
          </p:cNvSpPr>
          <p:nvPr>
            <p:ph type="body" sz="quarter" idx="25" hasCustomPrompt="1"/>
          </p:nvPr>
        </p:nvSpPr>
        <p:spPr bwMode="gray">
          <a:xfrm>
            <a:off x="6210475" y="1233488"/>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49" name="Text Placeholder 4"/>
          <p:cNvSpPr>
            <a:spLocks noGrp="1"/>
          </p:cNvSpPr>
          <p:nvPr>
            <p:ph type="body" sz="quarter" idx="26" hasCustomPrompt="1"/>
          </p:nvPr>
        </p:nvSpPr>
        <p:spPr bwMode="gray">
          <a:xfrm>
            <a:off x="6210475" y="1734609"/>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4" name="Text Placeholder 4"/>
          <p:cNvSpPr>
            <a:spLocks noGrp="1"/>
          </p:cNvSpPr>
          <p:nvPr>
            <p:ph type="body" sz="quarter" idx="27" hasCustomPrompt="1"/>
          </p:nvPr>
        </p:nvSpPr>
        <p:spPr bwMode="gray">
          <a:xfrm>
            <a:off x="6210475" y="2235730"/>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5" name="Text Placeholder 4"/>
          <p:cNvSpPr>
            <a:spLocks noGrp="1"/>
          </p:cNvSpPr>
          <p:nvPr>
            <p:ph type="body" sz="quarter" idx="28" hasCustomPrompt="1"/>
          </p:nvPr>
        </p:nvSpPr>
        <p:spPr bwMode="gray">
          <a:xfrm>
            <a:off x="6210475" y="2736851"/>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56" name="Text Placeholder 4"/>
          <p:cNvSpPr>
            <a:spLocks noGrp="1"/>
          </p:cNvSpPr>
          <p:nvPr>
            <p:ph type="body" sz="quarter" idx="29" hasCustomPrompt="1"/>
          </p:nvPr>
        </p:nvSpPr>
        <p:spPr bwMode="gray">
          <a:xfrm>
            <a:off x="6210475" y="3237972"/>
            <a:ext cx="1943100" cy="377206"/>
          </a:xfrm>
        </p:spPr>
        <p:txBody>
          <a:bodyPr anchor="ctr"/>
          <a:lstStyle>
            <a:lvl1pPr marL="0" indent="0">
              <a:lnSpc>
                <a:spcPct val="100000"/>
              </a:lnSpc>
              <a:spcBef>
                <a:spcPts val="0"/>
              </a:spcBef>
              <a:spcAft>
                <a:spcPts val="0"/>
              </a:spcAft>
              <a:buFont typeface="Arial" panose="020B0604020202020204" pitchFamily="34" charset="0"/>
              <a:buNone/>
              <a:defRPr sz="1200" b="0" cap="none">
                <a:solidFill>
                  <a:schemeClr val="tx1"/>
                </a:solidFill>
              </a:defRPr>
            </a:lvl1pPr>
            <a:lvl2pPr marL="0" indent="0">
              <a:lnSpc>
                <a:spcPct val="100000"/>
              </a:lnSpc>
              <a:spcBef>
                <a:spcPts val="0"/>
              </a:spcBef>
              <a:spcAft>
                <a:spcPts val="0"/>
              </a:spcAft>
              <a:buNone/>
              <a:defRPr sz="1200" b="0" cap="none">
                <a:solidFill>
                  <a:schemeClr val="tx1"/>
                </a:solidFill>
              </a:defRPr>
            </a:lvl2pPr>
            <a:lvl3pPr marL="0" indent="0">
              <a:lnSpc>
                <a:spcPct val="100000"/>
              </a:lnSpc>
              <a:spcBef>
                <a:spcPts val="0"/>
              </a:spcBef>
              <a:spcAft>
                <a:spcPts val="0"/>
              </a:spcAft>
              <a:buNone/>
              <a:defRPr sz="1200" b="0" cap="none">
                <a:solidFill>
                  <a:schemeClr val="tx1"/>
                </a:solidFill>
              </a:defRPr>
            </a:lvl3pPr>
            <a:lvl4pPr marL="0" indent="0">
              <a:lnSpc>
                <a:spcPct val="100000"/>
              </a:lnSpc>
              <a:spcBef>
                <a:spcPts val="0"/>
              </a:spcBef>
              <a:spcAft>
                <a:spcPts val="0"/>
              </a:spcAft>
              <a:buFont typeface="Arial" panose="020B0604020202020204" pitchFamily="34" charset="0"/>
              <a:buNone/>
              <a:defRPr sz="1200" b="0" cap="none">
                <a:solidFill>
                  <a:schemeClr val="tx1"/>
                </a:solidFill>
              </a:defRPr>
            </a:lvl4pPr>
            <a:lvl5pPr marL="0" indent="0">
              <a:lnSpc>
                <a:spcPct val="100000"/>
              </a:lnSpc>
              <a:spcBef>
                <a:spcPts val="0"/>
              </a:spcBef>
              <a:spcAft>
                <a:spcPts val="0"/>
              </a:spcAft>
              <a:buFont typeface="Arial" panose="020B0604020202020204" pitchFamily="34" charset="0"/>
              <a:buNone/>
              <a:defRPr sz="1200" b="0" cap="none">
                <a:solidFill>
                  <a:schemeClr val="tx1"/>
                </a:solidFill>
              </a:defRPr>
            </a:lvl5pPr>
            <a:lvl6pPr marL="0" indent="0">
              <a:lnSpc>
                <a:spcPct val="100000"/>
              </a:lnSpc>
              <a:spcBef>
                <a:spcPts val="0"/>
              </a:spcBef>
              <a:spcAft>
                <a:spcPts val="0"/>
              </a:spcAft>
              <a:buFont typeface="Arial" panose="020B0604020202020204" pitchFamily="34" charset="0"/>
              <a:buNone/>
              <a:defRPr sz="1200" b="0" cap="none">
                <a:solidFill>
                  <a:schemeClr val="tx1"/>
                </a:solidFill>
              </a:defRPr>
            </a:lvl6pPr>
            <a:lvl7pPr marL="0" indent="0">
              <a:lnSpc>
                <a:spcPct val="100000"/>
              </a:lnSpc>
              <a:spcBef>
                <a:spcPts val="0"/>
              </a:spcBef>
              <a:spcAft>
                <a:spcPts val="0"/>
              </a:spcAft>
              <a:buFont typeface="Arial" panose="020B0604020202020204" pitchFamily="34" charset="0"/>
              <a:buNone/>
              <a:defRPr sz="1200" b="0" cap="none">
                <a:solidFill>
                  <a:schemeClr val="tx1"/>
                </a:solidFill>
              </a:defRPr>
            </a:lvl7pPr>
            <a:lvl8pPr marL="0" indent="0">
              <a:lnSpc>
                <a:spcPct val="100000"/>
              </a:lnSpc>
              <a:spcBef>
                <a:spcPts val="0"/>
              </a:spcBef>
              <a:spcAft>
                <a:spcPts val="0"/>
              </a:spcAft>
              <a:buFont typeface="Arial" panose="020B0604020202020204" pitchFamily="34" charset="0"/>
              <a:buNone/>
              <a:defRPr sz="1200" b="0" cap="none">
                <a:solidFill>
                  <a:schemeClr val="tx1"/>
                </a:solidFill>
              </a:defRPr>
            </a:lvl8pPr>
            <a:lvl9pPr marL="0" indent="0">
              <a:lnSpc>
                <a:spcPct val="100000"/>
              </a:lnSpc>
              <a:spcBef>
                <a:spcPts val="0"/>
              </a:spcBef>
              <a:spcAft>
                <a:spcPts val="0"/>
              </a:spcAft>
              <a:buFont typeface="Arial" panose="020B0604020202020204" pitchFamily="34" charset="0"/>
              <a:buNone/>
              <a:defRPr sz="1200" b="0" cap="none">
                <a:solidFill>
                  <a:schemeClr val="tx1"/>
                </a:solidFill>
              </a:defRPr>
            </a:lvl9pPr>
          </a:lstStyle>
          <a:p>
            <a:pPr lvl="0"/>
            <a:r>
              <a:rPr lang="de-DE" noProof="0" dirty="0" err="1"/>
              <a:t>Agendathema</a:t>
            </a:r>
            <a:r>
              <a:rPr lang="de-DE" noProof="0" dirty="0"/>
              <a:t/>
            </a:r>
            <a:br>
              <a:rPr lang="de-DE" noProof="0" dirty="0"/>
            </a:br>
            <a:r>
              <a:rPr lang="de-DE" noProof="0" dirty="0"/>
              <a:t>- maximal 2 Zeilen</a:t>
            </a:r>
          </a:p>
        </p:txBody>
      </p:sp>
      <p:sp>
        <p:nvSpPr>
          <p:cNvPr id="2" name="Titel 1"/>
          <p:cNvSpPr>
            <a:spLocks noGrp="1"/>
          </p:cNvSpPr>
          <p:nvPr>
            <p:ph type="title" hasCustomPrompt="1"/>
          </p:nvPr>
        </p:nvSpPr>
        <p:spPr>
          <a:xfrm>
            <a:off x="395288" y="1527175"/>
            <a:ext cx="2160587" cy="1941196"/>
          </a:xfrm>
        </p:spPr>
        <p:txBody>
          <a:bodyPr anchor="ctr"/>
          <a:lstStyle>
            <a:lvl1pPr>
              <a:defRPr sz="1800" b="1" cap="all" baseline="0"/>
            </a:lvl1pPr>
          </a:lstStyle>
          <a:p>
            <a:r>
              <a:rPr lang="de-DE" dirty="0"/>
              <a:t>Agenda</a:t>
            </a:r>
            <a:endParaRPr lang="en-US" dirty="0"/>
          </a:p>
        </p:txBody>
      </p:sp>
      <p:sp>
        <p:nvSpPr>
          <p:cNvPr id="3" name="Datumsplatzhalter 2"/>
          <p:cNvSpPr>
            <a:spLocks noGrp="1"/>
          </p:cNvSpPr>
          <p:nvPr>
            <p:ph type="dt" sz="half" idx="30"/>
          </p:nvPr>
        </p:nvSpPr>
        <p:spPr>
          <a:xfrm>
            <a:off x="7985795" y="4836160"/>
            <a:ext cx="540059" cy="136050"/>
          </a:xfrm>
          <a:prstGeom prst="rect">
            <a:avLst/>
          </a:prstGeom>
        </p:spPr>
        <p:txBody>
          <a:bodyPr/>
          <a:lstStyle>
            <a:lvl1pPr>
              <a:defRPr>
                <a:solidFill>
                  <a:schemeClr val="bg1"/>
                </a:solidFill>
              </a:defRPr>
            </a:lvl1pPr>
          </a:lstStyle>
          <a:p>
            <a:endParaRPr lang="de-DE" dirty="0"/>
          </a:p>
        </p:txBody>
      </p:sp>
      <p:sp>
        <p:nvSpPr>
          <p:cNvPr id="4" name="Fußzeilenplatzhalter 3"/>
          <p:cNvSpPr>
            <a:spLocks noGrp="1"/>
          </p:cNvSpPr>
          <p:nvPr>
            <p:ph type="ftr" sz="quarter" idx="31"/>
          </p:nvPr>
        </p:nvSpPr>
        <p:spPr>
          <a:xfrm>
            <a:off x="5788992" y="4836160"/>
            <a:ext cx="2196803" cy="136050"/>
          </a:xfrm>
          <a:prstGeom prst="rect">
            <a:avLst/>
          </a:prstGeom>
        </p:spPr>
        <p:txBody>
          <a:bodyPr/>
          <a:lstStyle>
            <a:lvl1pPr>
              <a:defRPr>
                <a:solidFill>
                  <a:schemeClr val="bg1"/>
                </a:solidFill>
              </a:defRPr>
            </a:lvl1pPr>
          </a:lstStyle>
          <a:p>
            <a:endParaRPr lang="de-DE" dirty="0"/>
          </a:p>
        </p:txBody>
      </p:sp>
      <p:sp>
        <p:nvSpPr>
          <p:cNvPr id="5" name="Foliennummernplatzhalter 4"/>
          <p:cNvSpPr>
            <a:spLocks noGrp="1"/>
          </p:cNvSpPr>
          <p:nvPr>
            <p:ph type="sldNum" sz="quarter" idx="32"/>
          </p:nvPr>
        </p:nvSpPr>
        <p:spPr>
          <a:xfrm>
            <a:off x="8532440" y="4836160"/>
            <a:ext cx="611561" cy="136050"/>
          </a:xfrm>
          <a:prstGeom prst="rect">
            <a:avLst/>
          </a:prstGeom>
        </p:spPr>
        <p:txBody>
          <a:bodyPr/>
          <a:lstStyle>
            <a:lvl1pPr>
              <a:defRPr>
                <a:solidFill>
                  <a:schemeClr val="bg1"/>
                </a:solidFill>
              </a:defRPr>
            </a:lvl1pPr>
          </a:lstStyle>
          <a:p>
            <a:r>
              <a:rPr lang="de-DE"/>
              <a:t> </a:t>
            </a:r>
            <a:r>
              <a:rPr lang="de-DE">
                <a:sym typeface="Wingdings"/>
              </a:rPr>
              <a:t>  </a:t>
            </a:r>
            <a:fld id="{443B15C8-972D-49F6-9B7C-5A2154A8C95F}" type="slidenum">
              <a:rPr lang="de-DE" smtClean="0"/>
              <a:pPr/>
              <a:t>‹Nr.›</a:t>
            </a:fld>
            <a:endParaRPr lang="de-DE" dirty="0"/>
          </a:p>
        </p:txBody>
      </p:sp>
    </p:spTree>
    <p:extLst>
      <p:ext uri="{BB962C8B-B14F-4D97-AF65-F5344CB8AC3E}">
        <p14:creationId xmlns:p14="http://schemas.microsoft.com/office/powerpoint/2010/main" val="255423279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bwMode="gray">
          <a:xfrm>
            <a:off x="395289" y="1131889"/>
            <a:ext cx="8353424" cy="3456085"/>
          </a:xfrm>
        </p:spPr>
        <p:txBody>
          <a:bodyPr/>
          <a:lstStyle>
            <a:lvl1pPr>
              <a:defRPr/>
            </a:lvl1pPr>
            <a:lvl9pPr>
              <a:defRPr>
                <a:solidFill>
                  <a:schemeClr val="tx2"/>
                </a:solidFill>
              </a:defRPr>
            </a:lvl9pPr>
          </a:lstStyle>
          <a:p>
            <a:pPr lvl="0"/>
            <a:r>
              <a:rPr lang="de-DE" noProof="0" dirty="0"/>
              <a:t>Schreibe hier deinen Text.</a:t>
            </a:r>
          </a:p>
        </p:txBody>
      </p:sp>
      <p:sp>
        <p:nvSpPr>
          <p:cNvPr id="12" name="Text Placeholder 4"/>
          <p:cNvSpPr>
            <a:spLocks noGrp="1"/>
          </p:cNvSpPr>
          <p:nvPr>
            <p:ph type="body" sz="quarter" idx="20" hasCustomPrompt="1"/>
          </p:nvPr>
        </p:nvSpPr>
        <p:spPr bwMode="gray">
          <a:xfrm>
            <a:off x="395287" y="267494"/>
            <a:ext cx="8350079" cy="180181"/>
          </a:xfrm>
        </p:spPr>
        <p:txBody>
          <a:bodyPr wrap="none" bIns="18000" anchor="b"/>
          <a:lstStyle>
            <a:lvl1pPr marL="0" indent="0">
              <a:lnSpc>
                <a:spcPct val="100000"/>
              </a:lnSpc>
              <a:spcBef>
                <a:spcPts val="0"/>
              </a:spcBef>
              <a:spcAft>
                <a:spcPts val="0"/>
              </a:spcAft>
              <a:buFont typeface="Arial" panose="020B0604020202020204" pitchFamily="34" charset="0"/>
              <a:buNone/>
              <a:defRPr sz="1000" b="0" cap="all" baseline="0">
                <a:solidFill>
                  <a:schemeClr val="accent4"/>
                </a:solidFill>
              </a:defRPr>
            </a:lvl1pPr>
            <a:lvl2pPr marL="0" indent="0">
              <a:lnSpc>
                <a:spcPct val="100000"/>
              </a:lnSpc>
              <a:spcBef>
                <a:spcPts val="0"/>
              </a:spcBef>
              <a:spcAft>
                <a:spcPts val="0"/>
              </a:spcAft>
              <a:buNone/>
              <a:defRPr sz="1000" b="1" cap="all">
                <a:solidFill>
                  <a:schemeClr val="accent4"/>
                </a:solidFill>
              </a:defRPr>
            </a:lvl2pPr>
            <a:lvl3pPr marL="0" indent="0">
              <a:lnSpc>
                <a:spcPct val="100000"/>
              </a:lnSpc>
              <a:spcBef>
                <a:spcPts val="0"/>
              </a:spcBef>
              <a:spcAft>
                <a:spcPts val="0"/>
              </a:spcAft>
              <a:buNone/>
              <a:defRPr sz="1000" b="1" cap="all">
                <a:solidFill>
                  <a:schemeClr val="accent4"/>
                </a:solidFill>
              </a:defRPr>
            </a:lvl3pPr>
            <a:lvl4pPr marL="0" indent="0">
              <a:lnSpc>
                <a:spcPct val="100000"/>
              </a:lnSpc>
              <a:spcBef>
                <a:spcPts val="0"/>
              </a:spcBef>
              <a:spcAft>
                <a:spcPts val="0"/>
              </a:spcAft>
              <a:buFont typeface="Arial" panose="020B0604020202020204" pitchFamily="34" charset="0"/>
              <a:buNone/>
              <a:defRPr sz="1000" b="1" cap="all">
                <a:solidFill>
                  <a:schemeClr val="accent4"/>
                </a:solidFill>
              </a:defRPr>
            </a:lvl4pPr>
            <a:lvl5pPr marL="0" indent="0">
              <a:lnSpc>
                <a:spcPct val="100000"/>
              </a:lnSpc>
              <a:spcBef>
                <a:spcPts val="0"/>
              </a:spcBef>
              <a:spcAft>
                <a:spcPts val="0"/>
              </a:spcAft>
              <a:buFont typeface="Arial" panose="020B0604020202020204" pitchFamily="34" charset="0"/>
              <a:buNone/>
              <a:defRPr sz="1000" b="1" cap="all">
                <a:solidFill>
                  <a:schemeClr val="accent4"/>
                </a:solidFill>
              </a:defRPr>
            </a:lvl5pPr>
            <a:lvl6pPr marL="0" indent="0">
              <a:lnSpc>
                <a:spcPct val="100000"/>
              </a:lnSpc>
              <a:spcBef>
                <a:spcPts val="0"/>
              </a:spcBef>
              <a:spcAft>
                <a:spcPts val="0"/>
              </a:spcAft>
              <a:buFont typeface="Arial" panose="020B0604020202020204" pitchFamily="34" charset="0"/>
              <a:buNone/>
              <a:defRPr sz="1000" b="1" cap="all">
                <a:solidFill>
                  <a:schemeClr val="accent4"/>
                </a:solidFill>
              </a:defRPr>
            </a:lvl6pPr>
            <a:lvl7pPr marL="0" indent="0">
              <a:lnSpc>
                <a:spcPct val="100000"/>
              </a:lnSpc>
              <a:spcBef>
                <a:spcPts val="0"/>
              </a:spcBef>
              <a:spcAft>
                <a:spcPts val="0"/>
              </a:spcAft>
              <a:buFont typeface="Arial" panose="020B0604020202020204" pitchFamily="34" charset="0"/>
              <a:buNone/>
              <a:defRPr sz="1000" b="1" cap="all">
                <a:solidFill>
                  <a:schemeClr val="accent4"/>
                </a:solidFill>
              </a:defRPr>
            </a:lvl7pPr>
            <a:lvl8pPr marL="0" indent="0">
              <a:lnSpc>
                <a:spcPct val="100000"/>
              </a:lnSpc>
              <a:spcBef>
                <a:spcPts val="0"/>
              </a:spcBef>
              <a:spcAft>
                <a:spcPts val="0"/>
              </a:spcAft>
              <a:buFont typeface="Arial" panose="020B0604020202020204" pitchFamily="34" charset="0"/>
              <a:buNone/>
              <a:defRPr sz="1000" b="1" cap="all">
                <a:solidFill>
                  <a:schemeClr val="accent4"/>
                </a:solidFill>
              </a:defRPr>
            </a:lvl8pPr>
            <a:lvl9pPr marL="0" indent="0">
              <a:lnSpc>
                <a:spcPct val="100000"/>
              </a:lnSpc>
              <a:spcBef>
                <a:spcPts val="0"/>
              </a:spcBef>
              <a:spcAft>
                <a:spcPts val="0"/>
              </a:spcAft>
              <a:buFont typeface="Arial" panose="020B0604020202020204" pitchFamily="34" charset="0"/>
              <a:buNone/>
              <a:defRPr sz="1000" b="1" cap="all">
                <a:solidFill>
                  <a:schemeClr val="accent4"/>
                </a:solidFill>
              </a:defRPr>
            </a:lvl9pPr>
          </a:lstStyle>
          <a:p>
            <a:pPr lvl="0"/>
            <a:r>
              <a:rPr lang="de-DE" noProof="0" dirty="0"/>
              <a:t>Kapitelüberschrift (OPTIONAL)</a:t>
            </a:r>
          </a:p>
        </p:txBody>
      </p:sp>
      <p:sp>
        <p:nvSpPr>
          <p:cNvPr id="3" name="Titel 2"/>
          <p:cNvSpPr>
            <a:spLocks noGrp="1"/>
          </p:cNvSpPr>
          <p:nvPr>
            <p:ph type="title"/>
          </p:nvPr>
        </p:nvSpPr>
        <p:spPr/>
        <p:txBody>
          <a:bodyPr/>
          <a:lstStyle/>
          <a:p>
            <a:r>
              <a:rPr lang="de-DE"/>
              <a:t>Titelmasterformat durch Klicken bearbeiten</a:t>
            </a:r>
            <a:endParaRPr lang="en-US" dirty="0"/>
          </a:p>
        </p:txBody>
      </p:sp>
      <p:sp>
        <p:nvSpPr>
          <p:cNvPr id="9"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1" name="Datumsplatzhalter 10"/>
          <p:cNvSpPr>
            <a:spLocks noGrp="1"/>
          </p:cNvSpPr>
          <p:nvPr>
            <p:ph type="dt" sz="half" idx="29"/>
          </p:nvPr>
        </p:nvSpPr>
        <p:spPr/>
        <p:txBody>
          <a:bodyPr/>
          <a:lstStyle/>
          <a:p>
            <a:endParaRPr lang="cs-CZ" dirty="0"/>
          </a:p>
        </p:txBody>
      </p:sp>
      <p:sp>
        <p:nvSpPr>
          <p:cNvPr id="13" name="Fußzeilenplatzhalter 12"/>
          <p:cNvSpPr>
            <a:spLocks noGrp="1"/>
          </p:cNvSpPr>
          <p:nvPr>
            <p:ph type="ftr" sz="quarter" idx="30"/>
          </p:nvPr>
        </p:nvSpPr>
        <p:spPr/>
        <p:txBody>
          <a:bodyPr/>
          <a:lstStyle/>
          <a:p>
            <a:endParaRPr lang="cs-CZ" noProof="0" dirty="0"/>
          </a:p>
        </p:txBody>
      </p:sp>
      <p:sp>
        <p:nvSpPr>
          <p:cNvPr id="14" name="Foliennummernplatzhalter 13"/>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3664375199"/>
      </p:ext>
    </p:extLst>
  </p:cSld>
  <p:clrMapOvr>
    <a:masterClrMapping/>
  </p:clrMapOvr>
  <p:transition>
    <p:fade/>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2 x tex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bwMode="gray">
          <a:xfrm>
            <a:off x="395288" y="1131889"/>
            <a:ext cx="4104712" cy="3456085"/>
          </a:xfrm>
        </p:spPr>
        <p:txBody>
          <a:bodyPr/>
          <a:lstStyle/>
          <a:p>
            <a:pPr lvl="0"/>
            <a:r>
              <a:rPr lang="de-DE" noProof="0" dirty="0"/>
              <a:t>Schreibe hier deinen Text.</a:t>
            </a:r>
          </a:p>
        </p:txBody>
      </p:sp>
      <p:sp>
        <p:nvSpPr>
          <p:cNvPr id="7" name="Text Placeholder 7"/>
          <p:cNvSpPr>
            <a:spLocks noGrp="1"/>
          </p:cNvSpPr>
          <p:nvPr>
            <p:ph type="body" sz="quarter" idx="17" hasCustomPrompt="1"/>
          </p:nvPr>
        </p:nvSpPr>
        <p:spPr bwMode="gray">
          <a:xfrm>
            <a:off x="4644000" y="1131889"/>
            <a:ext cx="4104712" cy="3456085"/>
          </a:xfrm>
        </p:spPr>
        <p:txBody>
          <a:bodyPr lIns="0"/>
          <a:lstStyle/>
          <a:p>
            <a:pPr lvl="0"/>
            <a:r>
              <a:rPr lang="de-DE" noProof="0" dirty="0"/>
              <a:t>Schreibe hier deinen Text.</a:t>
            </a:r>
          </a:p>
        </p:txBody>
      </p:sp>
      <p:sp>
        <p:nvSpPr>
          <p:cNvPr id="3" name="Titel 2"/>
          <p:cNvSpPr>
            <a:spLocks noGrp="1"/>
          </p:cNvSpPr>
          <p:nvPr>
            <p:ph type="title"/>
          </p:nvPr>
        </p:nvSpPr>
        <p:spPr/>
        <p:txBody>
          <a:bodyPr/>
          <a:lstStyle/>
          <a:p>
            <a:r>
              <a:rPr lang="de-DE"/>
              <a:t>Titelmasterformat durch Klicken bearbeiten</a:t>
            </a:r>
            <a:endParaRPr lang="en-US" dirty="0"/>
          </a:p>
        </p:txBody>
      </p:sp>
      <p:sp>
        <p:nvSpPr>
          <p:cNvPr id="10"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3"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2" name="Datumsplatzhalter 11"/>
          <p:cNvSpPr>
            <a:spLocks noGrp="1"/>
          </p:cNvSpPr>
          <p:nvPr>
            <p:ph type="dt" sz="half" idx="29"/>
          </p:nvPr>
        </p:nvSpPr>
        <p:spPr/>
        <p:txBody>
          <a:bodyPr/>
          <a:lstStyle/>
          <a:p>
            <a:endParaRPr lang="cs-CZ" dirty="0"/>
          </a:p>
        </p:txBody>
      </p:sp>
      <p:sp>
        <p:nvSpPr>
          <p:cNvPr id="14" name="Fußzeilenplatzhalter 13"/>
          <p:cNvSpPr>
            <a:spLocks noGrp="1"/>
          </p:cNvSpPr>
          <p:nvPr>
            <p:ph type="ftr" sz="quarter" idx="30"/>
          </p:nvPr>
        </p:nvSpPr>
        <p:spPr/>
        <p:txBody>
          <a:bodyPr/>
          <a:lstStyle/>
          <a:p>
            <a:endParaRPr lang="cs-CZ" noProof="0" dirty="0"/>
          </a:p>
        </p:txBody>
      </p:sp>
      <p:sp>
        <p:nvSpPr>
          <p:cNvPr id="15" name="Foliennummernplatzhalter 14"/>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124054774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 x tex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bwMode="gray">
          <a:xfrm>
            <a:off x="395288" y="1131889"/>
            <a:ext cx="1980355" cy="3456085"/>
          </a:xfrm>
        </p:spPr>
        <p:txBody>
          <a:bodyPr/>
          <a:lstStyle/>
          <a:p>
            <a:pPr lvl="0"/>
            <a:r>
              <a:rPr lang="de-DE" noProof="0" dirty="0"/>
              <a:t>Schreibe hier deinen Text.</a:t>
            </a:r>
          </a:p>
        </p:txBody>
      </p:sp>
      <p:sp>
        <p:nvSpPr>
          <p:cNvPr id="7" name="Text Placeholder 7"/>
          <p:cNvSpPr>
            <a:spLocks noGrp="1"/>
          </p:cNvSpPr>
          <p:nvPr>
            <p:ph type="body" sz="quarter" idx="17" hasCustomPrompt="1"/>
          </p:nvPr>
        </p:nvSpPr>
        <p:spPr bwMode="gray">
          <a:xfrm>
            <a:off x="2519644" y="1131889"/>
            <a:ext cx="1979860" cy="3456085"/>
          </a:xfrm>
        </p:spPr>
        <p:txBody>
          <a:bodyPr/>
          <a:lstStyle/>
          <a:p>
            <a:pPr lvl="0"/>
            <a:r>
              <a:rPr lang="de-DE" noProof="0" dirty="0"/>
              <a:t>Schreibe hier deinen Text.</a:t>
            </a:r>
          </a:p>
        </p:txBody>
      </p:sp>
      <p:sp>
        <p:nvSpPr>
          <p:cNvPr id="12" name="Text Placeholder 7"/>
          <p:cNvSpPr>
            <a:spLocks noGrp="1"/>
          </p:cNvSpPr>
          <p:nvPr>
            <p:ph type="body" sz="quarter" idx="21" hasCustomPrompt="1"/>
          </p:nvPr>
        </p:nvSpPr>
        <p:spPr bwMode="gray">
          <a:xfrm>
            <a:off x="4644496" y="1131889"/>
            <a:ext cx="1979860" cy="3456085"/>
          </a:xfrm>
        </p:spPr>
        <p:txBody>
          <a:bodyPr/>
          <a:lstStyle/>
          <a:p>
            <a:pPr lvl="0"/>
            <a:r>
              <a:rPr lang="de-DE" noProof="0" dirty="0"/>
              <a:t>Schreibe hier deinen Text.</a:t>
            </a:r>
          </a:p>
        </p:txBody>
      </p:sp>
      <p:sp>
        <p:nvSpPr>
          <p:cNvPr id="13" name="Text Placeholder 7"/>
          <p:cNvSpPr>
            <a:spLocks noGrp="1"/>
          </p:cNvSpPr>
          <p:nvPr>
            <p:ph type="body" sz="quarter" idx="22" hasCustomPrompt="1"/>
          </p:nvPr>
        </p:nvSpPr>
        <p:spPr bwMode="gray">
          <a:xfrm>
            <a:off x="6768355" y="1131889"/>
            <a:ext cx="1977011" cy="3456085"/>
          </a:xfrm>
        </p:spPr>
        <p:txBody>
          <a:bodyPr/>
          <a:lstStyle/>
          <a:p>
            <a:pPr lvl="0"/>
            <a:r>
              <a:rPr lang="de-DE" noProof="0" dirty="0"/>
              <a:t>Schreibe hier deinen Text.</a:t>
            </a:r>
          </a:p>
        </p:txBody>
      </p:sp>
      <p:sp>
        <p:nvSpPr>
          <p:cNvPr id="4" name="Titel 3"/>
          <p:cNvSpPr>
            <a:spLocks noGrp="1"/>
          </p:cNvSpPr>
          <p:nvPr>
            <p:ph type="title"/>
          </p:nvPr>
        </p:nvSpPr>
        <p:spPr/>
        <p:txBody>
          <a:bodyPr/>
          <a:lstStyle/>
          <a:p>
            <a:r>
              <a:rPr lang="de-DE"/>
              <a:t>Titelmasterformat durch Klicken bearbeiten</a:t>
            </a:r>
            <a:endParaRPr lang="en-US"/>
          </a:p>
        </p:txBody>
      </p:sp>
      <p:sp>
        <p:nvSpPr>
          <p:cNvPr id="18"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5"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1" name="Datumsplatzhalter 10"/>
          <p:cNvSpPr>
            <a:spLocks noGrp="1"/>
          </p:cNvSpPr>
          <p:nvPr>
            <p:ph type="dt" sz="half" idx="29"/>
          </p:nvPr>
        </p:nvSpPr>
        <p:spPr/>
        <p:txBody>
          <a:bodyPr/>
          <a:lstStyle/>
          <a:p>
            <a:endParaRPr lang="cs-CZ" dirty="0"/>
          </a:p>
        </p:txBody>
      </p:sp>
      <p:sp>
        <p:nvSpPr>
          <p:cNvPr id="14" name="Fußzeilenplatzhalter 13"/>
          <p:cNvSpPr>
            <a:spLocks noGrp="1"/>
          </p:cNvSpPr>
          <p:nvPr>
            <p:ph type="ftr" sz="quarter" idx="30"/>
          </p:nvPr>
        </p:nvSpPr>
        <p:spPr/>
        <p:txBody>
          <a:bodyPr/>
          <a:lstStyle/>
          <a:p>
            <a:endParaRPr lang="cs-CZ" noProof="0" dirty="0"/>
          </a:p>
        </p:txBody>
      </p:sp>
      <p:sp>
        <p:nvSpPr>
          <p:cNvPr id="16" name="Foliennummernplatzhalter 15"/>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353897488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ext + image">
    <p:spTree>
      <p:nvGrpSpPr>
        <p:cNvPr id="1" name=""/>
        <p:cNvGrpSpPr/>
        <p:nvPr/>
      </p:nvGrpSpPr>
      <p:grpSpPr>
        <a:xfrm>
          <a:off x="0" y="0"/>
          <a:ext cx="0" cy="0"/>
          <a:chOff x="0" y="0"/>
          <a:chExt cx="0" cy="0"/>
        </a:xfrm>
      </p:grpSpPr>
      <p:sp>
        <p:nvSpPr>
          <p:cNvPr id="7" name="Picture Placeholder 3"/>
          <p:cNvSpPr>
            <a:spLocks noGrp="1"/>
          </p:cNvSpPr>
          <p:nvPr>
            <p:ph type="pic" sz="quarter" idx="18" hasCustomPrompt="1"/>
          </p:nvPr>
        </p:nvSpPr>
        <p:spPr bwMode="gray">
          <a:xfrm>
            <a:off x="395286" y="1131889"/>
            <a:ext cx="5794920" cy="3456085"/>
          </a:xfrm>
          <a:solidFill>
            <a:schemeClr val="accent3"/>
          </a:solidFill>
        </p:spPr>
        <p:txBody>
          <a:bodyPr anchor="ctr"/>
          <a:lstStyle>
            <a:lvl1pPr algn="ctr">
              <a:defRPr>
                <a:solidFill>
                  <a:schemeClr val="tx1"/>
                </a:solidFill>
              </a:defRPr>
            </a:lvl1pPr>
          </a:lstStyle>
          <a:p>
            <a:r>
              <a:rPr lang="de-DE" noProof="0" dirty="0"/>
              <a:t>Klicke auf das Icon, um ein Bild einzufügen</a:t>
            </a:r>
            <a:br>
              <a:rPr lang="de-DE" noProof="0" dirty="0"/>
            </a:br>
            <a:endParaRPr lang="de-DE" noProof="0" dirty="0"/>
          </a:p>
        </p:txBody>
      </p:sp>
      <p:sp>
        <p:nvSpPr>
          <p:cNvPr id="8" name="Text Placeholder 7"/>
          <p:cNvSpPr>
            <a:spLocks noGrp="1"/>
          </p:cNvSpPr>
          <p:nvPr>
            <p:ph type="body" sz="quarter" idx="13" hasCustomPrompt="1"/>
          </p:nvPr>
        </p:nvSpPr>
        <p:spPr bwMode="gray">
          <a:xfrm>
            <a:off x="6334206" y="1131889"/>
            <a:ext cx="2411161" cy="3456085"/>
          </a:xfrm>
        </p:spPr>
        <p:txBody>
          <a:bodyPr lIns="0"/>
          <a:lstStyle/>
          <a:p>
            <a:pPr lvl="0"/>
            <a:r>
              <a:rPr lang="de-DE" noProof="0" dirty="0"/>
              <a:t>Schreibe hier deinen Text.</a:t>
            </a:r>
          </a:p>
        </p:txBody>
      </p:sp>
      <p:sp>
        <p:nvSpPr>
          <p:cNvPr id="3" name="Titel 2"/>
          <p:cNvSpPr>
            <a:spLocks noGrp="1"/>
          </p:cNvSpPr>
          <p:nvPr>
            <p:ph type="title"/>
          </p:nvPr>
        </p:nvSpPr>
        <p:spPr/>
        <p:txBody>
          <a:bodyPr/>
          <a:lstStyle/>
          <a:p>
            <a:r>
              <a:rPr lang="de-DE"/>
              <a:t>Titelmasterformat durch Klicken bearbeiten</a:t>
            </a:r>
            <a:endParaRPr lang="en-US"/>
          </a:p>
        </p:txBody>
      </p:sp>
      <p:sp>
        <p:nvSpPr>
          <p:cNvPr id="10"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2"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3" name="Datumsplatzhalter 12"/>
          <p:cNvSpPr>
            <a:spLocks noGrp="1"/>
          </p:cNvSpPr>
          <p:nvPr>
            <p:ph type="dt" sz="half" idx="29"/>
          </p:nvPr>
        </p:nvSpPr>
        <p:spPr/>
        <p:txBody>
          <a:bodyPr/>
          <a:lstStyle/>
          <a:p>
            <a:endParaRPr lang="cs-CZ" dirty="0"/>
          </a:p>
        </p:txBody>
      </p:sp>
      <p:sp>
        <p:nvSpPr>
          <p:cNvPr id="14" name="Fußzeilenplatzhalter 13"/>
          <p:cNvSpPr>
            <a:spLocks noGrp="1"/>
          </p:cNvSpPr>
          <p:nvPr>
            <p:ph type="ftr" sz="quarter" idx="30"/>
          </p:nvPr>
        </p:nvSpPr>
        <p:spPr/>
        <p:txBody>
          <a:bodyPr/>
          <a:lstStyle/>
          <a:p>
            <a:endParaRPr lang="cs-CZ" noProof="0" dirty="0"/>
          </a:p>
        </p:txBody>
      </p:sp>
      <p:sp>
        <p:nvSpPr>
          <p:cNvPr id="15" name="Foliennummernplatzhalter 14"/>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363149953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 x images">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bwMode="gray">
          <a:xfrm>
            <a:off x="395288" y="1131889"/>
            <a:ext cx="4104712" cy="2323603"/>
          </a:xfrm>
          <a:solidFill>
            <a:schemeClr val="accent3"/>
          </a:solidFill>
        </p:spPr>
        <p:txBody>
          <a:bodyPr anchor="ctr"/>
          <a:lstStyle>
            <a:lvl1pPr algn="ctr">
              <a:defRPr>
                <a:solidFill>
                  <a:schemeClr val="tx1"/>
                </a:solidFill>
              </a:defRPr>
            </a:lvl1pPr>
          </a:lstStyle>
          <a:p>
            <a:r>
              <a:rPr lang="de-DE" noProof="0" dirty="0"/>
              <a:t>Klicke auf das Icon, um ein Bild einzufügen</a:t>
            </a:r>
            <a:br>
              <a:rPr lang="de-DE" noProof="0" dirty="0"/>
            </a:br>
            <a:endParaRPr lang="de-DE" noProof="0" dirty="0"/>
          </a:p>
        </p:txBody>
      </p:sp>
      <p:sp>
        <p:nvSpPr>
          <p:cNvPr id="7" name="Picture Placeholder 3"/>
          <p:cNvSpPr>
            <a:spLocks noGrp="1"/>
          </p:cNvSpPr>
          <p:nvPr>
            <p:ph type="pic" sz="quarter" idx="18" hasCustomPrompt="1"/>
          </p:nvPr>
        </p:nvSpPr>
        <p:spPr bwMode="gray">
          <a:xfrm>
            <a:off x="4644000" y="1131889"/>
            <a:ext cx="4104712" cy="2323603"/>
          </a:xfrm>
          <a:solidFill>
            <a:schemeClr val="accent3"/>
          </a:solidFill>
        </p:spPr>
        <p:txBody>
          <a:bodyPr anchor="ctr"/>
          <a:lstStyle>
            <a:lvl1pPr algn="ctr">
              <a:defRPr>
                <a:solidFill>
                  <a:schemeClr val="tx1"/>
                </a:solidFill>
              </a:defRPr>
            </a:lvl1pPr>
          </a:lstStyle>
          <a:p>
            <a:r>
              <a:rPr lang="de-DE" noProof="0" dirty="0"/>
              <a:t>Klicke auf das Icon, um ein Bild einzufügen</a:t>
            </a:r>
            <a:br>
              <a:rPr lang="de-DE" noProof="0" dirty="0"/>
            </a:br>
            <a:endParaRPr lang="de-DE" noProof="0" dirty="0"/>
          </a:p>
        </p:txBody>
      </p:sp>
      <p:sp>
        <p:nvSpPr>
          <p:cNvPr id="3" name="Titel 2"/>
          <p:cNvSpPr>
            <a:spLocks noGrp="1"/>
          </p:cNvSpPr>
          <p:nvPr>
            <p:ph type="title"/>
          </p:nvPr>
        </p:nvSpPr>
        <p:spPr/>
        <p:txBody>
          <a:bodyPr/>
          <a:lstStyle/>
          <a:p>
            <a:r>
              <a:rPr lang="de-DE"/>
              <a:t>Titelmasterformat durch Klicken bearbeiten</a:t>
            </a:r>
            <a:endParaRPr lang="en-US"/>
          </a:p>
        </p:txBody>
      </p:sp>
      <p:sp>
        <p:nvSpPr>
          <p:cNvPr id="13"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4" name="Text Placeholder 7"/>
          <p:cNvSpPr>
            <a:spLocks noGrp="1"/>
          </p:cNvSpPr>
          <p:nvPr>
            <p:ph type="body" sz="quarter" idx="13" hasCustomPrompt="1"/>
          </p:nvPr>
        </p:nvSpPr>
        <p:spPr bwMode="gray">
          <a:xfrm>
            <a:off x="395287" y="3455492"/>
            <a:ext cx="4104713" cy="1132482"/>
          </a:xfrm>
        </p:spPr>
        <p:txBody>
          <a:bodyPr lIns="0" tIns="144000"/>
          <a:lstStyle/>
          <a:p>
            <a:pPr lvl="0"/>
            <a:r>
              <a:rPr lang="de-DE" noProof="0" dirty="0"/>
              <a:t>Schreibe hier deinen Text.</a:t>
            </a:r>
          </a:p>
        </p:txBody>
      </p:sp>
      <p:sp>
        <p:nvSpPr>
          <p:cNvPr id="15" name="Text Placeholder 7"/>
          <p:cNvSpPr>
            <a:spLocks noGrp="1"/>
          </p:cNvSpPr>
          <p:nvPr>
            <p:ph type="body" sz="quarter" idx="28" hasCustomPrompt="1"/>
          </p:nvPr>
        </p:nvSpPr>
        <p:spPr bwMode="gray">
          <a:xfrm>
            <a:off x="4643999" y="3455492"/>
            <a:ext cx="4104713" cy="1132482"/>
          </a:xfrm>
        </p:spPr>
        <p:txBody>
          <a:bodyPr lIns="0" tIns="144000"/>
          <a:lstStyle/>
          <a:p>
            <a:pPr lvl="0"/>
            <a:r>
              <a:rPr lang="de-DE" noProof="0" dirty="0"/>
              <a:t>Schreibe hier deinen Text.</a:t>
            </a:r>
          </a:p>
        </p:txBody>
      </p:sp>
      <p:sp>
        <p:nvSpPr>
          <p:cNvPr id="16" name="Textplatzhalter 4"/>
          <p:cNvSpPr>
            <a:spLocks noGrp="1"/>
          </p:cNvSpPr>
          <p:nvPr>
            <p:ph type="body" sz="quarter" idx="33"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2" name="Datumsplatzhalter 11"/>
          <p:cNvSpPr>
            <a:spLocks noGrp="1"/>
          </p:cNvSpPr>
          <p:nvPr>
            <p:ph type="dt" sz="half" idx="34"/>
          </p:nvPr>
        </p:nvSpPr>
        <p:spPr/>
        <p:txBody>
          <a:bodyPr/>
          <a:lstStyle/>
          <a:p>
            <a:endParaRPr lang="cs-CZ" dirty="0"/>
          </a:p>
        </p:txBody>
      </p:sp>
      <p:sp>
        <p:nvSpPr>
          <p:cNvPr id="17" name="Fußzeilenplatzhalter 16"/>
          <p:cNvSpPr>
            <a:spLocks noGrp="1"/>
          </p:cNvSpPr>
          <p:nvPr>
            <p:ph type="ftr" sz="quarter" idx="35"/>
          </p:nvPr>
        </p:nvSpPr>
        <p:spPr/>
        <p:txBody>
          <a:bodyPr/>
          <a:lstStyle/>
          <a:p>
            <a:endParaRPr lang="cs-CZ" noProof="0" dirty="0"/>
          </a:p>
        </p:txBody>
      </p:sp>
      <p:sp>
        <p:nvSpPr>
          <p:cNvPr id="18" name="Foliennummernplatzhalter 17"/>
          <p:cNvSpPr>
            <a:spLocks noGrp="1"/>
          </p:cNvSpPr>
          <p:nvPr>
            <p:ph type="sldNum" sz="quarter" idx="36"/>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116306842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xt + image">
    <p:spTree>
      <p:nvGrpSpPr>
        <p:cNvPr id="1" name=""/>
        <p:cNvGrpSpPr/>
        <p:nvPr/>
      </p:nvGrpSpPr>
      <p:grpSpPr>
        <a:xfrm>
          <a:off x="0" y="0"/>
          <a:ext cx="0" cy="0"/>
          <a:chOff x="0" y="0"/>
          <a:chExt cx="0" cy="0"/>
        </a:xfrm>
      </p:grpSpPr>
      <p:sp>
        <p:nvSpPr>
          <p:cNvPr id="7" name="Picture Placeholder 3"/>
          <p:cNvSpPr>
            <a:spLocks noGrp="1"/>
          </p:cNvSpPr>
          <p:nvPr>
            <p:ph type="pic" sz="quarter" idx="18" hasCustomPrompt="1"/>
          </p:nvPr>
        </p:nvSpPr>
        <p:spPr bwMode="gray">
          <a:xfrm>
            <a:off x="395286" y="1131889"/>
            <a:ext cx="5794920" cy="3456085"/>
          </a:xfrm>
          <a:solidFill>
            <a:schemeClr val="accent3"/>
          </a:solidFill>
        </p:spPr>
        <p:txBody>
          <a:bodyPr anchor="ctr"/>
          <a:lstStyle>
            <a:lvl1pPr algn="ctr">
              <a:defRPr>
                <a:solidFill>
                  <a:schemeClr val="tx1"/>
                </a:solidFill>
              </a:defRPr>
            </a:lvl1pPr>
          </a:lstStyle>
          <a:p>
            <a:r>
              <a:rPr lang="de-DE" noProof="0" dirty="0"/>
              <a:t>Klicke auf das Icon, um ein Bild einzufügen</a:t>
            </a:r>
            <a:br>
              <a:rPr lang="de-DE" noProof="0" dirty="0"/>
            </a:br>
            <a:endParaRPr lang="de-DE" noProof="0" dirty="0"/>
          </a:p>
        </p:txBody>
      </p:sp>
      <p:sp>
        <p:nvSpPr>
          <p:cNvPr id="8" name="Text Placeholder 7"/>
          <p:cNvSpPr>
            <a:spLocks noGrp="1"/>
          </p:cNvSpPr>
          <p:nvPr>
            <p:ph type="body" sz="quarter" idx="13" hasCustomPrompt="1"/>
          </p:nvPr>
        </p:nvSpPr>
        <p:spPr bwMode="gray">
          <a:xfrm>
            <a:off x="6334206" y="1131889"/>
            <a:ext cx="2411161" cy="3456085"/>
          </a:xfrm>
        </p:spPr>
        <p:txBody>
          <a:bodyPr lIns="0"/>
          <a:lstStyle/>
          <a:p>
            <a:pPr lvl="0"/>
            <a:r>
              <a:rPr lang="de-DE" noProof="0" dirty="0"/>
              <a:t>Schreibe hier deinen Text.</a:t>
            </a:r>
          </a:p>
        </p:txBody>
      </p:sp>
      <p:sp>
        <p:nvSpPr>
          <p:cNvPr id="3" name="Titel 2"/>
          <p:cNvSpPr>
            <a:spLocks noGrp="1"/>
          </p:cNvSpPr>
          <p:nvPr>
            <p:ph type="title"/>
          </p:nvPr>
        </p:nvSpPr>
        <p:spPr/>
        <p:txBody>
          <a:bodyPr/>
          <a:lstStyle/>
          <a:p>
            <a:r>
              <a:rPr lang="de-DE"/>
              <a:t>Titelmasterformat durch Klicken bearbeiten</a:t>
            </a:r>
            <a:endParaRPr lang="en-US"/>
          </a:p>
        </p:txBody>
      </p:sp>
      <p:sp>
        <p:nvSpPr>
          <p:cNvPr id="10"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2"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3" name="Datumsplatzhalter 12"/>
          <p:cNvSpPr>
            <a:spLocks noGrp="1"/>
          </p:cNvSpPr>
          <p:nvPr>
            <p:ph type="dt" sz="half" idx="29"/>
          </p:nvPr>
        </p:nvSpPr>
        <p:spPr/>
        <p:txBody>
          <a:bodyPr/>
          <a:lstStyle/>
          <a:p>
            <a:endParaRPr lang="cs-CZ" dirty="0"/>
          </a:p>
        </p:txBody>
      </p:sp>
      <p:sp>
        <p:nvSpPr>
          <p:cNvPr id="14" name="Fußzeilenplatzhalter 13"/>
          <p:cNvSpPr>
            <a:spLocks noGrp="1"/>
          </p:cNvSpPr>
          <p:nvPr>
            <p:ph type="ftr" sz="quarter" idx="30"/>
          </p:nvPr>
        </p:nvSpPr>
        <p:spPr/>
        <p:txBody>
          <a:bodyPr/>
          <a:lstStyle/>
          <a:p>
            <a:endParaRPr lang="cs-CZ" noProof="0" dirty="0"/>
          </a:p>
        </p:txBody>
      </p:sp>
      <p:sp>
        <p:nvSpPr>
          <p:cNvPr id="15" name="Foliennummernplatzhalter 14"/>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222378836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Image fullsiz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97" name="think-cell Folie" r:id="rId4" imgW="245" imgH="245" progId="TCLayout.ActiveDocument.1">
                  <p:embed/>
                </p:oleObj>
              </mc:Choice>
              <mc:Fallback>
                <p:oleObj name="think-cell Folie" r:id="rId4" imgW="245" imgH="245"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3"/>
          <p:cNvSpPr>
            <a:spLocks noGrp="1"/>
          </p:cNvSpPr>
          <p:nvPr>
            <p:ph type="pic" sz="quarter" idx="18" hasCustomPrompt="1"/>
          </p:nvPr>
        </p:nvSpPr>
        <p:spPr bwMode="gray">
          <a:xfrm>
            <a:off x="0" y="0"/>
            <a:ext cx="9144000" cy="4675499"/>
          </a:xfrm>
          <a:prstGeom prst="rect">
            <a:avLst/>
          </a:prstGeom>
          <a:solidFill>
            <a:schemeClr val="accent3"/>
          </a:solidFill>
        </p:spPr>
        <p:txBody>
          <a:bodyPr anchor="ctr"/>
          <a:lstStyle>
            <a:lvl1pPr algn="ctr">
              <a:defRPr>
                <a:solidFill>
                  <a:schemeClr val="tx1"/>
                </a:solidFill>
              </a:defRPr>
            </a:lvl1pPr>
          </a:lstStyle>
          <a:p>
            <a:r>
              <a:rPr lang="de-DE" noProof="0" dirty="0"/>
              <a:t>Klicke auf das Icon, um ein Bild einzufügen</a:t>
            </a:r>
            <a:br>
              <a:rPr lang="de-DE" noProof="0" dirty="0"/>
            </a:br>
            <a:endParaRPr lang="de-DE" noProof="0" dirty="0"/>
          </a:p>
        </p:txBody>
      </p:sp>
      <p:sp>
        <p:nvSpPr>
          <p:cNvPr id="4" name="Titel 3"/>
          <p:cNvSpPr>
            <a:spLocks noGrp="1"/>
          </p:cNvSpPr>
          <p:nvPr>
            <p:ph type="title"/>
          </p:nvPr>
        </p:nvSpPr>
        <p:spPr>
          <a:xfrm>
            <a:off x="-1" y="4675500"/>
            <a:ext cx="9144001" cy="468000"/>
          </a:xfrm>
          <a:solidFill>
            <a:schemeClr val="tx1"/>
          </a:solidFill>
        </p:spPr>
        <p:txBody>
          <a:bodyPr anchor="ctr"/>
          <a:lstStyle>
            <a:lvl1pPr algn="ctr">
              <a:defRPr>
                <a:solidFill>
                  <a:schemeClr val="bg1"/>
                </a:solidFill>
              </a:defRPr>
            </a:lvl1pPr>
          </a:lstStyle>
          <a:p>
            <a:r>
              <a:rPr lang="de-DE"/>
              <a:t>Titelmasterformat durch Klicken bearbeiten</a:t>
            </a:r>
            <a:endParaRPr lang="en-US" dirty="0"/>
          </a:p>
        </p:txBody>
      </p:sp>
      <p:sp>
        <p:nvSpPr>
          <p:cNvPr id="5" name="Datumsplatzhalter 4"/>
          <p:cNvSpPr>
            <a:spLocks noGrp="1"/>
          </p:cNvSpPr>
          <p:nvPr>
            <p:ph type="dt" sz="half" idx="19"/>
          </p:nvPr>
        </p:nvSpPr>
        <p:spPr>
          <a:xfrm>
            <a:off x="7776356" y="5200042"/>
            <a:ext cx="720079" cy="136050"/>
          </a:xfrm>
          <a:prstGeom prst="rect">
            <a:avLst/>
          </a:prstGeom>
        </p:spPr>
        <p:txBody>
          <a:bodyPr/>
          <a:lstStyle/>
          <a:p>
            <a:endParaRPr lang="de-DE" dirty="0"/>
          </a:p>
        </p:txBody>
      </p:sp>
      <p:sp>
        <p:nvSpPr>
          <p:cNvPr id="6" name="Fußzeilenplatzhalter 5"/>
          <p:cNvSpPr>
            <a:spLocks noGrp="1"/>
          </p:cNvSpPr>
          <p:nvPr>
            <p:ph type="ftr" sz="quarter" idx="20"/>
          </p:nvPr>
        </p:nvSpPr>
        <p:spPr>
          <a:xfrm>
            <a:off x="5543550" y="5200042"/>
            <a:ext cx="2232806" cy="136050"/>
          </a:xfrm>
          <a:prstGeom prst="rect">
            <a:avLst/>
          </a:prstGeom>
        </p:spPr>
        <p:txBody>
          <a:bodyPr/>
          <a:lstStyle/>
          <a:p>
            <a:endParaRPr lang="de-DE" dirty="0"/>
          </a:p>
        </p:txBody>
      </p:sp>
      <p:sp>
        <p:nvSpPr>
          <p:cNvPr id="7" name="Foliennummernplatzhalter 6"/>
          <p:cNvSpPr>
            <a:spLocks noGrp="1"/>
          </p:cNvSpPr>
          <p:nvPr>
            <p:ph type="sldNum" sz="quarter" idx="21"/>
          </p:nvPr>
        </p:nvSpPr>
        <p:spPr>
          <a:xfrm>
            <a:off x="8496436" y="5200042"/>
            <a:ext cx="647565" cy="136050"/>
          </a:xfrm>
          <a:prstGeom prst="rect">
            <a:avLst/>
          </a:prstGeom>
        </p:spPr>
        <p:txBody>
          <a:bodyPr/>
          <a:lstStyle/>
          <a:p>
            <a:r>
              <a:rPr lang="de-DE" dirty="0">
                <a:sym typeface="Wingdings"/>
              </a:rPr>
              <a:t>  </a:t>
            </a:r>
            <a:fld id="{443B15C8-972D-49F6-9B7C-5A2154A8C95F}" type="slidenum">
              <a:rPr lang="de-DE" smtClean="0"/>
              <a:pPr/>
              <a:t>‹Nr.›</a:t>
            </a:fld>
            <a:endParaRPr lang="de-DE" dirty="0"/>
          </a:p>
        </p:txBody>
      </p:sp>
    </p:spTree>
    <p:extLst>
      <p:ext uri="{BB962C8B-B14F-4D97-AF65-F5344CB8AC3E}">
        <p14:creationId xmlns:p14="http://schemas.microsoft.com/office/powerpoint/2010/main" val="75615453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a:t>Titelmasterformat durch Klicken bearbeiten</a:t>
            </a:r>
            <a:endParaRPr lang="en-US"/>
          </a:p>
        </p:txBody>
      </p:sp>
      <p:sp>
        <p:nvSpPr>
          <p:cNvPr id="8"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0"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9" name="Datumsplatzhalter 8"/>
          <p:cNvSpPr>
            <a:spLocks noGrp="1"/>
          </p:cNvSpPr>
          <p:nvPr>
            <p:ph type="dt" sz="half" idx="29"/>
          </p:nvPr>
        </p:nvSpPr>
        <p:spPr/>
        <p:txBody>
          <a:bodyPr/>
          <a:lstStyle/>
          <a:p>
            <a:endParaRPr lang="cs-CZ" dirty="0"/>
          </a:p>
        </p:txBody>
      </p:sp>
      <p:sp>
        <p:nvSpPr>
          <p:cNvPr id="11" name="Fußzeilenplatzhalter 10"/>
          <p:cNvSpPr>
            <a:spLocks noGrp="1"/>
          </p:cNvSpPr>
          <p:nvPr>
            <p:ph type="ftr" sz="quarter" idx="30"/>
          </p:nvPr>
        </p:nvSpPr>
        <p:spPr/>
        <p:txBody>
          <a:bodyPr/>
          <a:lstStyle/>
          <a:p>
            <a:endParaRPr lang="cs-CZ" noProof="0" dirty="0"/>
          </a:p>
        </p:txBody>
      </p:sp>
      <p:sp>
        <p:nvSpPr>
          <p:cNvPr id="12" name="Foliennummernplatzhalter 11"/>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187786963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821" name="think-cell Folie" r:id="rId4" imgW="245" imgH="245" progId="TCLayout.ActiveDocument.1">
                  <p:embed/>
                </p:oleObj>
              </mc:Choice>
              <mc:Fallback>
                <p:oleObj name="think-cell Folie" r:id="rId4" imgW="245" imgH="245"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bwMode="gray">
          <a:xfrm>
            <a:off x="0" y="0"/>
            <a:ext cx="9144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2" name="Title 1"/>
          <p:cNvSpPr>
            <a:spLocks noGrp="1"/>
          </p:cNvSpPr>
          <p:nvPr>
            <p:ph type="title" hasCustomPrompt="1"/>
          </p:nvPr>
        </p:nvSpPr>
        <p:spPr bwMode="gray">
          <a:xfrm>
            <a:off x="468312" y="1527176"/>
            <a:ext cx="5075238" cy="3060798"/>
          </a:xfrm>
        </p:spPr>
        <p:txBody>
          <a:bodyPr anchor="b"/>
          <a:lstStyle>
            <a:lvl1pPr>
              <a:defRPr sz="4400" baseline="0">
                <a:solidFill>
                  <a:schemeClr val="bg1"/>
                </a:solidFill>
              </a:defRPr>
            </a:lvl1pPr>
          </a:lstStyle>
          <a:p>
            <a:r>
              <a:rPr lang="de-DE" noProof="0" dirty="0" err="1"/>
              <a:t>Kapiteltrenner</a:t>
            </a:r>
            <a:r>
              <a:rPr lang="de-DE" noProof="0" dirty="0"/>
              <a:t> - </a:t>
            </a:r>
            <a:br>
              <a:rPr lang="de-DE" noProof="0" dirty="0"/>
            </a:br>
            <a:r>
              <a:rPr lang="de-DE" noProof="0" dirty="0"/>
              <a:t>Text eintragen</a:t>
            </a:r>
          </a:p>
        </p:txBody>
      </p:sp>
      <p:sp>
        <p:nvSpPr>
          <p:cNvPr id="13" name="Date Placeholder 4"/>
          <p:cNvSpPr>
            <a:spLocks noGrp="1"/>
          </p:cNvSpPr>
          <p:nvPr>
            <p:ph type="dt" sz="half" idx="10"/>
          </p:nvPr>
        </p:nvSpPr>
        <p:spPr>
          <a:xfrm>
            <a:off x="7956376" y="5236046"/>
            <a:ext cx="657959" cy="136050"/>
          </a:xfrm>
          <a:prstGeom prst="rect">
            <a:avLst/>
          </a:prstGeom>
        </p:spPr>
        <p:txBody>
          <a:bodyPr/>
          <a:lstStyle>
            <a:lvl1pPr>
              <a:defRPr>
                <a:solidFill>
                  <a:schemeClr val="accent1">
                    <a:alpha val="0"/>
                  </a:schemeClr>
                </a:solidFill>
              </a:defRPr>
            </a:lvl1pPr>
          </a:lstStyle>
          <a:p>
            <a:endParaRPr lang="de-DE" noProof="0" dirty="0"/>
          </a:p>
        </p:txBody>
      </p:sp>
      <p:sp>
        <p:nvSpPr>
          <p:cNvPr id="14" name="Footer Placeholder 5"/>
          <p:cNvSpPr>
            <a:spLocks noGrp="1"/>
          </p:cNvSpPr>
          <p:nvPr>
            <p:ph type="ftr" sz="quarter" idx="11"/>
          </p:nvPr>
        </p:nvSpPr>
        <p:spPr>
          <a:xfrm>
            <a:off x="5543550" y="5236046"/>
            <a:ext cx="2412826" cy="136050"/>
          </a:xfrm>
          <a:prstGeom prst="rect">
            <a:avLst/>
          </a:prstGeom>
        </p:spPr>
        <p:txBody>
          <a:bodyPr/>
          <a:lstStyle>
            <a:lvl1pPr>
              <a:defRPr>
                <a:solidFill>
                  <a:schemeClr val="accent1">
                    <a:alpha val="0"/>
                  </a:schemeClr>
                </a:solidFill>
              </a:defRPr>
            </a:lvl1pPr>
          </a:lstStyle>
          <a:p>
            <a:endParaRPr lang="de-DE" noProof="0" dirty="0"/>
          </a:p>
        </p:txBody>
      </p:sp>
      <p:sp>
        <p:nvSpPr>
          <p:cNvPr id="15" name="Slide Number Placeholder 6"/>
          <p:cNvSpPr>
            <a:spLocks noGrp="1"/>
          </p:cNvSpPr>
          <p:nvPr>
            <p:ph type="sldNum" sz="quarter" idx="12"/>
          </p:nvPr>
        </p:nvSpPr>
        <p:spPr>
          <a:xfrm>
            <a:off x="8580769" y="5236046"/>
            <a:ext cx="563231" cy="136050"/>
          </a:xfrm>
          <a:prstGeom prst="rect">
            <a:avLst/>
          </a:prstGeom>
        </p:spPr>
        <p:txBody>
          <a:bodyPr/>
          <a:lstStyle>
            <a:lvl1pPr>
              <a:defRPr>
                <a:solidFill>
                  <a:schemeClr val="accent1">
                    <a:alpha val="0"/>
                  </a:schemeClr>
                </a:solidFill>
              </a:defRPr>
            </a:lvl1pPr>
          </a:lstStyle>
          <a:p>
            <a:r>
              <a:rPr lang="de-DE" noProof="0" dirty="0"/>
              <a:t> </a:t>
            </a:r>
            <a:r>
              <a:rPr lang="de-DE" noProof="0" dirty="0">
                <a:sym typeface="Wingdings"/>
              </a:rPr>
              <a:t>  </a:t>
            </a:r>
            <a:fld id="{443B15C8-972D-49F6-9B7C-5A2154A8C95F}" type="slidenum">
              <a:rPr lang="de-DE" noProof="0" smtClean="0"/>
              <a:pPr/>
              <a:t>‹Nr.›</a:t>
            </a:fld>
            <a:endParaRPr lang="de-DE" noProof="0" dirty="0"/>
          </a:p>
        </p:txBody>
      </p:sp>
    </p:spTree>
    <p:extLst>
      <p:ext uri="{BB962C8B-B14F-4D97-AF65-F5344CB8AC3E}">
        <p14:creationId xmlns:p14="http://schemas.microsoft.com/office/powerpoint/2010/main" val="228151367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enutzerdefiniertes Layout">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endParaRPr lang="cs-CZ" dirty="0"/>
          </a:p>
        </p:txBody>
      </p:sp>
      <p:sp>
        <p:nvSpPr>
          <p:cNvPr id="4" name="Fußzeilenplatzhalter 3"/>
          <p:cNvSpPr>
            <a:spLocks noGrp="1"/>
          </p:cNvSpPr>
          <p:nvPr>
            <p:ph type="ftr" sz="quarter" idx="11"/>
          </p:nvPr>
        </p:nvSpPr>
        <p:spPr/>
        <p:txBody>
          <a:bodyPr/>
          <a:lstStyle/>
          <a:p>
            <a:endParaRPr lang="cs-CZ" noProof="0" dirty="0"/>
          </a:p>
        </p:txBody>
      </p:sp>
      <p:sp>
        <p:nvSpPr>
          <p:cNvPr id="5" name="Foliennummernplatzhalter 4"/>
          <p:cNvSpPr>
            <a:spLocks noGrp="1"/>
          </p:cNvSpPr>
          <p:nvPr>
            <p:ph type="sldNum" sz="quarter" idx="12"/>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6943739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845"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Objekt 2" hidden="1"/>
          <p:cNvPicPr>
            <a:picLocks noChangeAspect="1"/>
          </p:cNvPicPr>
          <p:nvPr>
            <p:custDataLst>
              <p:tags r:id="rId3"/>
            </p:custDataLst>
          </p:nvPr>
        </p:nvPicPr>
        <p:blipFill>
          <a:blip r:embed="rId7"/>
          <a:stretch>
            <a:fillRect/>
          </a:stretch>
        </p:blipFill>
        <p:spPr>
          <a:xfrm>
            <a:off x="1588" y="1588"/>
            <a:ext cx="1587" cy="1587"/>
          </a:xfrm>
          <a:prstGeom prst="rect">
            <a:avLst/>
          </a:prstGeom>
        </p:spPr>
      </p:pic>
      <p:sp>
        <p:nvSpPr>
          <p:cNvPr id="2" name="Title 1"/>
          <p:cNvSpPr>
            <a:spLocks noGrp="1"/>
          </p:cNvSpPr>
          <p:nvPr>
            <p:ph type="title" hasCustomPrompt="1"/>
          </p:nvPr>
        </p:nvSpPr>
        <p:spPr bwMode="gray"/>
        <p:txBody>
          <a:bodyPr/>
          <a:lstStyle/>
          <a:p>
            <a:r>
              <a:rPr lang="de-DE" noProof="0" dirty="0"/>
              <a:t>Folientitel</a:t>
            </a:r>
          </a:p>
        </p:txBody>
      </p:sp>
      <p:sp>
        <p:nvSpPr>
          <p:cNvPr id="12" name="Text Placeholder 4"/>
          <p:cNvSpPr>
            <a:spLocks noGrp="1"/>
          </p:cNvSpPr>
          <p:nvPr>
            <p:ph type="body" sz="quarter" idx="20" hasCustomPrompt="1"/>
          </p:nvPr>
        </p:nvSpPr>
        <p:spPr bwMode="gray">
          <a:xfrm>
            <a:off x="468312" y="339725"/>
            <a:ext cx="5075238" cy="144463"/>
          </a:xfrm>
        </p:spPr>
        <p:txBody>
          <a:bodyPr wrap="none" bIns="18000" anchor="b"/>
          <a:lstStyle>
            <a:lvl1pPr marL="0" indent="0">
              <a:lnSpc>
                <a:spcPct val="100000"/>
              </a:lnSpc>
              <a:spcBef>
                <a:spcPts val="0"/>
              </a:spcBef>
              <a:spcAft>
                <a:spcPts val="0"/>
              </a:spcAft>
              <a:buFont typeface="Arial" panose="020B0604020202020204" pitchFamily="34" charset="0"/>
              <a:buNone/>
              <a:defRPr sz="1000" b="1" cap="all" baseline="0">
                <a:solidFill>
                  <a:schemeClr val="accent4"/>
                </a:solidFill>
              </a:defRPr>
            </a:lvl1pPr>
            <a:lvl2pPr marL="0" indent="0">
              <a:lnSpc>
                <a:spcPct val="100000"/>
              </a:lnSpc>
              <a:spcBef>
                <a:spcPts val="0"/>
              </a:spcBef>
              <a:spcAft>
                <a:spcPts val="0"/>
              </a:spcAft>
              <a:buNone/>
              <a:defRPr sz="1000" b="1" cap="all">
                <a:solidFill>
                  <a:schemeClr val="accent4"/>
                </a:solidFill>
              </a:defRPr>
            </a:lvl2pPr>
            <a:lvl3pPr marL="0" indent="0">
              <a:lnSpc>
                <a:spcPct val="100000"/>
              </a:lnSpc>
              <a:spcBef>
                <a:spcPts val="0"/>
              </a:spcBef>
              <a:spcAft>
                <a:spcPts val="0"/>
              </a:spcAft>
              <a:buNone/>
              <a:defRPr sz="1000" b="1" cap="all">
                <a:solidFill>
                  <a:schemeClr val="accent4"/>
                </a:solidFill>
              </a:defRPr>
            </a:lvl3pPr>
            <a:lvl4pPr marL="0" indent="0">
              <a:lnSpc>
                <a:spcPct val="100000"/>
              </a:lnSpc>
              <a:spcBef>
                <a:spcPts val="0"/>
              </a:spcBef>
              <a:spcAft>
                <a:spcPts val="0"/>
              </a:spcAft>
              <a:buFont typeface="Arial" panose="020B0604020202020204" pitchFamily="34" charset="0"/>
              <a:buNone/>
              <a:defRPr sz="1000" b="1" cap="all">
                <a:solidFill>
                  <a:schemeClr val="accent4"/>
                </a:solidFill>
              </a:defRPr>
            </a:lvl4pPr>
            <a:lvl5pPr marL="0" indent="0">
              <a:lnSpc>
                <a:spcPct val="100000"/>
              </a:lnSpc>
              <a:spcBef>
                <a:spcPts val="0"/>
              </a:spcBef>
              <a:spcAft>
                <a:spcPts val="0"/>
              </a:spcAft>
              <a:buFont typeface="Arial" panose="020B0604020202020204" pitchFamily="34" charset="0"/>
              <a:buNone/>
              <a:defRPr sz="1000" b="1" cap="all">
                <a:solidFill>
                  <a:schemeClr val="accent4"/>
                </a:solidFill>
              </a:defRPr>
            </a:lvl5pPr>
            <a:lvl6pPr marL="0" indent="0">
              <a:lnSpc>
                <a:spcPct val="100000"/>
              </a:lnSpc>
              <a:spcBef>
                <a:spcPts val="0"/>
              </a:spcBef>
              <a:spcAft>
                <a:spcPts val="0"/>
              </a:spcAft>
              <a:buFont typeface="Arial" panose="020B0604020202020204" pitchFamily="34" charset="0"/>
              <a:buNone/>
              <a:defRPr sz="1000" b="1" cap="all">
                <a:solidFill>
                  <a:schemeClr val="accent4"/>
                </a:solidFill>
              </a:defRPr>
            </a:lvl6pPr>
            <a:lvl7pPr marL="0" indent="0">
              <a:lnSpc>
                <a:spcPct val="100000"/>
              </a:lnSpc>
              <a:spcBef>
                <a:spcPts val="0"/>
              </a:spcBef>
              <a:spcAft>
                <a:spcPts val="0"/>
              </a:spcAft>
              <a:buFont typeface="Arial" panose="020B0604020202020204" pitchFamily="34" charset="0"/>
              <a:buNone/>
              <a:defRPr sz="1000" b="1" cap="all">
                <a:solidFill>
                  <a:schemeClr val="accent4"/>
                </a:solidFill>
              </a:defRPr>
            </a:lvl7pPr>
            <a:lvl8pPr marL="0" indent="0">
              <a:lnSpc>
                <a:spcPct val="100000"/>
              </a:lnSpc>
              <a:spcBef>
                <a:spcPts val="0"/>
              </a:spcBef>
              <a:spcAft>
                <a:spcPts val="0"/>
              </a:spcAft>
              <a:buFont typeface="Arial" panose="020B0604020202020204" pitchFamily="34" charset="0"/>
              <a:buNone/>
              <a:defRPr sz="1000" b="1" cap="all">
                <a:solidFill>
                  <a:schemeClr val="accent4"/>
                </a:solidFill>
              </a:defRPr>
            </a:lvl8pPr>
            <a:lvl9pPr marL="0" indent="0">
              <a:lnSpc>
                <a:spcPct val="100000"/>
              </a:lnSpc>
              <a:spcBef>
                <a:spcPts val="0"/>
              </a:spcBef>
              <a:spcAft>
                <a:spcPts val="0"/>
              </a:spcAft>
              <a:buFont typeface="Arial" panose="020B0604020202020204" pitchFamily="34" charset="0"/>
              <a:buNone/>
              <a:defRPr sz="1000" b="1" cap="all">
                <a:solidFill>
                  <a:schemeClr val="accent4"/>
                </a:solidFill>
              </a:defRPr>
            </a:lvl9pPr>
          </a:lstStyle>
          <a:p>
            <a:pPr lvl="0"/>
            <a:r>
              <a:rPr lang="de-DE" noProof="0" dirty="0"/>
              <a:t>Kapitelüberschrift (OPTIONAL)</a:t>
            </a:r>
          </a:p>
        </p:txBody>
      </p:sp>
      <p:sp>
        <p:nvSpPr>
          <p:cNvPr id="11" name="ClipArt Placeholder 5"/>
          <p:cNvSpPr>
            <a:spLocks noGrp="1"/>
          </p:cNvSpPr>
          <p:nvPr>
            <p:ph type="clipArt" sz="quarter" idx="24"/>
          </p:nvPr>
        </p:nvSpPr>
        <p:spPr>
          <a:xfrm>
            <a:off x="7895176" y="4874400"/>
            <a:ext cx="61200" cy="61200"/>
          </a:xfrm>
          <a:solidFill>
            <a:schemeClr val="accent1"/>
          </a:solidFill>
        </p:spPr>
        <p:txBody>
          <a:bodyPr wrap="none" rIns="0"/>
          <a:lstStyle>
            <a:lvl1pPr algn="ctr">
              <a:defRPr sz="100">
                <a:solidFill>
                  <a:schemeClr val="tx1">
                    <a:alpha val="0"/>
                  </a:schemeClr>
                </a:solidFill>
              </a:defRPr>
            </a:lvl1pPr>
          </a:lstStyle>
          <a:p>
            <a:r>
              <a:rPr lang="de-DE" noProof="0"/>
              <a:t>ClipArt durch Klicken auf Symbol hinzufügen</a:t>
            </a:r>
            <a:endParaRPr lang="de-DE" noProof="0" dirty="0"/>
          </a:p>
        </p:txBody>
      </p:sp>
      <p:sp>
        <p:nvSpPr>
          <p:cNvPr id="13" name="Date Placeholder 12"/>
          <p:cNvSpPr>
            <a:spLocks noGrp="1"/>
          </p:cNvSpPr>
          <p:nvPr>
            <p:ph type="dt" sz="half" idx="25"/>
          </p:nvPr>
        </p:nvSpPr>
        <p:spPr>
          <a:xfrm>
            <a:off x="7956376" y="4836160"/>
            <a:ext cx="657959" cy="136050"/>
          </a:xfrm>
          <a:prstGeom prst="rect">
            <a:avLst/>
          </a:prstGeom>
        </p:spPr>
        <p:txBody>
          <a:bodyPr/>
          <a:lstStyle/>
          <a:p>
            <a:endParaRPr lang="de-DE" noProof="0" dirty="0"/>
          </a:p>
        </p:txBody>
      </p:sp>
      <p:sp>
        <p:nvSpPr>
          <p:cNvPr id="14" name="Footer Placeholder 16"/>
          <p:cNvSpPr>
            <a:spLocks noGrp="1"/>
          </p:cNvSpPr>
          <p:nvPr>
            <p:ph type="ftr" sz="quarter" idx="26"/>
          </p:nvPr>
        </p:nvSpPr>
        <p:spPr>
          <a:xfrm>
            <a:off x="5543550" y="4836160"/>
            <a:ext cx="2412826" cy="136050"/>
          </a:xfrm>
          <a:prstGeom prst="rect">
            <a:avLst/>
          </a:prstGeom>
        </p:spPr>
        <p:txBody>
          <a:bodyPr/>
          <a:lstStyle>
            <a:lvl1pPr>
              <a:defRPr/>
            </a:lvl1pPr>
          </a:lstStyle>
          <a:p>
            <a:endParaRPr lang="de-DE" noProof="0" dirty="0"/>
          </a:p>
        </p:txBody>
      </p:sp>
      <p:sp>
        <p:nvSpPr>
          <p:cNvPr id="15" name="Slide Number Placeholder 17"/>
          <p:cNvSpPr>
            <a:spLocks noGrp="1"/>
          </p:cNvSpPr>
          <p:nvPr>
            <p:ph type="sldNum" sz="quarter" idx="27"/>
          </p:nvPr>
        </p:nvSpPr>
        <p:spPr>
          <a:xfrm>
            <a:off x="8580769" y="4836160"/>
            <a:ext cx="563231" cy="136050"/>
          </a:xfrm>
          <a:prstGeom prst="rect">
            <a:avLst/>
          </a:prstGeom>
        </p:spPr>
        <p:txBody>
          <a:bodyPr/>
          <a:lstStyle/>
          <a:p>
            <a:r>
              <a:rPr lang="de-DE" noProof="0" dirty="0"/>
              <a:t> </a:t>
            </a:r>
            <a:r>
              <a:rPr lang="de-DE" noProof="0" dirty="0">
                <a:sym typeface="Wingdings"/>
              </a:rPr>
              <a:t>  </a:t>
            </a:r>
            <a:fld id="{443B15C8-972D-49F6-9B7C-5A2154A8C95F}" type="slidenum">
              <a:rPr lang="de-DE" noProof="0" smtClean="0"/>
              <a:pPr/>
              <a:t>‹Nr.›</a:t>
            </a:fld>
            <a:endParaRPr lang="de-DE" noProof="0" dirty="0"/>
          </a:p>
        </p:txBody>
      </p:sp>
    </p:spTree>
    <p:extLst>
      <p:ext uri="{BB962C8B-B14F-4D97-AF65-F5344CB8AC3E}">
        <p14:creationId xmlns:p14="http://schemas.microsoft.com/office/powerpoint/2010/main" val="347980731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69" name="think-cell Folie" r:id="rId4" imgW="270" imgH="270" progId="TCLayout.ActiveDocument.1">
                  <p:embed/>
                </p:oleObj>
              </mc:Choice>
              <mc:Fallback>
                <p:oleObj name="think-cell Folie" r:id="rId4" imgW="270" imgH="270"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gray"/>
        <p:txBody>
          <a:bodyPr/>
          <a:lstStyle/>
          <a:p>
            <a:r>
              <a:rPr lang="de-DE" noProof="0" dirty="0"/>
              <a:t>Folientitel</a:t>
            </a:r>
          </a:p>
        </p:txBody>
      </p:sp>
      <p:sp>
        <p:nvSpPr>
          <p:cNvPr id="12" name="Text Placeholder 4"/>
          <p:cNvSpPr>
            <a:spLocks noGrp="1"/>
          </p:cNvSpPr>
          <p:nvPr>
            <p:ph type="body" sz="quarter" idx="20" hasCustomPrompt="1"/>
          </p:nvPr>
        </p:nvSpPr>
        <p:spPr bwMode="gray">
          <a:xfrm>
            <a:off x="468312" y="339725"/>
            <a:ext cx="5075238" cy="144463"/>
          </a:xfrm>
        </p:spPr>
        <p:txBody>
          <a:bodyPr wrap="none" bIns="18000" anchor="b"/>
          <a:lstStyle>
            <a:lvl1pPr marL="0" indent="0">
              <a:lnSpc>
                <a:spcPct val="100000"/>
              </a:lnSpc>
              <a:spcBef>
                <a:spcPts val="0"/>
              </a:spcBef>
              <a:spcAft>
                <a:spcPts val="0"/>
              </a:spcAft>
              <a:buFont typeface="Arial" panose="020B0604020202020204" pitchFamily="34" charset="0"/>
              <a:buNone/>
              <a:defRPr sz="1000" b="1" cap="all" baseline="0">
                <a:solidFill>
                  <a:schemeClr val="accent4"/>
                </a:solidFill>
              </a:defRPr>
            </a:lvl1pPr>
            <a:lvl2pPr marL="0" indent="0">
              <a:lnSpc>
                <a:spcPct val="100000"/>
              </a:lnSpc>
              <a:spcBef>
                <a:spcPts val="0"/>
              </a:spcBef>
              <a:spcAft>
                <a:spcPts val="0"/>
              </a:spcAft>
              <a:buNone/>
              <a:defRPr sz="1000" b="1" cap="all">
                <a:solidFill>
                  <a:schemeClr val="accent4"/>
                </a:solidFill>
              </a:defRPr>
            </a:lvl2pPr>
            <a:lvl3pPr marL="0" indent="0">
              <a:lnSpc>
                <a:spcPct val="100000"/>
              </a:lnSpc>
              <a:spcBef>
                <a:spcPts val="0"/>
              </a:spcBef>
              <a:spcAft>
                <a:spcPts val="0"/>
              </a:spcAft>
              <a:buNone/>
              <a:defRPr sz="1000" b="1" cap="all">
                <a:solidFill>
                  <a:schemeClr val="accent4"/>
                </a:solidFill>
              </a:defRPr>
            </a:lvl3pPr>
            <a:lvl4pPr marL="0" indent="0">
              <a:lnSpc>
                <a:spcPct val="100000"/>
              </a:lnSpc>
              <a:spcBef>
                <a:spcPts val="0"/>
              </a:spcBef>
              <a:spcAft>
                <a:spcPts val="0"/>
              </a:spcAft>
              <a:buFont typeface="Arial" panose="020B0604020202020204" pitchFamily="34" charset="0"/>
              <a:buNone/>
              <a:defRPr sz="1000" b="1" cap="all">
                <a:solidFill>
                  <a:schemeClr val="accent4"/>
                </a:solidFill>
              </a:defRPr>
            </a:lvl4pPr>
            <a:lvl5pPr marL="0" indent="0">
              <a:lnSpc>
                <a:spcPct val="100000"/>
              </a:lnSpc>
              <a:spcBef>
                <a:spcPts val="0"/>
              </a:spcBef>
              <a:spcAft>
                <a:spcPts val="0"/>
              </a:spcAft>
              <a:buFont typeface="Arial" panose="020B0604020202020204" pitchFamily="34" charset="0"/>
              <a:buNone/>
              <a:defRPr sz="1000" b="1" cap="all">
                <a:solidFill>
                  <a:schemeClr val="accent4"/>
                </a:solidFill>
              </a:defRPr>
            </a:lvl5pPr>
            <a:lvl6pPr marL="0" indent="0">
              <a:lnSpc>
                <a:spcPct val="100000"/>
              </a:lnSpc>
              <a:spcBef>
                <a:spcPts val="0"/>
              </a:spcBef>
              <a:spcAft>
                <a:spcPts val="0"/>
              </a:spcAft>
              <a:buFont typeface="Arial" panose="020B0604020202020204" pitchFamily="34" charset="0"/>
              <a:buNone/>
              <a:defRPr sz="1000" b="1" cap="all">
                <a:solidFill>
                  <a:schemeClr val="accent4"/>
                </a:solidFill>
              </a:defRPr>
            </a:lvl6pPr>
            <a:lvl7pPr marL="0" indent="0">
              <a:lnSpc>
                <a:spcPct val="100000"/>
              </a:lnSpc>
              <a:spcBef>
                <a:spcPts val="0"/>
              </a:spcBef>
              <a:spcAft>
                <a:spcPts val="0"/>
              </a:spcAft>
              <a:buFont typeface="Arial" panose="020B0604020202020204" pitchFamily="34" charset="0"/>
              <a:buNone/>
              <a:defRPr sz="1000" b="1" cap="all">
                <a:solidFill>
                  <a:schemeClr val="accent4"/>
                </a:solidFill>
              </a:defRPr>
            </a:lvl7pPr>
            <a:lvl8pPr marL="0" indent="0">
              <a:lnSpc>
                <a:spcPct val="100000"/>
              </a:lnSpc>
              <a:spcBef>
                <a:spcPts val="0"/>
              </a:spcBef>
              <a:spcAft>
                <a:spcPts val="0"/>
              </a:spcAft>
              <a:buFont typeface="Arial" panose="020B0604020202020204" pitchFamily="34" charset="0"/>
              <a:buNone/>
              <a:defRPr sz="1000" b="1" cap="all">
                <a:solidFill>
                  <a:schemeClr val="accent4"/>
                </a:solidFill>
              </a:defRPr>
            </a:lvl8pPr>
            <a:lvl9pPr marL="0" indent="0">
              <a:lnSpc>
                <a:spcPct val="100000"/>
              </a:lnSpc>
              <a:spcBef>
                <a:spcPts val="0"/>
              </a:spcBef>
              <a:spcAft>
                <a:spcPts val="0"/>
              </a:spcAft>
              <a:buFont typeface="Arial" panose="020B0604020202020204" pitchFamily="34" charset="0"/>
              <a:buNone/>
              <a:defRPr sz="1000" b="1" cap="all">
                <a:solidFill>
                  <a:schemeClr val="accent4"/>
                </a:solidFill>
              </a:defRPr>
            </a:lvl9pPr>
          </a:lstStyle>
          <a:p>
            <a:pPr lvl="0"/>
            <a:r>
              <a:rPr lang="de-DE" noProof="0" dirty="0"/>
              <a:t>Kapitelüberschrift (OPTIONAL)</a:t>
            </a:r>
          </a:p>
        </p:txBody>
      </p:sp>
      <p:sp>
        <p:nvSpPr>
          <p:cNvPr id="15" name="Slide Number Placeholder 17"/>
          <p:cNvSpPr>
            <a:spLocks noGrp="1"/>
          </p:cNvSpPr>
          <p:nvPr>
            <p:ph type="sldNum" sz="quarter" idx="27"/>
          </p:nvPr>
        </p:nvSpPr>
        <p:spPr>
          <a:xfrm>
            <a:off x="8580769" y="4836160"/>
            <a:ext cx="563231" cy="136050"/>
          </a:xfrm>
          <a:prstGeom prst="rect">
            <a:avLst/>
          </a:prstGeom>
        </p:spPr>
        <p:txBody>
          <a:bodyPr/>
          <a:lstStyle/>
          <a:p>
            <a:r>
              <a:rPr lang="de-DE" noProof="0" dirty="0"/>
              <a:t> </a:t>
            </a:r>
            <a:r>
              <a:rPr lang="de-DE" noProof="0" dirty="0">
                <a:sym typeface="Wingdings"/>
              </a:rPr>
              <a:t>  </a:t>
            </a:r>
            <a:fld id="{443B15C8-972D-49F6-9B7C-5A2154A8C95F}" type="slidenum">
              <a:rPr lang="de-DE" noProof="0" smtClean="0"/>
              <a:pPr/>
              <a:t>‹Nr.›</a:t>
            </a:fld>
            <a:endParaRPr lang="de-DE" noProof="0" dirty="0"/>
          </a:p>
        </p:txBody>
      </p:sp>
    </p:spTree>
    <p:extLst>
      <p:ext uri="{BB962C8B-B14F-4D97-AF65-F5344CB8AC3E}">
        <p14:creationId xmlns:p14="http://schemas.microsoft.com/office/powerpoint/2010/main" val="124313179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85800" y="1545637"/>
            <a:ext cx="7772400" cy="1189955"/>
          </a:xfrm>
          <a:prstGeom prst="rect">
            <a:avLst/>
          </a:prstGeom>
        </p:spPr>
        <p:txBody>
          <a:bodyPr/>
          <a:lstStyle>
            <a:lvl1pPr algn="l">
              <a:defRPr sz="4050" b="1" cap="none" baseline="0">
                <a:latin typeface="Arial" panose="020B0604020202020204" pitchFamily="34" charset="0"/>
                <a:cs typeface="Arial" panose="020B0604020202020204" pitchFamily="34" charset="0"/>
              </a:defRPr>
            </a:lvl1pPr>
          </a:lstStyle>
          <a:p>
            <a:r>
              <a:rPr lang="de-DE" dirty="0"/>
              <a:t>TITEL DER PRÄSENTATION</a:t>
            </a:r>
          </a:p>
        </p:txBody>
      </p:sp>
      <p:sp>
        <p:nvSpPr>
          <p:cNvPr id="3" name="Untertitel 2"/>
          <p:cNvSpPr>
            <a:spLocks noGrp="1"/>
          </p:cNvSpPr>
          <p:nvPr>
            <p:ph type="subTitle" idx="1" hasCustomPrompt="1"/>
          </p:nvPr>
        </p:nvSpPr>
        <p:spPr>
          <a:xfrm>
            <a:off x="683568" y="2895786"/>
            <a:ext cx="6400800" cy="486054"/>
          </a:xfrm>
          <a:prstGeom prst="rect">
            <a:avLst/>
          </a:prstGeom>
        </p:spPr>
        <p:txBody>
          <a:bodyPr/>
          <a:lstStyle>
            <a:lvl1pPr marL="0" indent="0" algn="l">
              <a:buNone/>
              <a:defRPr>
                <a:solidFill>
                  <a:schemeClr val="bg2">
                    <a:lumMod val="50000"/>
                  </a:schemeClr>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de-DE" dirty="0"/>
              <a:t>Projekttitel</a:t>
            </a:r>
          </a:p>
        </p:txBody>
      </p:sp>
    </p:spTree>
    <p:extLst>
      <p:ext uri="{BB962C8B-B14F-4D97-AF65-F5344CB8AC3E}">
        <p14:creationId xmlns:p14="http://schemas.microsoft.com/office/powerpoint/2010/main" val="14811916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2313" y="3305176"/>
            <a:ext cx="7772400" cy="1021556"/>
          </a:xfrm>
          <a:prstGeom prst="rect">
            <a:avLst/>
          </a:prstGeom>
        </p:spPr>
        <p:txBody>
          <a:bodyPr anchor="t"/>
          <a:lstStyle>
            <a:lvl1pPr algn="l">
              <a:defRPr sz="3000" b="1" cap="all" baseline="0">
                <a:solidFill>
                  <a:schemeClr val="accent1"/>
                </a:solidFill>
                <a:latin typeface="Arial" panose="020B0604020202020204" pitchFamily="34" charset="0"/>
                <a:cs typeface="Arial" panose="020B0604020202020204" pitchFamily="34" charset="0"/>
              </a:defRPr>
            </a:lvl1pPr>
          </a:lstStyle>
          <a:p>
            <a:r>
              <a:rPr lang="de-DE" dirty="0"/>
              <a:t>Titel KAPITEL</a:t>
            </a:r>
          </a:p>
        </p:txBody>
      </p:sp>
      <p:sp>
        <p:nvSpPr>
          <p:cNvPr id="3" name="Textplatzhalter 2"/>
          <p:cNvSpPr>
            <a:spLocks noGrp="1"/>
          </p:cNvSpPr>
          <p:nvPr>
            <p:ph type="body" idx="1" hasCustomPrompt="1"/>
          </p:nvPr>
        </p:nvSpPr>
        <p:spPr>
          <a:xfrm>
            <a:off x="722313" y="2180035"/>
            <a:ext cx="7772400" cy="1125140"/>
          </a:xfrm>
          <a:prstGeom prst="rect">
            <a:avLst/>
          </a:prstGeom>
        </p:spPr>
        <p:txBody>
          <a:bodyPr anchor="b"/>
          <a:lstStyle>
            <a:lvl1pPr marL="0" indent="0">
              <a:buNone/>
              <a:defRPr sz="1500">
                <a:solidFill>
                  <a:schemeClr val="bg2">
                    <a:lumMod val="50000"/>
                  </a:schemeClr>
                </a:solidFill>
                <a:latin typeface="Arial" panose="020B0604020202020204" pitchFamily="34" charset="0"/>
                <a:cs typeface="Arial" panose="020B0604020202020204" pitchFamily="34" charset="0"/>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de-DE" dirty="0"/>
              <a:t>ERLÄUTERUNGEN</a:t>
            </a:r>
          </a:p>
        </p:txBody>
      </p:sp>
    </p:spTree>
    <p:extLst>
      <p:ext uri="{BB962C8B-B14F-4D97-AF65-F5344CB8AC3E}">
        <p14:creationId xmlns:p14="http://schemas.microsoft.com/office/powerpoint/2010/main" val="41565599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46856" y="83827"/>
            <a:ext cx="8229600" cy="543707"/>
          </a:xfrm>
          <a:prstGeom prst="rect">
            <a:avLst/>
          </a:prstGeom>
        </p:spPr>
        <p:txBody>
          <a:bodyPr/>
          <a:lstStyle>
            <a:lvl1pPr algn="l">
              <a:defRPr>
                <a:solidFill>
                  <a:schemeClr val="tx1"/>
                </a:solidFill>
              </a:defRPr>
            </a:lvl1pPr>
          </a:lstStyle>
          <a:p>
            <a:r>
              <a:rPr lang="de-DE" dirty="0"/>
              <a:t>Titel</a:t>
            </a:r>
          </a:p>
        </p:txBody>
      </p:sp>
      <p:sp>
        <p:nvSpPr>
          <p:cNvPr id="3" name="Inhaltsplatzhalter 2"/>
          <p:cNvSpPr>
            <a:spLocks noGrp="1"/>
          </p:cNvSpPr>
          <p:nvPr>
            <p:ph idx="1"/>
          </p:nvPr>
        </p:nvSpPr>
        <p:spPr>
          <a:xfrm>
            <a:off x="467544" y="951570"/>
            <a:ext cx="8229600" cy="3726414"/>
          </a:xfrm>
          <a:prstGeom prst="rect">
            <a:avLst/>
          </a:prstGeom>
        </p:spPr>
        <p:txBody>
          <a:bodyPr/>
          <a:lstStyle>
            <a:lvl1pPr>
              <a:defRPr>
                <a:solidFill>
                  <a:schemeClr val="tx2">
                    <a:lumMod val="50000"/>
                  </a:schemeClr>
                </a:solidFill>
              </a:defRPr>
            </a:lvl1pPr>
            <a:lvl2pPr>
              <a:defRPr>
                <a:solidFill>
                  <a:schemeClr val="accent3"/>
                </a:solidFill>
              </a:defRPr>
            </a:lvl2pPr>
            <a:lvl3pPr>
              <a:defRPr>
                <a:solidFill>
                  <a:schemeClr val="accent4"/>
                </a:solidFill>
              </a:defRPr>
            </a:lvl3pPr>
            <a:lvl4pPr>
              <a:defRPr>
                <a:solidFill>
                  <a:schemeClr val="accent5"/>
                </a:solidFill>
              </a:defRPr>
            </a:lvl4pPr>
            <a:lvl5pPr>
              <a:defRPr>
                <a:solidFill>
                  <a:schemeClr val="bg2">
                    <a:lumMod val="50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oliennummernplatzhalter 5"/>
          <p:cNvSpPr>
            <a:spLocks noGrp="1"/>
          </p:cNvSpPr>
          <p:nvPr>
            <p:ph type="sldNum" sz="quarter" idx="12"/>
          </p:nvPr>
        </p:nvSpPr>
        <p:spPr>
          <a:xfrm>
            <a:off x="8316417" y="4848277"/>
            <a:ext cx="812221" cy="273844"/>
          </a:xfrm>
        </p:spPr>
        <p:txBody>
          <a:bodyPr/>
          <a:lstStyle/>
          <a:p>
            <a:fld id="{94C51DEF-A0F2-436A-B446-D206BED377C1}" type="slidenum">
              <a:rPr lang="de-DE" smtClean="0"/>
              <a:t>‹Nr.›</a:t>
            </a:fld>
            <a:endParaRPr lang="de-DE" dirty="0"/>
          </a:p>
        </p:txBody>
      </p:sp>
    </p:spTree>
    <p:extLst>
      <p:ext uri="{BB962C8B-B14F-4D97-AF65-F5344CB8AC3E}">
        <p14:creationId xmlns:p14="http://schemas.microsoft.com/office/powerpoint/2010/main" val="310304593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46856" y="83827"/>
            <a:ext cx="8229600" cy="543707"/>
          </a:xfrm>
          <a:prstGeom prst="rect">
            <a:avLst/>
          </a:prstGeom>
        </p:spPr>
        <p:txBody>
          <a:bodyPr/>
          <a:lstStyle>
            <a:lvl1pPr algn="l">
              <a:defRPr>
                <a:solidFill>
                  <a:schemeClr val="tx1"/>
                </a:solidFill>
              </a:defRPr>
            </a:lvl1pPr>
          </a:lstStyle>
          <a:p>
            <a:r>
              <a:rPr lang="de-DE" dirty="0"/>
              <a:t>Titel</a:t>
            </a:r>
          </a:p>
        </p:txBody>
      </p:sp>
      <p:sp>
        <p:nvSpPr>
          <p:cNvPr id="3" name="Inhaltsplatzhalter 2"/>
          <p:cNvSpPr>
            <a:spLocks noGrp="1"/>
          </p:cNvSpPr>
          <p:nvPr>
            <p:ph idx="1"/>
          </p:nvPr>
        </p:nvSpPr>
        <p:spPr>
          <a:xfrm>
            <a:off x="467544" y="951570"/>
            <a:ext cx="8229600" cy="3726414"/>
          </a:xfrm>
          <a:prstGeom prst="rect">
            <a:avLst/>
          </a:prstGeom>
        </p:spPr>
        <p:txBody>
          <a:bodyPr/>
          <a:lstStyle>
            <a:lvl1pPr>
              <a:defRPr>
                <a:solidFill>
                  <a:schemeClr val="tx2">
                    <a:lumMod val="50000"/>
                  </a:schemeClr>
                </a:solidFill>
              </a:defRPr>
            </a:lvl1pPr>
            <a:lvl2pPr>
              <a:defRPr>
                <a:solidFill>
                  <a:schemeClr val="accent3"/>
                </a:solidFill>
              </a:defRPr>
            </a:lvl2pPr>
            <a:lvl3pPr>
              <a:defRPr>
                <a:solidFill>
                  <a:schemeClr val="accent4"/>
                </a:solidFill>
              </a:defRPr>
            </a:lvl3pPr>
            <a:lvl4pPr>
              <a:defRPr>
                <a:solidFill>
                  <a:schemeClr val="accent5"/>
                </a:solidFill>
              </a:defRPr>
            </a:lvl4pPr>
            <a:lvl5pPr>
              <a:defRPr>
                <a:solidFill>
                  <a:schemeClr val="bg2">
                    <a:lumMod val="50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oliennummernplatzhalter 5"/>
          <p:cNvSpPr>
            <a:spLocks noGrp="1"/>
          </p:cNvSpPr>
          <p:nvPr>
            <p:ph type="sldNum" sz="quarter" idx="12"/>
          </p:nvPr>
        </p:nvSpPr>
        <p:spPr>
          <a:xfrm>
            <a:off x="8316417" y="4848277"/>
            <a:ext cx="812221" cy="273844"/>
          </a:xfrm>
          <a:prstGeom prst="rect">
            <a:avLst/>
          </a:prstGeom>
        </p:spPr>
        <p:txBody>
          <a:bodyPr/>
          <a:lstStyle/>
          <a:p>
            <a:fld id="{94C51DEF-A0F2-436A-B446-D206BED377C1}" type="slidenum">
              <a:rPr lang="de-DE" smtClean="0"/>
              <a:t>‹Nr.›</a:t>
            </a:fld>
            <a:endParaRPr lang="de-DE" dirty="0"/>
          </a:p>
        </p:txBody>
      </p:sp>
    </p:spTree>
    <p:extLst>
      <p:ext uri="{BB962C8B-B14F-4D97-AF65-F5344CB8AC3E}">
        <p14:creationId xmlns:p14="http://schemas.microsoft.com/office/powerpoint/2010/main" val="14476718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x images">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bwMode="gray">
          <a:xfrm>
            <a:off x="395288" y="1131889"/>
            <a:ext cx="4104712" cy="2323603"/>
          </a:xfrm>
          <a:solidFill>
            <a:schemeClr val="accent3"/>
          </a:solidFill>
        </p:spPr>
        <p:txBody>
          <a:bodyPr anchor="ctr"/>
          <a:lstStyle>
            <a:lvl1pPr algn="ctr">
              <a:defRPr>
                <a:solidFill>
                  <a:schemeClr val="tx1"/>
                </a:solidFill>
              </a:defRPr>
            </a:lvl1pPr>
          </a:lstStyle>
          <a:p>
            <a:r>
              <a:rPr lang="de-DE" noProof="0" dirty="0"/>
              <a:t>Klicke auf das Icon, um ein Bild einzufügen</a:t>
            </a:r>
            <a:br>
              <a:rPr lang="de-DE" noProof="0" dirty="0"/>
            </a:br>
            <a:endParaRPr lang="de-DE" noProof="0" dirty="0"/>
          </a:p>
        </p:txBody>
      </p:sp>
      <p:sp>
        <p:nvSpPr>
          <p:cNvPr id="7" name="Picture Placeholder 3"/>
          <p:cNvSpPr>
            <a:spLocks noGrp="1"/>
          </p:cNvSpPr>
          <p:nvPr>
            <p:ph type="pic" sz="quarter" idx="18" hasCustomPrompt="1"/>
          </p:nvPr>
        </p:nvSpPr>
        <p:spPr bwMode="gray">
          <a:xfrm>
            <a:off x="4644000" y="1131889"/>
            <a:ext cx="4104712" cy="2323603"/>
          </a:xfrm>
          <a:solidFill>
            <a:schemeClr val="accent3"/>
          </a:solidFill>
        </p:spPr>
        <p:txBody>
          <a:bodyPr anchor="ctr"/>
          <a:lstStyle>
            <a:lvl1pPr algn="ctr">
              <a:defRPr>
                <a:solidFill>
                  <a:schemeClr val="tx1"/>
                </a:solidFill>
              </a:defRPr>
            </a:lvl1pPr>
          </a:lstStyle>
          <a:p>
            <a:r>
              <a:rPr lang="de-DE" noProof="0" dirty="0"/>
              <a:t>Klicke auf das Icon, um ein Bild einzufügen</a:t>
            </a:r>
            <a:br>
              <a:rPr lang="de-DE" noProof="0" dirty="0"/>
            </a:br>
            <a:endParaRPr lang="de-DE" noProof="0" dirty="0"/>
          </a:p>
        </p:txBody>
      </p:sp>
      <p:sp>
        <p:nvSpPr>
          <p:cNvPr id="3" name="Titel 2"/>
          <p:cNvSpPr>
            <a:spLocks noGrp="1"/>
          </p:cNvSpPr>
          <p:nvPr>
            <p:ph type="title"/>
          </p:nvPr>
        </p:nvSpPr>
        <p:spPr/>
        <p:txBody>
          <a:bodyPr/>
          <a:lstStyle/>
          <a:p>
            <a:r>
              <a:rPr lang="de-DE"/>
              <a:t>Titelmasterformat durch Klicken bearbeiten</a:t>
            </a:r>
            <a:endParaRPr lang="en-US"/>
          </a:p>
        </p:txBody>
      </p:sp>
      <p:sp>
        <p:nvSpPr>
          <p:cNvPr id="13"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4" name="Text Placeholder 7"/>
          <p:cNvSpPr>
            <a:spLocks noGrp="1"/>
          </p:cNvSpPr>
          <p:nvPr>
            <p:ph type="body" sz="quarter" idx="13" hasCustomPrompt="1"/>
          </p:nvPr>
        </p:nvSpPr>
        <p:spPr bwMode="gray">
          <a:xfrm>
            <a:off x="395287" y="3455492"/>
            <a:ext cx="4104713" cy="1132482"/>
          </a:xfrm>
        </p:spPr>
        <p:txBody>
          <a:bodyPr lIns="0" tIns="144000"/>
          <a:lstStyle/>
          <a:p>
            <a:pPr lvl="0"/>
            <a:r>
              <a:rPr lang="de-DE" noProof="0" dirty="0"/>
              <a:t>Schreibe hier deinen Text.</a:t>
            </a:r>
          </a:p>
        </p:txBody>
      </p:sp>
      <p:sp>
        <p:nvSpPr>
          <p:cNvPr id="15" name="Text Placeholder 7"/>
          <p:cNvSpPr>
            <a:spLocks noGrp="1"/>
          </p:cNvSpPr>
          <p:nvPr>
            <p:ph type="body" sz="quarter" idx="28" hasCustomPrompt="1"/>
          </p:nvPr>
        </p:nvSpPr>
        <p:spPr bwMode="gray">
          <a:xfrm>
            <a:off x="4643999" y="3455492"/>
            <a:ext cx="4104713" cy="1132482"/>
          </a:xfrm>
        </p:spPr>
        <p:txBody>
          <a:bodyPr lIns="0" tIns="144000"/>
          <a:lstStyle/>
          <a:p>
            <a:pPr lvl="0"/>
            <a:r>
              <a:rPr lang="de-DE" noProof="0" dirty="0"/>
              <a:t>Schreibe hier deinen Text.</a:t>
            </a:r>
          </a:p>
        </p:txBody>
      </p:sp>
      <p:sp>
        <p:nvSpPr>
          <p:cNvPr id="16" name="Textplatzhalter 4"/>
          <p:cNvSpPr>
            <a:spLocks noGrp="1"/>
          </p:cNvSpPr>
          <p:nvPr>
            <p:ph type="body" sz="quarter" idx="33"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12" name="Datumsplatzhalter 11"/>
          <p:cNvSpPr>
            <a:spLocks noGrp="1"/>
          </p:cNvSpPr>
          <p:nvPr>
            <p:ph type="dt" sz="half" idx="34"/>
          </p:nvPr>
        </p:nvSpPr>
        <p:spPr/>
        <p:txBody>
          <a:bodyPr/>
          <a:lstStyle/>
          <a:p>
            <a:endParaRPr lang="cs-CZ" dirty="0"/>
          </a:p>
        </p:txBody>
      </p:sp>
      <p:sp>
        <p:nvSpPr>
          <p:cNvPr id="17" name="Fußzeilenplatzhalter 16"/>
          <p:cNvSpPr>
            <a:spLocks noGrp="1"/>
          </p:cNvSpPr>
          <p:nvPr>
            <p:ph type="ftr" sz="quarter" idx="35"/>
          </p:nvPr>
        </p:nvSpPr>
        <p:spPr/>
        <p:txBody>
          <a:bodyPr/>
          <a:lstStyle/>
          <a:p>
            <a:endParaRPr lang="cs-CZ" noProof="0" dirty="0"/>
          </a:p>
        </p:txBody>
      </p:sp>
      <p:sp>
        <p:nvSpPr>
          <p:cNvPr id="18" name="Foliennummernplatzhalter 17"/>
          <p:cNvSpPr>
            <a:spLocks noGrp="1"/>
          </p:cNvSpPr>
          <p:nvPr>
            <p:ph type="sldNum" sz="quarter" idx="36"/>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374752205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457200" y="1005576"/>
            <a:ext cx="4038600" cy="3589046"/>
          </a:xfrm>
          <a:prstGeom prst="rect">
            <a:avLst/>
          </a:prstGeom>
        </p:spPr>
        <p:txBody>
          <a:bodyPr/>
          <a:lstStyle>
            <a:lvl1pPr>
              <a:defRPr sz="2100">
                <a:solidFill>
                  <a:schemeClr val="tx2">
                    <a:lumMod val="50000"/>
                  </a:schemeClr>
                </a:solidFill>
              </a:defRPr>
            </a:lvl1pPr>
            <a:lvl2pPr>
              <a:defRPr sz="1800">
                <a:solidFill>
                  <a:schemeClr val="tx2">
                    <a:lumMod val="50000"/>
                  </a:schemeClr>
                </a:solidFill>
              </a:defRPr>
            </a:lvl2pPr>
            <a:lvl3pPr>
              <a:defRPr sz="1500">
                <a:solidFill>
                  <a:schemeClr val="tx2">
                    <a:lumMod val="50000"/>
                  </a:schemeClr>
                </a:solidFill>
              </a:defRPr>
            </a:lvl3pPr>
            <a:lvl4pPr>
              <a:defRPr sz="1350">
                <a:solidFill>
                  <a:schemeClr val="tx2">
                    <a:lumMod val="50000"/>
                  </a:schemeClr>
                </a:solidFill>
              </a:defRPr>
            </a:lvl4pPr>
            <a:lvl5pPr>
              <a:defRPr sz="1350">
                <a:solidFill>
                  <a:schemeClr val="tx2">
                    <a:lumMod val="50000"/>
                  </a:schemeClr>
                </a:solidFill>
              </a:defRPr>
            </a:lvl5pPr>
            <a:lvl6pPr>
              <a:defRPr sz="1350"/>
            </a:lvl6pPr>
            <a:lvl7pPr>
              <a:defRPr sz="1350"/>
            </a:lvl7pPr>
            <a:lvl8pPr>
              <a:defRPr sz="1350"/>
            </a:lvl8pPr>
            <a:lvl9pPr>
              <a:defRPr sz="135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half" idx="2"/>
          </p:nvPr>
        </p:nvSpPr>
        <p:spPr>
          <a:xfrm>
            <a:off x="4648200" y="1005576"/>
            <a:ext cx="4038600" cy="3589046"/>
          </a:xfrm>
          <a:prstGeom prst="rect">
            <a:avLst/>
          </a:prstGeom>
        </p:spPr>
        <p:txBody>
          <a:bodyPr/>
          <a:lstStyle>
            <a:lvl1pPr>
              <a:defRPr sz="2100">
                <a:solidFill>
                  <a:schemeClr val="tx2">
                    <a:lumMod val="50000"/>
                  </a:schemeClr>
                </a:solidFill>
              </a:defRPr>
            </a:lvl1pPr>
            <a:lvl2pPr>
              <a:defRPr sz="1800">
                <a:solidFill>
                  <a:schemeClr val="tx2">
                    <a:lumMod val="50000"/>
                  </a:schemeClr>
                </a:solidFill>
              </a:defRPr>
            </a:lvl2pPr>
            <a:lvl3pPr>
              <a:defRPr sz="1500">
                <a:solidFill>
                  <a:schemeClr val="tx2">
                    <a:lumMod val="50000"/>
                  </a:schemeClr>
                </a:solidFill>
              </a:defRPr>
            </a:lvl3pPr>
            <a:lvl4pPr>
              <a:defRPr sz="1350">
                <a:solidFill>
                  <a:schemeClr val="tx2">
                    <a:lumMod val="50000"/>
                  </a:schemeClr>
                </a:solidFill>
              </a:defRPr>
            </a:lvl4pPr>
            <a:lvl5pPr>
              <a:defRPr sz="1350">
                <a:solidFill>
                  <a:schemeClr val="tx2">
                    <a:lumMod val="50000"/>
                  </a:schemeClr>
                </a:solidFill>
              </a:defRPr>
            </a:lvl5pPr>
            <a:lvl6pPr>
              <a:defRPr sz="1350"/>
            </a:lvl6pPr>
            <a:lvl7pPr>
              <a:defRPr sz="1350"/>
            </a:lvl7pPr>
            <a:lvl8pPr>
              <a:defRPr sz="1350"/>
            </a:lvl8pPr>
            <a:lvl9pPr>
              <a:defRPr sz="135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oliennummernplatzhalter 6"/>
          <p:cNvSpPr>
            <a:spLocks noGrp="1"/>
          </p:cNvSpPr>
          <p:nvPr>
            <p:ph type="sldNum" sz="quarter" idx="12"/>
          </p:nvPr>
        </p:nvSpPr>
        <p:spPr>
          <a:xfrm>
            <a:off x="8316417" y="4848277"/>
            <a:ext cx="812221" cy="273844"/>
          </a:xfrm>
          <a:prstGeom prst="rect">
            <a:avLst/>
          </a:prstGeom>
        </p:spPr>
        <p:txBody>
          <a:bodyPr/>
          <a:lstStyle/>
          <a:p>
            <a:fld id="{94C51DEF-A0F2-436A-B446-D206BED377C1}" type="slidenum">
              <a:rPr lang="de-DE" smtClean="0"/>
              <a:t>‹Nr.›</a:t>
            </a:fld>
            <a:endParaRPr lang="de-DE" dirty="0"/>
          </a:p>
        </p:txBody>
      </p:sp>
      <p:sp>
        <p:nvSpPr>
          <p:cNvPr id="8" name="Titel 1"/>
          <p:cNvSpPr>
            <a:spLocks noGrp="1"/>
          </p:cNvSpPr>
          <p:nvPr>
            <p:ph type="title"/>
          </p:nvPr>
        </p:nvSpPr>
        <p:spPr>
          <a:xfrm>
            <a:off x="446856" y="83827"/>
            <a:ext cx="8229600" cy="543707"/>
          </a:xfrm>
          <a:prstGeom prst="rect">
            <a:avLst/>
          </a:prstGeom>
        </p:spPr>
        <p:txBody>
          <a:bodyPr/>
          <a:lstStyle>
            <a:lvl1pPr algn="l">
              <a:defRPr/>
            </a:lvl1pPr>
          </a:lstStyle>
          <a:p>
            <a:r>
              <a:rPr lang="de-DE" dirty="0"/>
              <a:t>Titel</a:t>
            </a:r>
          </a:p>
        </p:txBody>
      </p:sp>
    </p:spTree>
    <p:extLst>
      <p:ext uri="{BB962C8B-B14F-4D97-AF65-F5344CB8AC3E}">
        <p14:creationId xmlns:p14="http://schemas.microsoft.com/office/powerpoint/2010/main" val="39340245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467544" y="951570"/>
            <a:ext cx="4040188" cy="479822"/>
          </a:xfrm>
          <a:prstGeom prst="rect">
            <a:avLst/>
          </a:prstGeom>
        </p:spPr>
        <p:txBody>
          <a:bodyPr anchor="b"/>
          <a:lstStyle>
            <a:lvl1pPr marL="0" indent="0">
              <a:buNone/>
              <a:defRPr sz="18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dirty="0"/>
              <a:t>Textmasterformat bearbeiten</a:t>
            </a:r>
          </a:p>
        </p:txBody>
      </p:sp>
      <p:sp>
        <p:nvSpPr>
          <p:cNvPr id="4" name="Inhaltsplatzhalter 3"/>
          <p:cNvSpPr>
            <a:spLocks noGrp="1"/>
          </p:cNvSpPr>
          <p:nvPr>
            <p:ph sz="half" idx="2"/>
          </p:nvPr>
        </p:nvSpPr>
        <p:spPr>
          <a:xfrm>
            <a:off x="457200" y="1599643"/>
            <a:ext cx="4040188" cy="2994980"/>
          </a:xfrm>
          <a:prstGeom prst="rect">
            <a:avLst/>
          </a:prstGeom>
        </p:spPr>
        <p:txBody>
          <a:bodyPr/>
          <a:lstStyle>
            <a:lvl1pPr>
              <a:defRPr sz="1800">
                <a:solidFill>
                  <a:schemeClr val="tx2">
                    <a:lumMod val="50000"/>
                  </a:schemeClr>
                </a:solidFill>
              </a:defRPr>
            </a:lvl1pPr>
            <a:lvl2pPr>
              <a:defRPr sz="1500">
                <a:solidFill>
                  <a:schemeClr val="tx2">
                    <a:lumMod val="50000"/>
                  </a:schemeClr>
                </a:solidFill>
              </a:defRPr>
            </a:lvl2pPr>
            <a:lvl3pPr>
              <a:defRPr sz="135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vl6pPr>
              <a:defRPr sz="1200"/>
            </a:lvl6pPr>
            <a:lvl7pPr>
              <a:defRPr sz="1200"/>
            </a:lvl7pPr>
            <a:lvl8pPr>
              <a:defRPr sz="1200"/>
            </a:lvl8pPr>
            <a:lvl9pPr>
              <a:defRPr sz="12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tzhalter 4"/>
          <p:cNvSpPr>
            <a:spLocks noGrp="1"/>
          </p:cNvSpPr>
          <p:nvPr>
            <p:ph type="body" sz="quarter" idx="3"/>
          </p:nvPr>
        </p:nvSpPr>
        <p:spPr>
          <a:xfrm>
            <a:off x="4644009" y="951570"/>
            <a:ext cx="4041775" cy="479822"/>
          </a:xfrm>
          <a:prstGeom prst="rect">
            <a:avLst/>
          </a:prstGeom>
        </p:spPr>
        <p:txBody>
          <a:bodyPr anchor="b"/>
          <a:lstStyle>
            <a:lvl1pPr marL="0" indent="0">
              <a:buNone/>
              <a:defRPr sz="18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dirty="0"/>
              <a:t>Textmasterformat bearbeiten</a:t>
            </a:r>
          </a:p>
        </p:txBody>
      </p:sp>
      <p:sp>
        <p:nvSpPr>
          <p:cNvPr id="6" name="Inhaltsplatzhalter 5"/>
          <p:cNvSpPr>
            <a:spLocks noGrp="1"/>
          </p:cNvSpPr>
          <p:nvPr>
            <p:ph sz="quarter" idx="4"/>
          </p:nvPr>
        </p:nvSpPr>
        <p:spPr>
          <a:xfrm>
            <a:off x="4645026" y="1599643"/>
            <a:ext cx="4041775" cy="2994980"/>
          </a:xfrm>
          <a:prstGeom prst="rect">
            <a:avLst/>
          </a:prstGeom>
        </p:spPr>
        <p:txBody>
          <a:bodyPr/>
          <a:lstStyle>
            <a:lvl1pPr>
              <a:defRPr sz="1800">
                <a:solidFill>
                  <a:schemeClr val="tx2">
                    <a:lumMod val="50000"/>
                  </a:schemeClr>
                </a:solidFill>
              </a:defRPr>
            </a:lvl1pPr>
            <a:lvl2pPr>
              <a:defRPr sz="1500">
                <a:solidFill>
                  <a:schemeClr val="tx2">
                    <a:lumMod val="50000"/>
                  </a:schemeClr>
                </a:solidFill>
              </a:defRPr>
            </a:lvl2pPr>
            <a:lvl3pPr>
              <a:defRPr sz="135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vl6pPr>
              <a:defRPr sz="1200"/>
            </a:lvl6pPr>
            <a:lvl7pPr>
              <a:defRPr sz="1200"/>
            </a:lvl7pPr>
            <a:lvl8pPr>
              <a:defRPr sz="1200"/>
            </a:lvl8pPr>
            <a:lvl9pPr>
              <a:defRPr sz="12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a:xfrm>
            <a:off x="5462736" y="4819989"/>
            <a:ext cx="2133600" cy="273844"/>
          </a:xfrm>
          <a:prstGeom prst="rect">
            <a:avLst/>
          </a:prstGeom>
        </p:spPr>
        <p:txBody>
          <a:bodyPr/>
          <a:lstStyle/>
          <a:p>
            <a:fld id="{A99288C3-F33C-4D98-8867-F0674C22DB36}" type="datetime1">
              <a:rPr lang="de-DE" smtClean="0"/>
              <a:t>25.09.2020</a:t>
            </a:fld>
            <a:endParaRPr lang="de-DE" dirty="0"/>
          </a:p>
        </p:txBody>
      </p:sp>
      <p:sp>
        <p:nvSpPr>
          <p:cNvPr id="9" name="Foliennummernplatzhalter 8"/>
          <p:cNvSpPr>
            <a:spLocks noGrp="1"/>
          </p:cNvSpPr>
          <p:nvPr>
            <p:ph type="sldNum" sz="quarter" idx="12"/>
          </p:nvPr>
        </p:nvSpPr>
        <p:spPr>
          <a:xfrm>
            <a:off x="8316417" y="4848277"/>
            <a:ext cx="812221" cy="273844"/>
          </a:xfrm>
          <a:prstGeom prst="rect">
            <a:avLst/>
          </a:prstGeom>
        </p:spPr>
        <p:txBody>
          <a:bodyPr/>
          <a:lstStyle/>
          <a:p>
            <a:fld id="{94C51DEF-A0F2-436A-B446-D206BED377C1}" type="slidenum">
              <a:rPr lang="de-DE" smtClean="0"/>
              <a:t>‹Nr.›</a:t>
            </a:fld>
            <a:endParaRPr lang="de-DE" dirty="0"/>
          </a:p>
        </p:txBody>
      </p:sp>
      <p:sp>
        <p:nvSpPr>
          <p:cNvPr id="10" name="Titel 1"/>
          <p:cNvSpPr>
            <a:spLocks noGrp="1"/>
          </p:cNvSpPr>
          <p:nvPr>
            <p:ph type="title"/>
          </p:nvPr>
        </p:nvSpPr>
        <p:spPr>
          <a:xfrm>
            <a:off x="467544" y="87474"/>
            <a:ext cx="8229600" cy="543707"/>
          </a:xfrm>
          <a:prstGeom prst="rect">
            <a:avLst/>
          </a:prstGeom>
        </p:spPr>
        <p:txBody>
          <a:bodyPr/>
          <a:lstStyle>
            <a:lvl1pPr algn="l">
              <a:defRPr/>
            </a:lvl1pPr>
          </a:lstStyle>
          <a:p>
            <a:r>
              <a:rPr lang="de-DE" dirty="0"/>
              <a:t>Titel</a:t>
            </a:r>
          </a:p>
        </p:txBody>
      </p:sp>
    </p:spTree>
    <p:extLst>
      <p:ext uri="{BB962C8B-B14F-4D97-AF65-F5344CB8AC3E}">
        <p14:creationId xmlns:p14="http://schemas.microsoft.com/office/powerpoint/2010/main" val="350314169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0" y="3543858"/>
            <a:ext cx="9144000" cy="425054"/>
          </a:xfrm>
          <a:prstGeom prst="rect">
            <a:avLst/>
          </a:prstGeom>
        </p:spPr>
        <p:txBody>
          <a:bodyPr anchor="b"/>
          <a:lstStyle>
            <a:lvl1pPr algn="l">
              <a:defRPr sz="1500" b="1"/>
            </a:lvl1pPr>
          </a:lstStyle>
          <a:p>
            <a:r>
              <a:rPr lang="de-DE" dirty="0"/>
              <a:t>Bildunterschrift</a:t>
            </a:r>
          </a:p>
        </p:txBody>
      </p:sp>
      <p:sp>
        <p:nvSpPr>
          <p:cNvPr id="3" name="Bildplatzhalter 2"/>
          <p:cNvSpPr>
            <a:spLocks noGrp="1"/>
          </p:cNvSpPr>
          <p:nvPr>
            <p:ph type="pic" idx="1"/>
          </p:nvPr>
        </p:nvSpPr>
        <p:spPr>
          <a:xfrm>
            <a:off x="0" y="951570"/>
            <a:ext cx="9144000" cy="2594111"/>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de-DE" dirty="0"/>
          </a:p>
        </p:txBody>
      </p:sp>
      <p:sp>
        <p:nvSpPr>
          <p:cNvPr id="4" name="Textplatzhalter 3"/>
          <p:cNvSpPr>
            <a:spLocks noGrp="1"/>
          </p:cNvSpPr>
          <p:nvPr>
            <p:ph type="body" sz="half" idx="2" hasCustomPrompt="1"/>
          </p:nvPr>
        </p:nvSpPr>
        <p:spPr>
          <a:xfrm>
            <a:off x="0" y="3975906"/>
            <a:ext cx="9144000" cy="603647"/>
          </a:xfrm>
          <a:prstGeom prst="rect">
            <a:avLst/>
          </a:prstGeom>
        </p:spPr>
        <p:txBody>
          <a:bodyPr/>
          <a:lstStyle>
            <a:lvl1pPr marL="0" indent="0">
              <a:buNone/>
              <a:defRPr sz="1050">
                <a:solidFill>
                  <a:schemeClr val="bg2">
                    <a:lumMod val="50000"/>
                  </a:schemeClr>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de-DE" dirty="0"/>
              <a:t>Erklärung</a:t>
            </a:r>
          </a:p>
        </p:txBody>
      </p:sp>
      <p:sp>
        <p:nvSpPr>
          <p:cNvPr id="7" name="Foliennummernplatzhalter 6"/>
          <p:cNvSpPr>
            <a:spLocks noGrp="1"/>
          </p:cNvSpPr>
          <p:nvPr>
            <p:ph type="sldNum" sz="quarter" idx="12"/>
          </p:nvPr>
        </p:nvSpPr>
        <p:spPr>
          <a:xfrm>
            <a:off x="8316417" y="4848277"/>
            <a:ext cx="812221" cy="273844"/>
          </a:xfrm>
          <a:prstGeom prst="rect">
            <a:avLst/>
          </a:prstGeom>
        </p:spPr>
        <p:txBody>
          <a:bodyPr/>
          <a:lstStyle/>
          <a:p>
            <a:fld id="{94C51DEF-A0F2-436A-B446-D206BED377C1}" type="slidenum">
              <a:rPr lang="de-DE" smtClean="0"/>
              <a:t>‹Nr.›</a:t>
            </a:fld>
            <a:endParaRPr lang="de-DE" dirty="0"/>
          </a:p>
        </p:txBody>
      </p:sp>
    </p:spTree>
    <p:extLst>
      <p:ext uri="{BB962C8B-B14F-4D97-AF65-F5344CB8AC3E}">
        <p14:creationId xmlns:p14="http://schemas.microsoft.com/office/powerpoint/2010/main" val="259087939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a:xfrm>
            <a:off x="8316417" y="4848277"/>
            <a:ext cx="812221" cy="273844"/>
          </a:xfrm>
          <a:prstGeom prst="rect">
            <a:avLst/>
          </a:prstGeom>
        </p:spPr>
        <p:txBody>
          <a:bodyPr/>
          <a:lstStyle/>
          <a:p>
            <a:fld id="{94C51DEF-A0F2-436A-B446-D206BED377C1}" type="slidenum">
              <a:rPr lang="de-DE" smtClean="0"/>
              <a:t>‹Nr.›</a:t>
            </a:fld>
            <a:endParaRPr lang="de-DE" dirty="0"/>
          </a:p>
        </p:txBody>
      </p:sp>
      <p:sp>
        <p:nvSpPr>
          <p:cNvPr id="8" name="Textplatzhalter 10"/>
          <p:cNvSpPr>
            <a:spLocks noGrp="1"/>
          </p:cNvSpPr>
          <p:nvPr>
            <p:ph idx="1"/>
          </p:nvPr>
        </p:nvSpPr>
        <p:spPr>
          <a:xfrm>
            <a:off x="457200" y="897565"/>
            <a:ext cx="8229600" cy="3697058"/>
          </a:xfrm>
          <a:prstGeom prst="rect">
            <a:avLst/>
          </a:prstGeom>
        </p:spPr>
        <p:txBody>
          <a:bodyPr vert="horz" lIns="91440" tIns="45720" rIns="91440" bIns="45720" rtlCol="0">
            <a:normAutofit/>
          </a:bodyPr>
          <a:lstStyle>
            <a:lvl1pPr marL="428625" indent="-428625">
              <a:buFont typeface="Arial" panose="020B0604020202020204" pitchFamily="34" charset="0"/>
              <a:buChar char="•"/>
              <a:defRPr sz="3300">
                <a:solidFill>
                  <a:schemeClr val="bg2"/>
                </a:solidFill>
              </a:defRPr>
            </a:lvl1pPr>
            <a:lvl2pPr marL="771525" indent="-428625">
              <a:buFont typeface="Arial" panose="020B0604020202020204" pitchFamily="34" charset="0"/>
              <a:buChar char="•"/>
              <a:defRPr sz="3000">
                <a:solidFill>
                  <a:schemeClr val="bg2"/>
                </a:solidFill>
              </a:defRPr>
            </a:lvl2pPr>
            <a:lvl3pPr marL="1114425" indent="-428625">
              <a:buFont typeface="Arial" panose="020B0604020202020204" pitchFamily="34" charset="0"/>
              <a:buChar char="•"/>
              <a:defRPr sz="2700">
                <a:solidFill>
                  <a:schemeClr val="bg2"/>
                </a:solidFill>
              </a:defRPr>
            </a:lvl3pPr>
            <a:lvl4pPr marL="1457325" indent="-428625">
              <a:buFont typeface="Arial" panose="020B0604020202020204" pitchFamily="34" charset="0"/>
              <a:buChar char="•"/>
              <a:defRPr sz="2700">
                <a:solidFill>
                  <a:schemeClr val="bg2"/>
                </a:solidFill>
              </a:defRPr>
            </a:lvl4pPr>
            <a:lvl5pPr marL="1714500" indent="-342900">
              <a:buFont typeface="Arial" panose="020B0604020202020204" pitchFamily="34" charset="0"/>
              <a:buChar char="•"/>
              <a:defRPr sz="2400">
                <a:solidFill>
                  <a:schemeClr val="bg2"/>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7562947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Contenidos (alter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449818" y="240213"/>
            <a:ext cx="8567183" cy="540544"/>
          </a:xfrm>
        </p:spPr>
        <p:txBody>
          <a:bodyPr/>
          <a:lstStyle>
            <a:lvl1pPr>
              <a:defRPr/>
            </a:lvl1pPr>
          </a:lstStyle>
          <a:p>
            <a:r>
              <a:rPr lang="es-ES"/>
              <a:t>Añadir título haciendo clic</a:t>
            </a:r>
            <a:endParaRPr lang="es-ES" dirty="0"/>
          </a:p>
        </p:txBody>
      </p:sp>
      <p:sp>
        <p:nvSpPr>
          <p:cNvPr id="12" name="Textplatzhalter 7">
            <a:extLst>
              <a:ext uri="{FF2B5EF4-FFF2-40B4-BE49-F238E27FC236}">
                <a16:creationId xmlns:a16="http://schemas.microsoft.com/office/drawing/2014/main" id="{32E1886A-3475-4E66-B3BF-1AD48A2030B2}"/>
              </a:ext>
            </a:extLst>
          </p:cNvPr>
          <p:cNvSpPr>
            <a:spLocks noGrp="1"/>
          </p:cNvSpPr>
          <p:nvPr>
            <p:ph type="body" sz="quarter" idx="13" hasCustomPrompt="1"/>
          </p:nvPr>
        </p:nvSpPr>
        <p:spPr bwMode="gray">
          <a:xfrm>
            <a:off x="449818" y="1020970"/>
            <a:ext cx="7172684" cy="2810133"/>
          </a:xfrm>
        </p:spPr>
        <p:txBody>
          <a:bodyPr/>
          <a:lstStyle>
            <a:lvl1pPr marL="171450" marR="0" indent="-171450" algn="l" defTabSz="514350" rtl="0" eaLnBrk="1" fontAlgn="auto" latinLnBrk="0" hangingPunct="1">
              <a:lnSpc>
                <a:spcPct val="90000"/>
              </a:lnSpc>
              <a:spcBef>
                <a:spcPts val="1350"/>
              </a:spcBef>
              <a:spcAft>
                <a:spcPts val="0"/>
              </a:spcAft>
              <a:buClrTx/>
              <a:buSzTx/>
              <a:buFont typeface="+mj-lt"/>
              <a:buAutoNum type="arabicPeriod"/>
              <a:tabLst/>
              <a:defRPr/>
            </a:lvl1pPr>
          </a:lstStyle>
          <a:p>
            <a:pPr marL="171450" marR="0" lvl="0" indent="-171450" algn="l" defTabSz="514350" rtl="0" eaLnBrk="1" fontAlgn="auto" latinLnBrk="0" hangingPunct="1">
              <a:lnSpc>
                <a:spcPct val="90000"/>
              </a:lnSpc>
              <a:spcBef>
                <a:spcPts val="1350"/>
              </a:spcBef>
              <a:spcAft>
                <a:spcPts val="0"/>
              </a:spcAft>
              <a:buClrTx/>
              <a:buSzTx/>
              <a:buFont typeface="+mj-lt"/>
              <a:buAutoNum type="arabicPeriod"/>
              <a:tabLst/>
              <a:defRPr/>
            </a:pPr>
            <a:r>
              <a:rPr lang="es-ES"/>
              <a:t>Añadir texto haciendo clic</a:t>
            </a:r>
            <a:endParaRPr lang="es-ES" dirty="0"/>
          </a:p>
        </p:txBody>
      </p:sp>
      <p:sp>
        <p:nvSpPr>
          <p:cNvPr id="5" name="Foliennummernplatzhalter 4">
            <a:extLst>
              <a:ext uri="{FF2B5EF4-FFF2-40B4-BE49-F238E27FC236}">
                <a16:creationId xmlns:a16="http://schemas.microsoft.com/office/drawing/2014/main" id="{6388B433-E536-4FD9-8D5D-412BCD853BD4}"/>
              </a:ext>
            </a:extLst>
          </p:cNvPr>
          <p:cNvSpPr>
            <a:spLocks noGrp="1"/>
          </p:cNvSpPr>
          <p:nvPr>
            <p:ph type="sldNum" sz="quarter" idx="16"/>
          </p:nvPr>
        </p:nvSpPr>
        <p:spPr>
          <a:xfrm>
            <a:off x="8316417" y="4848277"/>
            <a:ext cx="812221" cy="273844"/>
          </a:xfrm>
          <a:prstGeom prst="rect">
            <a:avLst/>
          </a:prstGeom>
        </p:spPr>
        <p:txBody>
          <a:bodyPr/>
          <a:lstStyle/>
          <a:p>
            <a:r>
              <a:rPr lang="es-ES" dirty="0"/>
              <a:t>Página </a:t>
            </a:r>
            <a:fld id="{3A8B5DB7-81A8-4ED4-916B-6B23CD603687}" type="slidenum">
              <a:rPr lang="es-ES" smtClean="0"/>
              <a:pPr/>
              <a:t>‹Nr.›</a:t>
            </a:fld>
            <a:endParaRPr lang="es-ES" dirty="0"/>
          </a:p>
        </p:txBody>
      </p:sp>
    </p:spTree>
    <p:extLst>
      <p:ext uri="{BB962C8B-B14F-4D97-AF65-F5344CB8AC3E}">
        <p14:creationId xmlns:p14="http://schemas.microsoft.com/office/powerpoint/2010/main" val="2281992177"/>
      </p:ext>
    </p:extLst>
  </p:cSld>
  <p:clrMapOvr>
    <a:masterClrMapping/>
  </p:clrMapOvr>
  <p:transition>
    <p:fade/>
  </p:transition>
  <p:extLst>
    <p:ext uri="{DCECCB84-F9BA-43D5-87BE-67443E8EF086}">
      <p15:sldGuideLst xmlns:p15="http://schemas.microsoft.com/office/powerpoint/2012/main">
        <p15:guide id="1" orient="horz" pos="2845">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cSld name="2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143000" y="841772"/>
            <a:ext cx="6858000" cy="1790700"/>
          </a:xfrm>
        </p:spPr>
        <p:txBody>
          <a:bodyPr anchor="b"/>
          <a:lstStyle>
            <a:lvl1pPr algn="ctr">
              <a:defRPr sz="3375"/>
            </a:lvl1pPr>
          </a:lstStyle>
          <a:p>
            <a:r>
              <a:rPr lang="de-DE"/>
              <a:t>Titelmasterformat durch Klicken bearbeiten</a:t>
            </a:r>
          </a:p>
        </p:txBody>
      </p:sp>
      <p:sp>
        <p:nvSpPr>
          <p:cNvPr id="3" name="Untertitel 2"/>
          <p:cNvSpPr>
            <a:spLocks noGrp="1"/>
          </p:cNvSpPr>
          <p:nvPr>
            <p:ph type="subTitle" idx="1"/>
          </p:nvPr>
        </p:nvSpPr>
        <p:spPr>
          <a:xfrm>
            <a:off x="1143000" y="2701528"/>
            <a:ext cx="6858000" cy="1241822"/>
          </a:xfrm>
        </p:spPr>
        <p:txBody>
          <a:bodyPr/>
          <a:lstStyle>
            <a:lvl1pPr marL="0" indent="0" algn="ctr">
              <a:buNone/>
              <a:defRPr sz="1350"/>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de-DE"/>
              <a:t>Formatvorlage des Untertitelmasters durch Klicken bearbeiten</a:t>
            </a:r>
          </a:p>
        </p:txBody>
      </p:sp>
    </p:spTree>
    <p:extLst>
      <p:ext uri="{BB962C8B-B14F-4D97-AF65-F5344CB8AC3E}">
        <p14:creationId xmlns:p14="http://schemas.microsoft.com/office/powerpoint/2010/main" val="17123291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Image fullsiz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556921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54" name="think-cell Folie" r:id="rId4" imgW="245" imgH="245" progId="TCLayout.ActiveDocument.1">
                  <p:embed/>
                </p:oleObj>
              </mc:Choice>
              <mc:Fallback>
                <p:oleObj name="think-cell Folie" r:id="rId4" imgW="245" imgH="24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3"/>
          <p:cNvSpPr>
            <a:spLocks noGrp="1"/>
          </p:cNvSpPr>
          <p:nvPr>
            <p:ph type="pic" sz="quarter" idx="18" hasCustomPrompt="1"/>
          </p:nvPr>
        </p:nvSpPr>
        <p:spPr bwMode="gray">
          <a:xfrm>
            <a:off x="0" y="0"/>
            <a:ext cx="9144000" cy="4675499"/>
          </a:xfrm>
          <a:prstGeom prst="rect">
            <a:avLst/>
          </a:prstGeom>
          <a:solidFill>
            <a:schemeClr val="accent3"/>
          </a:solidFill>
        </p:spPr>
        <p:txBody>
          <a:bodyPr anchor="ctr"/>
          <a:lstStyle>
            <a:lvl1pPr algn="ctr">
              <a:defRPr>
                <a:solidFill>
                  <a:schemeClr val="tx1"/>
                </a:solidFill>
              </a:defRPr>
            </a:lvl1pPr>
          </a:lstStyle>
          <a:p>
            <a:r>
              <a:rPr lang="de-DE" noProof="0" dirty="0"/>
              <a:t>Klicke auf das Icon, um ein Bild einzufügen</a:t>
            </a:r>
            <a:br>
              <a:rPr lang="de-DE" noProof="0" dirty="0"/>
            </a:br>
            <a:endParaRPr lang="de-DE" noProof="0" dirty="0"/>
          </a:p>
        </p:txBody>
      </p:sp>
      <p:sp>
        <p:nvSpPr>
          <p:cNvPr id="4" name="Titel 3"/>
          <p:cNvSpPr>
            <a:spLocks noGrp="1"/>
          </p:cNvSpPr>
          <p:nvPr>
            <p:ph type="title"/>
          </p:nvPr>
        </p:nvSpPr>
        <p:spPr>
          <a:xfrm>
            <a:off x="-1" y="4675500"/>
            <a:ext cx="9144001" cy="468000"/>
          </a:xfrm>
          <a:solidFill>
            <a:schemeClr val="tx1"/>
          </a:solidFill>
        </p:spPr>
        <p:txBody>
          <a:bodyPr anchor="ctr"/>
          <a:lstStyle>
            <a:lvl1pPr algn="ctr">
              <a:defRPr>
                <a:solidFill>
                  <a:schemeClr val="bg1"/>
                </a:solidFill>
              </a:defRPr>
            </a:lvl1pPr>
          </a:lstStyle>
          <a:p>
            <a:r>
              <a:rPr lang="de-DE"/>
              <a:t>Titelmasterformat durch Klicken bearbeiten</a:t>
            </a:r>
            <a:endParaRPr lang="en-US" dirty="0"/>
          </a:p>
        </p:txBody>
      </p:sp>
      <p:sp>
        <p:nvSpPr>
          <p:cNvPr id="5" name="Datumsplatzhalter 4"/>
          <p:cNvSpPr>
            <a:spLocks noGrp="1"/>
          </p:cNvSpPr>
          <p:nvPr>
            <p:ph type="dt" sz="half" idx="19"/>
          </p:nvPr>
        </p:nvSpPr>
        <p:spPr>
          <a:xfrm>
            <a:off x="7776356" y="5200042"/>
            <a:ext cx="720079" cy="136050"/>
          </a:xfrm>
          <a:prstGeom prst="rect">
            <a:avLst/>
          </a:prstGeom>
        </p:spPr>
        <p:txBody>
          <a:bodyPr/>
          <a:lstStyle/>
          <a:p>
            <a:endParaRPr lang="de-DE" dirty="0"/>
          </a:p>
        </p:txBody>
      </p:sp>
      <p:sp>
        <p:nvSpPr>
          <p:cNvPr id="6" name="Fußzeilenplatzhalter 5"/>
          <p:cNvSpPr>
            <a:spLocks noGrp="1"/>
          </p:cNvSpPr>
          <p:nvPr>
            <p:ph type="ftr" sz="quarter" idx="20"/>
          </p:nvPr>
        </p:nvSpPr>
        <p:spPr>
          <a:xfrm>
            <a:off x="5543550" y="5200042"/>
            <a:ext cx="2232806" cy="136050"/>
          </a:xfrm>
          <a:prstGeom prst="rect">
            <a:avLst/>
          </a:prstGeom>
        </p:spPr>
        <p:txBody>
          <a:bodyPr/>
          <a:lstStyle/>
          <a:p>
            <a:endParaRPr lang="de-DE" dirty="0"/>
          </a:p>
        </p:txBody>
      </p:sp>
      <p:sp>
        <p:nvSpPr>
          <p:cNvPr id="7" name="Foliennummernplatzhalter 6"/>
          <p:cNvSpPr>
            <a:spLocks noGrp="1"/>
          </p:cNvSpPr>
          <p:nvPr>
            <p:ph type="sldNum" sz="quarter" idx="21"/>
          </p:nvPr>
        </p:nvSpPr>
        <p:spPr>
          <a:xfrm>
            <a:off x="8496436" y="5200042"/>
            <a:ext cx="647565" cy="136050"/>
          </a:xfrm>
          <a:prstGeom prst="rect">
            <a:avLst/>
          </a:prstGeom>
        </p:spPr>
        <p:txBody>
          <a:bodyPr/>
          <a:lstStyle/>
          <a:p>
            <a:r>
              <a:rPr lang="de-DE" dirty="0">
                <a:sym typeface="Wingdings"/>
              </a:rPr>
              <a:t>  </a:t>
            </a:r>
            <a:fld id="{443B15C8-972D-49F6-9B7C-5A2154A8C95F}" type="slidenum">
              <a:rPr lang="de-DE" smtClean="0"/>
              <a:pPr/>
              <a:t>‹Nr.›</a:t>
            </a:fld>
            <a:endParaRPr lang="de-DE" dirty="0"/>
          </a:p>
        </p:txBody>
      </p:sp>
    </p:spTree>
    <p:extLst>
      <p:ext uri="{BB962C8B-B14F-4D97-AF65-F5344CB8AC3E}">
        <p14:creationId xmlns:p14="http://schemas.microsoft.com/office/powerpoint/2010/main" val="102750217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a:t>Titelmasterformat durch Klicken bearbeiten</a:t>
            </a:r>
            <a:endParaRPr lang="en-US"/>
          </a:p>
        </p:txBody>
      </p:sp>
      <p:sp>
        <p:nvSpPr>
          <p:cNvPr id="8" name="Text Placeholder 4"/>
          <p:cNvSpPr>
            <a:spLocks noGrp="1"/>
          </p:cNvSpPr>
          <p:nvPr>
            <p:ph type="body" sz="quarter" idx="20" hasCustomPrompt="1"/>
          </p:nvPr>
        </p:nvSpPr>
        <p:spPr bwMode="gray">
          <a:xfrm>
            <a:off x="395287" y="267494"/>
            <a:ext cx="8353425" cy="180181"/>
          </a:xfrm>
        </p:spPr>
        <p:txBody>
          <a:bodyPr vert="horz" wrap="none" lIns="0" tIns="0" rIns="72000" bIns="18000" rtlCol="0" anchor="b">
            <a:noAutofit/>
          </a:bodyPr>
          <a:lstStyle>
            <a:lvl1pPr>
              <a:defRPr lang="de-DE" sz="1000" b="0" cap="all" baseline="0" noProof="0" dirty="0">
                <a:solidFill>
                  <a:schemeClr val="accent4"/>
                </a:solidFill>
              </a:defRPr>
            </a:lvl1pPr>
          </a:lstStyle>
          <a:p>
            <a:pPr lvl="0">
              <a:lnSpc>
                <a:spcPct val="100000"/>
              </a:lnSpc>
              <a:spcBef>
                <a:spcPts val="0"/>
              </a:spcBef>
              <a:spcAft>
                <a:spcPts val="0"/>
              </a:spcAft>
            </a:pPr>
            <a:r>
              <a:rPr lang="de-DE" noProof="0" dirty="0"/>
              <a:t>Kapitelüberschrift (OPTIONAL)</a:t>
            </a:r>
          </a:p>
        </p:txBody>
      </p:sp>
      <p:sp>
        <p:nvSpPr>
          <p:cNvPr id="10" name="Textplatzhalter 4"/>
          <p:cNvSpPr>
            <a:spLocks noGrp="1"/>
          </p:cNvSpPr>
          <p:nvPr>
            <p:ph type="body" sz="quarter" idx="28" hasCustomPrompt="1"/>
          </p:nvPr>
        </p:nvSpPr>
        <p:spPr>
          <a:xfrm>
            <a:off x="395287" y="4836160"/>
            <a:ext cx="4176713" cy="136050"/>
          </a:xfrm>
        </p:spPr>
        <p:txBody>
          <a:bodyPr rIns="72000" anchor="b"/>
          <a:lstStyle>
            <a:lvl1pPr marL="0" indent="0">
              <a:lnSpc>
                <a:spcPct val="90000"/>
              </a:lnSpc>
              <a:spcBef>
                <a:spcPts val="0"/>
              </a:spcBef>
              <a:spcAft>
                <a:spcPts val="0"/>
              </a:spcAft>
              <a:buFont typeface="Arial" panose="020B0604020202020204" pitchFamily="34" charset="0"/>
              <a:buNone/>
              <a:defRPr sz="600" b="0" cap="none" baseline="0">
                <a:solidFill>
                  <a:schemeClr val="tx2"/>
                </a:solidFill>
              </a:defRPr>
            </a:lvl1pPr>
            <a:lvl2pPr marL="0" indent="0">
              <a:lnSpc>
                <a:spcPct val="90000"/>
              </a:lnSpc>
              <a:spcBef>
                <a:spcPts val="0"/>
              </a:spcBef>
              <a:spcAft>
                <a:spcPts val="0"/>
              </a:spcAft>
              <a:buFont typeface="Arial" panose="020B0604020202020204" pitchFamily="34" charset="0"/>
              <a:buNone/>
              <a:defRPr sz="600" b="0" cap="none" baseline="0">
                <a:solidFill>
                  <a:schemeClr val="tx2"/>
                </a:solidFill>
              </a:defRPr>
            </a:lvl2pPr>
            <a:lvl3pPr marL="0" indent="0">
              <a:lnSpc>
                <a:spcPct val="90000"/>
              </a:lnSpc>
              <a:spcBef>
                <a:spcPts val="0"/>
              </a:spcBef>
              <a:spcAft>
                <a:spcPts val="0"/>
              </a:spcAft>
              <a:buNone/>
              <a:defRPr sz="600" b="0" cap="none" baseline="0">
                <a:solidFill>
                  <a:schemeClr val="tx2"/>
                </a:solidFill>
              </a:defRPr>
            </a:lvl3pPr>
            <a:lvl4pPr marL="0" indent="0">
              <a:lnSpc>
                <a:spcPct val="90000"/>
              </a:lnSpc>
              <a:spcBef>
                <a:spcPts val="0"/>
              </a:spcBef>
              <a:spcAft>
                <a:spcPts val="0"/>
              </a:spcAft>
              <a:buNone/>
              <a:defRPr sz="600" b="0" cap="none" baseline="0">
                <a:solidFill>
                  <a:schemeClr val="tx2"/>
                </a:solidFill>
              </a:defRPr>
            </a:lvl4pPr>
            <a:lvl5pPr marL="0" indent="0">
              <a:lnSpc>
                <a:spcPct val="90000"/>
              </a:lnSpc>
              <a:spcBef>
                <a:spcPts val="0"/>
              </a:spcBef>
              <a:spcAft>
                <a:spcPts val="0"/>
              </a:spcAft>
              <a:buFont typeface="Arial" panose="020B0604020202020204" pitchFamily="34" charset="0"/>
              <a:buNone/>
              <a:defRPr sz="600" b="0" cap="none" baseline="0">
                <a:solidFill>
                  <a:schemeClr val="tx2"/>
                </a:solidFill>
              </a:defRPr>
            </a:lvl5pPr>
            <a:lvl6pPr marL="0" indent="0">
              <a:lnSpc>
                <a:spcPct val="90000"/>
              </a:lnSpc>
              <a:spcBef>
                <a:spcPts val="0"/>
              </a:spcBef>
              <a:spcAft>
                <a:spcPts val="0"/>
              </a:spcAft>
              <a:buFont typeface="Arial" panose="020B0604020202020204" pitchFamily="34" charset="0"/>
              <a:buNone/>
              <a:defRPr sz="600" b="0" cap="none" baseline="0">
                <a:solidFill>
                  <a:schemeClr val="tx2"/>
                </a:solidFill>
              </a:defRPr>
            </a:lvl6pPr>
            <a:lvl7pPr marL="0" indent="0">
              <a:lnSpc>
                <a:spcPct val="90000"/>
              </a:lnSpc>
              <a:spcBef>
                <a:spcPts val="0"/>
              </a:spcBef>
              <a:spcAft>
                <a:spcPts val="0"/>
              </a:spcAft>
              <a:buFont typeface="Arial" panose="020B0604020202020204" pitchFamily="34" charset="0"/>
              <a:buNone/>
              <a:defRPr sz="600" b="0" cap="none" baseline="0">
                <a:solidFill>
                  <a:schemeClr val="tx2"/>
                </a:solidFill>
              </a:defRPr>
            </a:lvl7pPr>
            <a:lvl8pPr marL="0" indent="0">
              <a:lnSpc>
                <a:spcPct val="90000"/>
              </a:lnSpc>
              <a:spcBef>
                <a:spcPts val="0"/>
              </a:spcBef>
              <a:spcAft>
                <a:spcPts val="0"/>
              </a:spcAft>
              <a:buFont typeface="Arial" panose="020B0604020202020204" pitchFamily="34" charset="0"/>
              <a:buNone/>
              <a:defRPr sz="600" b="0" cap="none" baseline="0">
                <a:solidFill>
                  <a:schemeClr val="tx2"/>
                </a:solidFill>
              </a:defRPr>
            </a:lvl8pPr>
            <a:lvl9pPr marL="0" indent="0">
              <a:lnSpc>
                <a:spcPct val="90000"/>
              </a:lnSpc>
              <a:spcBef>
                <a:spcPts val="0"/>
              </a:spcBef>
              <a:spcAft>
                <a:spcPts val="0"/>
              </a:spcAft>
              <a:buFont typeface="Arial" panose="020B0604020202020204" pitchFamily="34" charset="0"/>
              <a:buNone/>
              <a:defRPr sz="600" b="0" cap="none" baseline="0">
                <a:solidFill>
                  <a:schemeClr val="tx2"/>
                </a:solidFill>
              </a:defRPr>
            </a:lvl9pPr>
          </a:lstStyle>
          <a:p>
            <a:pPr lvl="0"/>
            <a:r>
              <a:rPr lang="de-DE" dirty="0"/>
              <a:t>Quelle</a:t>
            </a:r>
            <a:endParaRPr lang="en-US" dirty="0"/>
          </a:p>
        </p:txBody>
      </p:sp>
      <p:sp>
        <p:nvSpPr>
          <p:cNvPr id="9" name="Datumsplatzhalter 8"/>
          <p:cNvSpPr>
            <a:spLocks noGrp="1"/>
          </p:cNvSpPr>
          <p:nvPr>
            <p:ph type="dt" sz="half" idx="29"/>
          </p:nvPr>
        </p:nvSpPr>
        <p:spPr/>
        <p:txBody>
          <a:bodyPr/>
          <a:lstStyle/>
          <a:p>
            <a:endParaRPr lang="cs-CZ" dirty="0"/>
          </a:p>
        </p:txBody>
      </p:sp>
      <p:sp>
        <p:nvSpPr>
          <p:cNvPr id="11" name="Fußzeilenplatzhalter 10"/>
          <p:cNvSpPr>
            <a:spLocks noGrp="1"/>
          </p:cNvSpPr>
          <p:nvPr>
            <p:ph type="ftr" sz="quarter" idx="30"/>
          </p:nvPr>
        </p:nvSpPr>
        <p:spPr/>
        <p:txBody>
          <a:bodyPr/>
          <a:lstStyle/>
          <a:p>
            <a:endParaRPr lang="cs-CZ" noProof="0" dirty="0"/>
          </a:p>
        </p:txBody>
      </p:sp>
      <p:sp>
        <p:nvSpPr>
          <p:cNvPr id="12" name="Foliennummernplatzhalter 11"/>
          <p:cNvSpPr>
            <a:spLocks noGrp="1"/>
          </p:cNvSpPr>
          <p:nvPr>
            <p:ph type="sldNum" sz="quarter" idx="31"/>
          </p:nvPr>
        </p:nvSpPr>
        <p:spPr/>
        <p:txBody>
          <a:bodyPr/>
          <a:lstStyle/>
          <a:p>
            <a:r>
              <a:rPr lang="cs-CZ" noProof="0">
                <a:sym typeface="Wingdings"/>
              </a:rPr>
              <a:t>  </a:t>
            </a:r>
            <a:fld id="{443B15C8-972D-49F6-9B7C-5A2154A8C95F}" type="slidenum">
              <a:rPr lang="cs-CZ" noProof="0" smtClean="0"/>
              <a:pPr/>
              <a:t>‹Nr.›</a:t>
            </a:fld>
            <a:endParaRPr lang="cs-CZ" noProof="0" dirty="0"/>
          </a:p>
        </p:txBody>
      </p:sp>
    </p:spTree>
    <p:extLst>
      <p:ext uri="{BB962C8B-B14F-4D97-AF65-F5344CB8AC3E}">
        <p14:creationId xmlns:p14="http://schemas.microsoft.com/office/powerpoint/2010/main" val="342346363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image" Target="../media/image1.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oleObject" Target="../embeddings/oleObject8.bin"/><Relationship Id="rId2" Type="http://schemas.openxmlformats.org/officeDocument/2006/relationships/slideLayout" Target="../slideLayouts/slideLayout15.xml"/><Relationship Id="rId16" Type="http://schemas.openxmlformats.org/officeDocument/2006/relationships/tags" Target="../tags/tag10.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vmlDrawing" Target="../drawings/vmlDrawing8.v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image" Target="../media/image1.emf"/><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oleObject" Target="../embeddings/oleObject15.bin"/><Relationship Id="rId2" Type="http://schemas.openxmlformats.org/officeDocument/2006/relationships/slideLayout" Target="../slideLayouts/slideLayout28.xml"/><Relationship Id="rId16" Type="http://schemas.openxmlformats.org/officeDocument/2006/relationships/tags" Target="../tags/tag1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vmlDrawing" Target="../drawings/vmlDrawing15.v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oleObject" Target="../embeddings/oleObject22.bin"/><Relationship Id="rId2" Type="http://schemas.openxmlformats.org/officeDocument/2006/relationships/slideLayout" Target="../slideLayouts/slideLayout41.xml"/><Relationship Id="rId16" Type="http://schemas.openxmlformats.org/officeDocument/2006/relationships/tags" Target="../tags/tag26.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vmlDrawing" Target="../drawings/vmlDrawing22.v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image" Target="../media/image1.emf"/><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oleObject" Target="../embeddings/oleObject29.bin"/><Relationship Id="rId2" Type="http://schemas.openxmlformats.org/officeDocument/2006/relationships/slideLayout" Target="../slideLayouts/slideLayout54.xml"/><Relationship Id="rId16" Type="http://schemas.openxmlformats.org/officeDocument/2006/relationships/tags" Target="../tags/tag3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vmlDrawing" Target="../drawings/vmlDrawing29.v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68.xml"/><Relationship Id="rId7" Type="http://schemas.openxmlformats.org/officeDocument/2006/relationships/image" Target="../media/image6.jpeg"/><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image" Target="../media/image5.tiff"/><Relationship Id="rId5" Type="http://schemas.openxmlformats.org/officeDocument/2006/relationships/image" Target="../media/image4.jpeg"/><Relationship Id="rId10" Type="http://schemas.openxmlformats.org/officeDocument/2006/relationships/image" Target="../media/image9.jpeg"/><Relationship Id="rId4" Type="http://schemas.openxmlformats.org/officeDocument/2006/relationships/theme" Target="../theme/theme6.xml"/><Relationship Id="rId9" Type="http://schemas.openxmlformats.org/officeDocument/2006/relationships/image" Target="../media/image8.jpeg"/></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71.xml"/><Relationship Id="rId7" Type="http://schemas.openxmlformats.org/officeDocument/2006/relationships/slideLayout" Target="../slideLayouts/slideLayout75.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5" Type="http://schemas.openxmlformats.org/officeDocument/2006/relationships/slideLayout" Target="../slideLayouts/slideLayout73.xml"/><Relationship Id="rId10" Type="http://schemas.openxmlformats.org/officeDocument/2006/relationships/image" Target="../media/image10.tiff"/><Relationship Id="rId4" Type="http://schemas.openxmlformats.org/officeDocument/2006/relationships/slideLayout" Target="../slideLayouts/slideLayout72.xml"/><Relationship Id="rId9"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6"/>
            </p:custDataLst>
            <p:extLst>
              <p:ext uri="{D42A27DB-BD31-4B8C-83A1-F6EECF244321}">
                <p14:modId xmlns:p14="http://schemas.microsoft.com/office/powerpoint/2010/main" val="1216842141"/>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647" name="think-cell Folie" r:id="rId17" imgW="245" imgH="245" progId="TCLayout.ActiveDocument.1">
                  <p:embed/>
                </p:oleObj>
              </mc:Choice>
              <mc:Fallback>
                <p:oleObj name="think-cell Folie" r:id="rId17" imgW="245" imgH="245" progId="TCLayout.ActiveDocument.1">
                  <p:embed/>
                  <p:pic>
                    <p:nvPicPr>
                      <p:cNvPr id="0" name=""/>
                      <p:cNvPicPr/>
                      <p:nvPr/>
                    </p:nvPicPr>
                    <p:blipFill>
                      <a:blip r:embed="rId18"/>
                      <a:stretch>
                        <a:fillRect/>
                      </a:stretch>
                    </p:blipFill>
                    <p:spPr>
                      <a:xfrm>
                        <a:off x="1589" y="1192"/>
                        <a:ext cx="1587" cy="1190"/>
                      </a:xfrm>
                      <a:prstGeom prst="rect">
                        <a:avLst/>
                      </a:prstGeom>
                    </p:spPr>
                  </p:pic>
                </p:oleObj>
              </mc:Fallback>
            </mc:AlternateContent>
          </a:graphicData>
        </a:graphic>
      </p:graphicFrame>
      <p:sp>
        <p:nvSpPr>
          <p:cNvPr id="2" name="Title Placeholder 1"/>
          <p:cNvSpPr>
            <a:spLocks noGrp="1"/>
          </p:cNvSpPr>
          <p:nvPr>
            <p:ph type="title"/>
          </p:nvPr>
        </p:nvSpPr>
        <p:spPr bwMode="gray">
          <a:xfrm>
            <a:off x="395288" y="447675"/>
            <a:ext cx="8350079" cy="594427"/>
          </a:xfrm>
          <a:prstGeom prst="rect">
            <a:avLst/>
          </a:prstGeom>
        </p:spPr>
        <p:txBody>
          <a:bodyPr vert="horz" lIns="0" tIns="0" rIns="0" bIns="0" rtlCol="0" anchor="t">
            <a:noAutofit/>
          </a:bodyPr>
          <a:lstStyle/>
          <a:p>
            <a:r>
              <a:rPr lang="de-DE" noProof="0" dirty="0"/>
              <a:t>Folientitel</a:t>
            </a:r>
          </a:p>
        </p:txBody>
      </p:sp>
      <p:sp>
        <p:nvSpPr>
          <p:cNvPr id="3" name="Text Placeholder 2"/>
          <p:cNvSpPr>
            <a:spLocks noGrp="1"/>
          </p:cNvSpPr>
          <p:nvPr>
            <p:ph type="body" idx="1"/>
          </p:nvPr>
        </p:nvSpPr>
        <p:spPr bwMode="gray">
          <a:xfrm>
            <a:off x="395287" y="1131887"/>
            <a:ext cx="8350080" cy="3456087"/>
          </a:xfrm>
          <a:prstGeom prst="rect">
            <a:avLst/>
          </a:prstGeom>
        </p:spPr>
        <p:txBody>
          <a:bodyPr vert="horz" lIns="0" tIns="0" rIns="72000" bIns="0" rtlCol="0">
            <a:noAutofit/>
          </a:bodyPr>
          <a:lstStyle/>
          <a:p>
            <a:pPr lvl="0"/>
            <a:r>
              <a:rPr lang="de-DE" noProof="0" dirty="0"/>
              <a:t>Schreiben Sie hier Ihren Text.</a:t>
            </a:r>
          </a:p>
        </p:txBody>
      </p:sp>
      <p:sp>
        <p:nvSpPr>
          <p:cNvPr id="27" name="Date Placeholder 3"/>
          <p:cNvSpPr>
            <a:spLocks noGrp="1"/>
          </p:cNvSpPr>
          <p:nvPr>
            <p:ph type="dt" sz="half" idx="2"/>
          </p:nvPr>
        </p:nvSpPr>
        <p:spPr bwMode="gray">
          <a:xfrm>
            <a:off x="8100392" y="4836160"/>
            <a:ext cx="468051" cy="136050"/>
          </a:xfrm>
          <a:prstGeom prst="rect">
            <a:avLst/>
          </a:prstGeom>
        </p:spPr>
        <p:txBody>
          <a:bodyPr vert="horz" wrap="none" lIns="0" tIns="0" rIns="0" bIns="0" rtlCol="0" anchor="b"/>
          <a:lstStyle>
            <a:lvl1pPr algn="ctr">
              <a:defRPr sz="600">
                <a:solidFill>
                  <a:schemeClr val="accent1"/>
                </a:solidFill>
              </a:defRPr>
            </a:lvl1pPr>
          </a:lstStyle>
          <a:p>
            <a:endParaRPr lang="cs-CZ" dirty="0"/>
          </a:p>
        </p:txBody>
      </p:sp>
      <p:sp>
        <p:nvSpPr>
          <p:cNvPr id="28" name="Footer Placeholder 4"/>
          <p:cNvSpPr>
            <a:spLocks noGrp="1"/>
          </p:cNvSpPr>
          <p:nvPr>
            <p:ph type="ftr" sz="quarter" idx="3"/>
          </p:nvPr>
        </p:nvSpPr>
        <p:spPr bwMode="gray">
          <a:xfrm>
            <a:off x="5788992" y="4836160"/>
            <a:ext cx="2311400" cy="136050"/>
          </a:xfrm>
          <a:prstGeom prst="rect">
            <a:avLst/>
          </a:prstGeom>
        </p:spPr>
        <p:txBody>
          <a:bodyPr vert="horz" wrap="none" lIns="0" tIns="0" rIns="0" bIns="0" rtlCol="0" anchor="b"/>
          <a:lstStyle>
            <a:lvl1pPr algn="r">
              <a:defRPr sz="600">
                <a:solidFill>
                  <a:schemeClr val="accent1"/>
                </a:solidFill>
              </a:defRPr>
            </a:lvl1pPr>
          </a:lstStyle>
          <a:p>
            <a:endParaRPr lang="cs-CZ" noProof="0" dirty="0"/>
          </a:p>
        </p:txBody>
      </p:sp>
      <p:sp>
        <p:nvSpPr>
          <p:cNvPr id="29" name="Slide Number Placeholder 5"/>
          <p:cNvSpPr>
            <a:spLocks noGrp="1"/>
          </p:cNvSpPr>
          <p:nvPr>
            <p:ph type="sldNum" sz="quarter" idx="4"/>
          </p:nvPr>
        </p:nvSpPr>
        <p:spPr bwMode="gray">
          <a:xfrm>
            <a:off x="8568444" y="4836160"/>
            <a:ext cx="575557" cy="136050"/>
          </a:xfrm>
          <a:prstGeom prst="rect">
            <a:avLst/>
          </a:prstGeom>
        </p:spPr>
        <p:txBody>
          <a:bodyPr vert="horz" wrap="none" lIns="0" tIns="0" rIns="0" bIns="0" rtlCol="0" anchor="b"/>
          <a:lstStyle>
            <a:lvl1pPr algn="l">
              <a:defRPr sz="600" b="0">
                <a:solidFill>
                  <a:schemeClr val="accent1"/>
                </a:solidFill>
              </a:defRPr>
            </a:lvl1pPr>
          </a:lstStyle>
          <a:p>
            <a:r>
              <a:rPr lang="cs-CZ" noProof="0" dirty="0">
                <a:sym typeface="Wingdings"/>
              </a:rPr>
              <a:t>  </a:t>
            </a:r>
            <a:fld id="{443B15C8-972D-49F6-9B7C-5A2154A8C95F}" type="slidenum">
              <a:rPr lang="cs-CZ" noProof="0" smtClean="0"/>
              <a:pPr/>
              <a:t>‹Nr.›</a:t>
            </a:fld>
            <a:endParaRPr lang="cs-CZ" noProof="0" dirty="0"/>
          </a:p>
        </p:txBody>
      </p:sp>
      <p:grpSp>
        <p:nvGrpSpPr>
          <p:cNvPr id="30" name="Gruppieren 29"/>
          <p:cNvGrpSpPr/>
          <p:nvPr/>
        </p:nvGrpSpPr>
        <p:grpSpPr>
          <a:xfrm>
            <a:off x="-373329" y="-380578"/>
            <a:ext cx="9664396" cy="5679553"/>
            <a:chOff x="-373329" y="-380578"/>
            <a:chExt cx="9664396" cy="5679553"/>
          </a:xfrm>
        </p:grpSpPr>
        <p:sp>
          <p:nvSpPr>
            <p:cNvPr id="31" name="Textfeld 125"/>
            <p:cNvSpPr txBox="1"/>
            <p:nvPr userDrawn="1"/>
          </p:nvSpPr>
          <p:spPr bwMode="gray">
            <a:xfrm>
              <a:off x="169614" y="-137946"/>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11,60</a:t>
              </a:r>
            </a:p>
          </p:txBody>
        </p:sp>
        <p:cxnSp>
          <p:nvCxnSpPr>
            <p:cNvPr id="32" name="Gerade Verbindung 88"/>
            <p:cNvCxnSpPr/>
            <p:nvPr userDrawn="1"/>
          </p:nvCxnSpPr>
          <p:spPr bwMode="gray">
            <a:xfrm>
              <a:off x="395287" y="-380578"/>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Textfeld 125"/>
            <p:cNvSpPr txBox="1"/>
            <p:nvPr userDrawn="1"/>
          </p:nvSpPr>
          <p:spPr bwMode="gray">
            <a:xfrm>
              <a:off x="4468316" y="-247911"/>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0</a:t>
              </a:r>
            </a:p>
          </p:txBody>
        </p:sp>
        <p:cxnSp>
          <p:nvCxnSpPr>
            <p:cNvPr id="34" name="Gerade Verbindung 90"/>
            <p:cNvCxnSpPr/>
            <p:nvPr userDrawn="1"/>
          </p:nvCxnSpPr>
          <p:spPr bwMode="gray">
            <a:xfrm>
              <a:off x="4572000" y="-164554"/>
              <a:ext cx="0" cy="9465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feld 125"/>
            <p:cNvSpPr txBox="1"/>
            <p:nvPr userDrawn="1"/>
          </p:nvSpPr>
          <p:spPr bwMode="gray">
            <a:xfrm>
              <a:off x="8765420" y="-137946"/>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11,60</a:t>
              </a:r>
            </a:p>
          </p:txBody>
        </p:sp>
        <p:cxnSp>
          <p:nvCxnSpPr>
            <p:cNvPr id="36" name="Gerade Verbindung 95"/>
            <p:cNvCxnSpPr/>
            <p:nvPr userDrawn="1"/>
          </p:nvCxnSpPr>
          <p:spPr bwMode="gray">
            <a:xfrm>
              <a:off x="8745367" y="-380578"/>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Gerade Verbindung 96"/>
            <p:cNvCxnSpPr/>
            <p:nvPr userDrawn="1"/>
          </p:nvCxnSpPr>
          <p:spPr bwMode="gray">
            <a:xfrm>
              <a:off x="395287" y="5205375"/>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Gerade Verbindung 97"/>
            <p:cNvCxnSpPr/>
            <p:nvPr userDrawn="1"/>
          </p:nvCxnSpPr>
          <p:spPr bwMode="gray">
            <a:xfrm>
              <a:off x="4572000" y="5205375"/>
              <a:ext cx="0"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Gerade Verbindung 100"/>
            <p:cNvCxnSpPr/>
            <p:nvPr userDrawn="1"/>
          </p:nvCxnSpPr>
          <p:spPr bwMode="gray">
            <a:xfrm>
              <a:off x="8745367" y="5205375"/>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40" name="Textfeld 125"/>
            <p:cNvSpPr txBox="1"/>
            <p:nvPr userDrawn="1"/>
          </p:nvSpPr>
          <p:spPr bwMode="gray">
            <a:xfrm>
              <a:off x="-270016" y="4604219"/>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5,</a:t>
              </a:r>
              <a:r>
                <a:rPr lang="de-DE" sz="600" noProof="0" dirty="0">
                  <a:solidFill>
                    <a:schemeClr val="tx2"/>
                  </a:solidFill>
                </a:rPr>
                <a:t>6</a:t>
              </a:r>
              <a:r>
                <a:rPr lang="pl-PL" sz="600" noProof="0" dirty="0">
                  <a:solidFill>
                    <a:schemeClr val="tx2"/>
                  </a:solidFill>
                </a:rPr>
                <a:t>0</a:t>
              </a:r>
            </a:p>
          </p:txBody>
        </p:sp>
        <p:cxnSp>
          <p:nvCxnSpPr>
            <p:cNvPr id="41" name="Gerade Verbindung 103"/>
            <p:cNvCxnSpPr/>
            <p:nvPr userDrawn="1"/>
          </p:nvCxnSpPr>
          <p:spPr bwMode="gray">
            <a:xfrm rot="5400000">
              <a:off x="-217989" y="4425629"/>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Textfeld 125"/>
            <p:cNvSpPr txBox="1"/>
            <p:nvPr userDrawn="1"/>
          </p:nvSpPr>
          <p:spPr bwMode="gray">
            <a:xfrm>
              <a:off x="-270016" y="1042102"/>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4,00</a:t>
              </a:r>
            </a:p>
          </p:txBody>
        </p:sp>
        <p:cxnSp>
          <p:nvCxnSpPr>
            <p:cNvPr id="43" name="Gerade Verbindung 105"/>
            <p:cNvCxnSpPr/>
            <p:nvPr userDrawn="1"/>
          </p:nvCxnSpPr>
          <p:spPr bwMode="gray">
            <a:xfrm rot="5400000">
              <a:off x="-217989" y="970017"/>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44" name="Textfeld 125"/>
            <p:cNvSpPr txBox="1"/>
            <p:nvPr userDrawn="1"/>
          </p:nvSpPr>
          <p:spPr bwMode="gray">
            <a:xfrm>
              <a:off x="-325696" y="2825353"/>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0</a:t>
              </a:r>
              <a:r>
                <a:rPr lang="de-DE" sz="600" noProof="0" dirty="0">
                  <a:solidFill>
                    <a:schemeClr val="tx2"/>
                  </a:solidFill>
                </a:rPr>
                <a:t>,8</a:t>
              </a:r>
              <a:endParaRPr lang="pl-PL" sz="600" noProof="0" dirty="0">
                <a:solidFill>
                  <a:schemeClr val="tx2"/>
                </a:solidFill>
              </a:endParaRPr>
            </a:p>
          </p:txBody>
        </p:sp>
        <p:cxnSp>
          <p:nvCxnSpPr>
            <p:cNvPr id="45" name="Gerade Verbindung 107"/>
            <p:cNvCxnSpPr/>
            <p:nvPr userDrawn="1"/>
          </p:nvCxnSpPr>
          <p:spPr bwMode="gray">
            <a:xfrm rot="16200000">
              <a:off x="-109977" y="2815134"/>
              <a:ext cx="0" cy="9465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 Verbindung 108"/>
            <p:cNvCxnSpPr/>
            <p:nvPr userDrawn="1"/>
          </p:nvCxnSpPr>
          <p:spPr bwMode="gray">
            <a:xfrm rot="5400000">
              <a:off x="9244266" y="4534169"/>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Gerade Verbindung 109"/>
            <p:cNvCxnSpPr/>
            <p:nvPr userDrawn="1"/>
          </p:nvCxnSpPr>
          <p:spPr bwMode="gray">
            <a:xfrm rot="5400000">
              <a:off x="9244266" y="1078557"/>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Gerade Verbindung 110"/>
            <p:cNvCxnSpPr/>
            <p:nvPr userDrawn="1"/>
          </p:nvCxnSpPr>
          <p:spPr bwMode="gray">
            <a:xfrm rot="16200000">
              <a:off x="9244266" y="2815662"/>
              <a:ext cx="0"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81487306"/>
      </p:ext>
    </p:extLst>
  </p:cSld>
  <p:clrMap bg1="lt1" tx1="dk1" bg2="lt2" tx2="dk2" accent1="accent1" accent2="accent2" accent3="accent3" accent4="accent4" accent5="accent5" accent6="accent6" hlink="hlink" folHlink="folHlink"/>
  <p:sldLayoutIdLst>
    <p:sldLayoutId id="2147483671" r:id="rId1"/>
    <p:sldLayoutId id="2147483668" r:id="rId2"/>
    <p:sldLayoutId id="2147483650" r:id="rId3"/>
    <p:sldLayoutId id="2147483651" r:id="rId4"/>
    <p:sldLayoutId id="2147483652" r:id="rId5"/>
    <p:sldLayoutId id="2147483655" r:id="rId6"/>
    <p:sldLayoutId id="2147483654" r:id="rId7"/>
    <p:sldLayoutId id="2147483659" r:id="rId8"/>
    <p:sldLayoutId id="2147483660" r:id="rId9"/>
    <p:sldLayoutId id="2147483664" r:id="rId10"/>
    <p:sldLayoutId id="2147483672" r:id="rId11"/>
    <p:sldLayoutId id="2147483673" r:id="rId12"/>
    <p:sldLayoutId id="2147483674" r:id="rId13"/>
  </p:sldLayoutIdLst>
  <p:transition>
    <p:fade/>
  </p:transition>
  <p:hf sldNum="0" hdr="0" ftr="0" dt="0"/>
  <p:txStyles>
    <p:titleStyle>
      <a:lvl1pPr algn="l" defTabSz="914400" rtl="0" eaLnBrk="1" latinLnBrk="0" hangingPunct="1">
        <a:lnSpc>
          <a:spcPct val="90000"/>
        </a:lnSpc>
        <a:spcBef>
          <a:spcPct val="0"/>
        </a:spcBef>
        <a:buNone/>
        <a:defRPr sz="18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300"/>
        </a:spcAft>
        <a:buClr>
          <a:schemeClr val="tx2"/>
        </a:buClr>
        <a:buFont typeface="Kaufland Office" panose="020B0503040000020003" pitchFamily="34" charset="0"/>
        <a:buChar char="−"/>
        <a:defRPr sz="1200" b="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300"/>
        </a:spcAft>
        <a:buClr>
          <a:schemeClr val="tx2"/>
        </a:buClr>
        <a:buSzPct val="90000"/>
        <a:buFont typeface="Kaufland Office" panose="020B0503040000020003" pitchFamily="34" charset="0"/>
        <a:buChar char="−"/>
        <a:defRPr sz="1200" kern="1200">
          <a:solidFill>
            <a:schemeClr val="tx1"/>
          </a:solidFill>
          <a:latin typeface="+mn-lt"/>
          <a:ea typeface="+mn-ea"/>
          <a:cs typeface="+mn-cs"/>
        </a:defRPr>
      </a:lvl3pPr>
      <a:lvl4pPr marL="180000" indent="-180000" algn="l" defTabSz="914400" rtl="0" eaLnBrk="1" latinLnBrk="0" hangingPunct="1">
        <a:lnSpc>
          <a:spcPct val="110000"/>
        </a:lnSpc>
        <a:spcBef>
          <a:spcPts val="300"/>
        </a:spcBef>
        <a:spcAft>
          <a:spcPts val="300"/>
        </a:spcAft>
        <a:buClr>
          <a:schemeClr val="tx2"/>
        </a:buClr>
        <a:buSzPct val="90000"/>
        <a:buFont typeface="+mj-lt"/>
        <a:buAutoNum type="arabicPeriod"/>
        <a:defRPr sz="1200" kern="1200">
          <a:solidFill>
            <a:schemeClr val="tx1"/>
          </a:solidFill>
          <a:latin typeface="+mn-lt"/>
          <a:ea typeface="+mn-ea"/>
          <a:cs typeface="+mn-cs"/>
        </a:defRPr>
      </a:lvl4pPr>
      <a:lvl5pPr marL="360000" indent="-180975" algn="l" defTabSz="914400" rtl="0" eaLnBrk="1" latinLnBrk="0" hangingPunct="1">
        <a:lnSpc>
          <a:spcPct val="110000"/>
        </a:lnSpc>
        <a:spcBef>
          <a:spcPts val="300"/>
        </a:spcBef>
        <a:spcAft>
          <a:spcPts val="300"/>
        </a:spcAft>
        <a:buClr>
          <a:schemeClr val="tx2"/>
        </a:buClr>
        <a:buSzPct val="100000"/>
        <a:buFont typeface="+mj-lt"/>
        <a:buAutoNum type="alphaLcPeriod"/>
        <a:defRPr sz="1200" kern="1200" baseline="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Clr>
          <a:schemeClr val="tx2"/>
        </a:buClr>
        <a:buFont typeface="+mj-lt"/>
        <a:buNone/>
        <a:defRPr sz="1400" b="1" kern="1200" cap="all" baseline="0">
          <a:solidFill>
            <a:schemeClr val="accent4"/>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None/>
        <a:defRPr sz="1400" b="1" kern="1200" cap="all" baseline="0">
          <a:solidFill>
            <a:schemeClr val="accent1"/>
          </a:solidFill>
          <a:latin typeface="+mn-lt"/>
          <a:ea typeface="+mn-ea"/>
          <a:cs typeface="+mn-cs"/>
        </a:defRPr>
      </a:lvl7pPr>
      <a:lvl8pPr marL="0" indent="0" algn="l" defTabSz="914400" rtl="0" eaLnBrk="1" latinLnBrk="0" hangingPunct="1">
        <a:lnSpc>
          <a:spcPct val="100000"/>
        </a:lnSpc>
        <a:spcBef>
          <a:spcPts val="300"/>
        </a:spcBef>
        <a:spcAft>
          <a:spcPts val="300"/>
        </a:spcAft>
        <a:buFont typeface="Arial" panose="020B0604020202020204" pitchFamily="34" charset="0"/>
        <a:buNone/>
        <a:defRPr sz="1400" b="1" kern="1200" cap="all" baseline="0">
          <a:solidFill>
            <a:schemeClr val="bg2"/>
          </a:solidFill>
          <a:latin typeface="+mn-lt"/>
          <a:ea typeface="+mn-ea"/>
          <a:cs typeface="+mn-cs"/>
        </a:defRPr>
      </a:lvl8pPr>
      <a:lvl9pPr marL="0" indent="0" algn="l" defTabSz="914400" rtl="0" eaLnBrk="1" latinLnBrk="0" hangingPunct="1">
        <a:lnSpc>
          <a:spcPct val="110000"/>
        </a:lnSpc>
        <a:spcBef>
          <a:spcPts val="300"/>
        </a:spcBef>
        <a:spcAft>
          <a:spcPts val="300"/>
        </a:spcAft>
        <a:buFont typeface="Arial" panose="020B0604020202020204" pitchFamily="34" charset="0"/>
        <a:buNone/>
        <a:defRPr sz="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6"/>
            </p:custDataLst>
            <p:extLst>
              <p:ext uri="{D42A27DB-BD31-4B8C-83A1-F6EECF244321}">
                <p14:modId xmlns:p14="http://schemas.microsoft.com/office/powerpoint/2010/main" val="1216842141"/>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28244" name="think-cell Folie" r:id="rId17" imgW="245" imgH="245" progId="TCLayout.ActiveDocument.1">
                  <p:embed/>
                </p:oleObj>
              </mc:Choice>
              <mc:Fallback>
                <p:oleObj name="think-cell Folie" r:id="rId17" imgW="245" imgH="245" progId="TCLayout.ActiveDocument.1">
                  <p:embed/>
                  <p:pic>
                    <p:nvPicPr>
                      <p:cNvPr id="0" name=""/>
                      <p:cNvPicPr/>
                      <p:nvPr/>
                    </p:nvPicPr>
                    <p:blipFill>
                      <a:blip r:embed="rId18"/>
                      <a:stretch>
                        <a:fillRect/>
                      </a:stretch>
                    </p:blipFill>
                    <p:spPr>
                      <a:xfrm>
                        <a:off x="1589" y="1192"/>
                        <a:ext cx="1587" cy="1190"/>
                      </a:xfrm>
                      <a:prstGeom prst="rect">
                        <a:avLst/>
                      </a:prstGeom>
                    </p:spPr>
                  </p:pic>
                </p:oleObj>
              </mc:Fallback>
            </mc:AlternateContent>
          </a:graphicData>
        </a:graphic>
      </p:graphicFrame>
      <p:sp>
        <p:nvSpPr>
          <p:cNvPr id="2" name="Title Placeholder 1"/>
          <p:cNvSpPr>
            <a:spLocks noGrp="1"/>
          </p:cNvSpPr>
          <p:nvPr>
            <p:ph type="title"/>
          </p:nvPr>
        </p:nvSpPr>
        <p:spPr bwMode="gray">
          <a:xfrm>
            <a:off x="395288" y="447675"/>
            <a:ext cx="8350079" cy="594427"/>
          </a:xfrm>
          <a:prstGeom prst="rect">
            <a:avLst/>
          </a:prstGeom>
        </p:spPr>
        <p:txBody>
          <a:bodyPr vert="horz" lIns="0" tIns="0" rIns="0" bIns="0" rtlCol="0" anchor="t">
            <a:noAutofit/>
          </a:bodyPr>
          <a:lstStyle/>
          <a:p>
            <a:r>
              <a:rPr lang="de-DE" noProof="0" dirty="0"/>
              <a:t>Folientitel</a:t>
            </a:r>
          </a:p>
        </p:txBody>
      </p:sp>
      <p:sp>
        <p:nvSpPr>
          <p:cNvPr id="3" name="Text Placeholder 2"/>
          <p:cNvSpPr>
            <a:spLocks noGrp="1"/>
          </p:cNvSpPr>
          <p:nvPr>
            <p:ph type="body" idx="1"/>
          </p:nvPr>
        </p:nvSpPr>
        <p:spPr bwMode="gray">
          <a:xfrm>
            <a:off x="395287" y="1131887"/>
            <a:ext cx="8350080" cy="3456087"/>
          </a:xfrm>
          <a:prstGeom prst="rect">
            <a:avLst/>
          </a:prstGeom>
        </p:spPr>
        <p:txBody>
          <a:bodyPr vert="horz" lIns="0" tIns="0" rIns="72000" bIns="0" rtlCol="0">
            <a:noAutofit/>
          </a:bodyPr>
          <a:lstStyle/>
          <a:p>
            <a:pPr lvl="0"/>
            <a:r>
              <a:rPr lang="de-DE" noProof="0" dirty="0"/>
              <a:t>Schreiben Sie hier Ihren Text.</a:t>
            </a:r>
          </a:p>
        </p:txBody>
      </p:sp>
      <p:sp>
        <p:nvSpPr>
          <p:cNvPr id="27" name="Date Placeholder 3"/>
          <p:cNvSpPr>
            <a:spLocks noGrp="1"/>
          </p:cNvSpPr>
          <p:nvPr>
            <p:ph type="dt" sz="half" idx="2"/>
          </p:nvPr>
        </p:nvSpPr>
        <p:spPr bwMode="gray">
          <a:xfrm>
            <a:off x="8100392" y="4836160"/>
            <a:ext cx="468051" cy="136050"/>
          </a:xfrm>
          <a:prstGeom prst="rect">
            <a:avLst/>
          </a:prstGeom>
        </p:spPr>
        <p:txBody>
          <a:bodyPr vert="horz" wrap="none" lIns="0" tIns="0" rIns="0" bIns="0" rtlCol="0" anchor="b"/>
          <a:lstStyle>
            <a:lvl1pPr algn="ctr">
              <a:defRPr sz="600">
                <a:solidFill>
                  <a:schemeClr val="accent1"/>
                </a:solidFill>
              </a:defRPr>
            </a:lvl1pPr>
          </a:lstStyle>
          <a:p>
            <a:endParaRPr lang="cs-CZ" dirty="0"/>
          </a:p>
        </p:txBody>
      </p:sp>
      <p:sp>
        <p:nvSpPr>
          <p:cNvPr id="28" name="Footer Placeholder 4"/>
          <p:cNvSpPr>
            <a:spLocks noGrp="1"/>
          </p:cNvSpPr>
          <p:nvPr>
            <p:ph type="ftr" sz="quarter" idx="3"/>
          </p:nvPr>
        </p:nvSpPr>
        <p:spPr bwMode="gray">
          <a:xfrm>
            <a:off x="5788992" y="4836160"/>
            <a:ext cx="2311400" cy="136050"/>
          </a:xfrm>
          <a:prstGeom prst="rect">
            <a:avLst/>
          </a:prstGeom>
        </p:spPr>
        <p:txBody>
          <a:bodyPr vert="horz" wrap="none" lIns="0" tIns="0" rIns="0" bIns="0" rtlCol="0" anchor="b"/>
          <a:lstStyle>
            <a:lvl1pPr algn="r">
              <a:defRPr sz="600">
                <a:solidFill>
                  <a:schemeClr val="accent1"/>
                </a:solidFill>
              </a:defRPr>
            </a:lvl1pPr>
          </a:lstStyle>
          <a:p>
            <a:endParaRPr lang="cs-CZ" noProof="0" dirty="0"/>
          </a:p>
        </p:txBody>
      </p:sp>
      <p:sp>
        <p:nvSpPr>
          <p:cNvPr id="29" name="Slide Number Placeholder 5"/>
          <p:cNvSpPr>
            <a:spLocks noGrp="1"/>
          </p:cNvSpPr>
          <p:nvPr>
            <p:ph type="sldNum" sz="quarter" idx="4"/>
          </p:nvPr>
        </p:nvSpPr>
        <p:spPr bwMode="gray">
          <a:xfrm>
            <a:off x="8568444" y="4836160"/>
            <a:ext cx="575557" cy="136050"/>
          </a:xfrm>
          <a:prstGeom prst="rect">
            <a:avLst/>
          </a:prstGeom>
        </p:spPr>
        <p:txBody>
          <a:bodyPr vert="horz" wrap="none" lIns="0" tIns="0" rIns="0" bIns="0" rtlCol="0" anchor="b"/>
          <a:lstStyle>
            <a:lvl1pPr algn="l">
              <a:defRPr sz="600" b="0">
                <a:solidFill>
                  <a:schemeClr val="accent1"/>
                </a:solidFill>
              </a:defRPr>
            </a:lvl1pPr>
          </a:lstStyle>
          <a:p>
            <a:r>
              <a:rPr lang="cs-CZ" noProof="0" dirty="0">
                <a:sym typeface="Wingdings"/>
              </a:rPr>
              <a:t>  </a:t>
            </a:r>
            <a:fld id="{443B15C8-972D-49F6-9B7C-5A2154A8C95F}" type="slidenum">
              <a:rPr lang="cs-CZ" noProof="0" smtClean="0"/>
              <a:pPr/>
              <a:t>‹Nr.›</a:t>
            </a:fld>
            <a:endParaRPr lang="cs-CZ" noProof="0" dirty="0"/>
          </a:p>
        </p:txBody>
      </p:sp>
      <p:grpSp>
        <p:nvGrpSpPr>
          <p:cNvPr id="30" name="Gruppieren 29"/>
          <p:cNvGrpSpPr/>
          <p:nvPr/>
        </p:nvGrpSpPr>
        <p:grpSpPr>
          <a:xfrm>
            <a:off x="-373329" y="-380578"/>
            <a:ext cx="9664396" cy="5679553"/>
            <a:chOff x="-373329" y="-380578"/>
            <a:chExt cx="9664396" cy="5679553"/>
          </a:xfrm>
        </p:grpSpPr>
        <p:sp>
          <p:nvSpPr>
            <p:cNvPr id="31" name="Textfeld 125"/>
            <p:cNvSpPr txBox="1"/>
            <p:nvPr userDrawn="1"/>
          </p:nvSpPr>
          <p:spPr bwMode="gray">
            <a:xfrm>
              <a:off x="169614" y="-137946"/>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11,60</a:t>
              </a:r>
            </a:p>
          </p:txBody>
        </p:sp>
        <p:cxnSp>
          <p:nvCxnSpPr>
            <p:cNvPr id="32" name="Gerade Verbindung 88"/>
            <p:cNvCxnSpPr/>
            <p:nvPr userDrawn="1"/>
          </p:nvCxnSpPr>
          <p:spPr bwMode="gray">
            <a:xfrm>
              <a:off x="395287" y="-380578"/>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Textfeld 125"/>
            <p:cNvSpPr txBox="1"/>
            <p:nvPr userDrawn="1"/>
          </p:nvSpPr>
          <p:spPr bwMode="gray">
            <a:xfrm>
              <a:off x="4468316" y="-247911"/>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0</a:t>
              </a:r>
            </a:p>
          </p:txBody>
        </p:sp>
        <p:cxnSp>
          <p:nvCxnSpPr>
            <p:cNvPr id="34" name="Gerade Verbindung 90"/>
            <p:cNvCxnSpPr/>
            <p:nvPr userDrawn="1"/>
          </p:nvCxnSpPr>
          <p:spPr bwMode="gray">
            <a:xfrm>
              <a:off x="4572000" y="-164554"/>
              <a:ext cx="0" cy="9465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feld 125"/>
            <p:cNvSpPr txBox="1"/>
            <p:nvPr userDrawn="1"/>
          </p:nvSpPr>
          <p:spPr bwMode="gray">
            <a:xfrm>
              <a:off x="8765420" y="-137946"/>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11,60</a:t>
              </a:r>
            </a:p>
          </p:txBody>
        </p:sp>
        <p:cxnSp>
          <p:nvCxnSpPr>
            <p:cNvPr id="36" name="Gerade Verbindung 95"/>
            <p:cNvCxnSpPr/>
            <p:nvPr userDrawn="1"/>
          </p:nvCxnSpPr>
          <p:spPr bwMode="gray">
            <a:xfrm>
              <a:off x="8745367" y="-380578"/>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Gerade Verbindung 96"/>
            <p:cNvCxnSpPr/>
            <p:nvPr userDrawn="1"/>
          </p:nvCxnSpPr>
          <p:spPr bwMode="gray">
            <a:xfrm>
              <a:off x="395287" y="5205375"/>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Gerade Verbindung 97"/>
            <p:cNvCxnSpPr/>
            <p:nvPr userDrawn="1"/>
          </p:nvCxnSpPr>
          <p:spPr bwMode="gray">
            <a:xfrm>
              <a:off x="4572000" y="5205375"/>
              <a:ext cx="0"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Gerade Verbindung 100"/>
            <p:cNvCxnSpPr/>
            <p:nvPr userDrawn="1"/>
          </p:nvCxnSpPr>
          <p:spPr bwMode="gray">
            <a:xfrm>
              <a:off x="8745367" y="5205375"/>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40" name="Textfeld 125"/>
            <p:cNvSpPr txBox="1"/>
            <p:nvPr userDrawn="1"/>
          </p:nvSpPr>
          <p:spPr bwMode="gray">
            <a:xfrm>
              <a:off x="-270016" y="4604219"/>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5,</a:t>
              </a:r>
              <a:r>
                <a:rPr lang="de-DE" sz="600" noProof="0" dirty="0">
                  <a:solidFill>
                    <a:schemeClr val="tx2"/>
                  </a:solidFill>
                </a:rPr>
                <a:t>6</a:t>
              </a:r>
              <a:r>
                <a:rPr lang="pl-PL" sz="600" noProof="0" dirty="0">
                  <a:solidFill>
                    <a:schemeClr val="tx2"/>
                  </a:solidFill>
                </a:rPr>
                <a:t>0</a:t>
              </a:r>
            </a:p>
          </p:txBody>
        </p:sp>
        <p:cxnSp>
          <p:nvCxnSpPr>
            <p:cNvPr id="41" name="Gerade Verbindung 103"/>
            <p:cNvCxnSpPr/>
            <p:nvPr userDrawn="1"/>
          </p:nvCxnSpPr>
          <p:spPr bwMode="gray">
            <a:xfrm rot="5400000">
              <a:off x="-217989" y="4425629"/>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Textfeld 125"/>
            <p:cNvSpPr txBox="1"/>
            <p:nvPr userDrawn="1"/>
          </p:nvSpPr>
          <p:spPr bwMode="gray">
            <a:xfrm>
              <a:off x="-270016" y="1042102"/>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4,00</a:t>
              </a:r>
            </a:p>
          </p:txBody>
        </p:sp>
        <p:cxnSp>
          <p:nvCxnSpPr>
            <p:cNvPr id="43" name="Gerade Verbindung 105"/>
            <p:cNvCxnSpPr/>
            <p:nvPr userDrawn="1"/>
          </p:nvCxnSpPr>
          <p:spPr bwMode="gray">
            <a:xfrm rot="5400000">
              <a:off x="-217989" y="970017"/>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44" name="Textfeld 125"/>
            <p:cNvSpPr txBox="1"/>
            <p:nvPr userDrawn="1"/>
          </p:nvSpPr>
          <p:spPr bwMode="gray">
            <a:xfrm>
              <a:off x="-325696" y="2825353"/>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0</a:t>
              </a:r>
              <a:r>
                <a:rPr lang="de-DE" sz="600" noProof="0" dirty="0">
                  <a:solidFill>
                    <a:schemeClr val="tx2"/>
                  </a:solidFill>
                </a:rPr>
                <a:t>,8</a:t>
              </a:r>
              <a:endParaRPr lang="pl-PL" sz="600" noProof="0" dirty="0">
                <a:solidFill>
                  <a:schemeClr val="tx2"/>
                </a:solidFill>
              </a:endParaRPr>
            </a:p>
          </p:txBody>
        </p:sp>
        <p:cxnSp>
          <p:nvCxnSpPr>
            <p:cNvPr id="45" name="Gerade Verbindung 107"/>
            <p:cNvCxnSpPr/>
            <p:nvPr userDrawn="1"/>
          </p:nvCxnSpPr>
          <p:spPr bwMode="gray">
            <a:xfrm rot="16200000">
              <a:off x="-109977" y="2815134"/>
              <a:ext cx="0" cy="9465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 Verbindung 108"/>
            <p:cNvCxnSpPr/>
            <p:nvPr userDrawn="1"/>
          </p:nvCxnSpPr>
          <p:spPr bwMode="gray">
            <a:xfrm rot="5400000">
              <a:off x="9244266" y="4534169"/>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Gerade Verbindung 109"/>
            <p:cNvCxnSpPr/>
            <p:nvPr userDrawn="1"/>
          </p:nvCxnSpPr>
          <p:spPr bwMode="gray">
            <a:xfrm rot="5400000">
              <a:off x="9244266" y="1078557"/>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Gerade Verbindung 110"/>
            <p:cNvCxnSpPr/>
            <p:nvPr userDrawn="1"/>
          </p:nvCxnSpPr>
          <p:spPr bwMode="gray">
            <a:xfrm rot="16200000">
              <a:off x="9244266" y="2815662"/>
              <a:ext cx="0"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81487306"/>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7" r:id="rId13"/>
  </p:sldLayoutIdLst>
  <p:transition>
    <p:fade/>
  </p:transition>
  <p:hf sldNum="0" hdr="0" ftr="0" dt="0"/>
  <p:txStyles>
    <p:titleStyle>
      <a:lvl1pPr algn="l" defTabSz="914400" rtl="0" eaLnBrk="1" latinLnBrk="0" hangingPunct="1">
        <a:lnSpc>
          <a:spcPct val="90000"/>
        </a:lnSpc>
        <a:spcBef>
          <a:spcPct val="0"/>
        </a:spcBef>
        <a:buNone/>
        <a:defRPr sz="18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300"/>
        </a:spcAft>
        <a:buClr>
          <a:schemeClr val="tx2"/>
        </a:buClr>
        <a:buFont typeface="Kaufland Office" panose="020B0503040000020003" pitchFamily="34" charset="0"/>
        <a:buChar char="−"/>
        <a:defRPr sz="1200" b="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300"/>
        </a:spcAft>
        <a:buClr>
          <a:schemeClr val="tx2"/>
        </a:buClr>
        <a:buSzPct val="90000"/>
        <a:buFont typeface="Kaufland Office" panose="020B0503040000020003" pitchFamily="34" charset="0"/>
        <a:buChar char="−"/>
        <a:defRPr sz="1200" kern="1200">
          <a:solidFill>
            <a:schemeClr val="tx1"/>
          </a:solidFill>
          <a:latin typeface="+mn-lt"/>
          <a:ea typeface="+mn-ea"/>
          <a:cs typeface="+mn-cs"/>
        </a:defRPr>
      </a:lvl3pPr>
      <a:lvl4pPr marL="180000" indent="-180000" algn="l" defTabSz="914400" rtl="0" eaLnBrk="1" latinLnBrk="0" hangingPunct="1">
        <a:lnSpc>
          <a:spcPct val="110000"/>
        </a:lnSpc>
        <a:spcBef>
          <a:spcPts val="300"/>
        </a:spcBef>
        <a:spcAft>
          <a:spcPts val="300"/>
        </a:spcAft>
        <a:buClr>
          <a:schemeClr val="tx2"/>
        </a:buClr>
        <a:buSzPct val="90000"/>
        <a:buFont typeface="+mj-lt"/>
        <a:buAutoNum type="arabicPeriod"/>
        <a:defRPr sz="1200" kern="1200">
          <a:solidFill>
            <a:schemeClr val="tx1"/>
          </a:solidFill>
          <a:latin typeface="+mn-lt"/>
          <a:ea typeface="+mn-ea"/>
          <a:cs typeface="+mn-cs"/>
        </a:defRPr>
      </a:lvl4pPr>
      <a:lvl5pPr marL="360000" indent="-180975" algn="l" defTabSz="914400" rtl="0" eaLnBrk="1" latinLnBrk="0" hangingPunct="1">
        <a:lnSpc>
          <a:spcPct val="110000"/>
        </a:lnSpc>
        <a:spcBef>
          <a:spcPts val="300"/>
        </a:spcBef>
        <a:spcAft>
          <a:spcPts val="300"/>
        </a:spcAft>
        <a:buClr>
          <a:schemeClr val="tx2"/>
        </a:buClr>
        <a:buSzPct val="100000"/>
        <a:buFont typeface="+mj-lt"/>
        <a:buAutoNum type="alphaLcPeriod"/>
        <a:defRPr sz="1200" kern="1200" baseline="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Clr>
          <a:schemeClr val="tx2"/>
        </a:buClr>
        <a:buFont typeface="+mj-lt"/>
        <a:buNone/>
        <a:defRPr sz="1400" b="1" kern="1200" cap="all" baseline="0">
          <a:solidFill>
            <a:schemeClr val="accent4"/>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None/>
        <a:defRPr sz="1400" b="1" kern="1200" cap="all" baseline="0">
          <a:solidFill>
            <a:schemeClr val="accent1"/>
          </a:solidFill>
          <a:latin typeface="+mn-lt"/>
          <a:ea typeface="+mn-ea"/>
          <a:cs typeface="+mn-cs"/>
        </a:defRPr>
      </a:lvl7pPr>
      <a:lvl8pPr marL="0" indent="0" algn="l" defTabSz="914400" rtl="0" eaLnBrk="1" latinLnBrk="0" hangingPunct="1">
        <a:lnSpc>
          <a:spcPct val="100000"/>
        </a:lnSpc>
        <a:spcBef>
          <a:spcPts val="300"/>
        </a:spcBef>
        <a:spcAft>
          <a:spcPts val="300"/>
        </a:spcAft>
        <a:buFont typeface="Arial" panose="020B0604020202020204" pitchFamily="34" charset="0"/>
        <a:buNone/>
        <a:defRPr sz="1400" b="1" kern="1200" cap="all" baseline="0">
          <a:solidFill>
            <a:schemeClr val="bg2"/>
          </a:solidFill>
          <a:latin typeface="+mn-lt"/>
          <a:ea typeface="+mn-ea"/>
          <a:cs typeface="+mn-cs"/>
        </a:defRPr>
      </a:lvl8pPr>
      <a:lvl9pPr marL="0" indent="0" algn="l" defTabSz="914400" rtl="0" eaLnBrk="1" latinLnBrk="0" hangingPunct="1">
        <a:lnSpc>
          <a:spcPct val="110000"/>
        </a:lnSpc>
        <a:spcBef>
          <a:spcPts val="300"/>
        </a:spcBef>
        <a:spcAft>
          <a:spcPts val="300"/>
        </a:spcAft>
        <a:buFont typeface="Arial" panose="020B0604020202020204" pitchFamily="34" charset="0"/>
        <a:buNone/>
        <a:defRPr sz="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6"/>
            </p:custDataLst>
            <p:extLst>
              <p:ext uri="{D42A27DB-BD31-4B8C-83A1-F6EECF244321}">
                <p14:modId xmlns:p14="http://schemas.microsoft.com/office/powerpoint/2010/main" val="1216842141"/>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73177" name="think-cell Folie" r:id="rId17" imgW="245" imgH="245" progId="TCLayout.ActiveDocument.1">
                  <p:embed/>
                </p:oleObj>
              </mc:Choice>
              <mc:Fallback>
                <p:oleObj name="think-cell Folie" r:id="rId17" imgW="245" imgH="245" progId="TCLayout.ActiveDocument.1">
                  <p:embed/>
                  <p:pic>
                    <p:nvPicPr>
                      <p:cNvPr id="0" name=""/>
                      <p:cNvPicPr/>
                      <p:nvPr/>
                    </p:nvPicPr>
                    <p:blipFill>
                      <a:blip r:embed="rId18"/>
                      <a:stretch>
                        <a:fillRect/>
                      </a:stretch>
                    </p:blipFill>
                    <p:spPr>
                      <a:xfrm>
                        <a:off x="1589" y="1192"/>
                        <a:ext cx="1587" cy="1190"/>
                      </a:xfrm>
                      <a:prstGeom prst="rect">
                        <a:avLst/>
                      </a:prstGeom>
                    </p:spPr>
                  </p:pic>
                </p:oleObj>
              </mc:Fallback>
            </mc:AlternateContent>
          </a:graphicData>
        </a:graphic>
      </p:graphicFrame>
      <p:sp>
        <p:nvSpPr>
          <p:cNvPr id="2" name="Title Placeholder 1"/>
          <p:cNvSpPr>
            <a:spLocks noGrp="1"/>
          </p:cNvSpPr>
          <p:nvPr>
            <p:ph type="title"/>
          </p:nvPr>
        </p:nvSpPr>
        <p:spPr bwMode="gray">
          <a:xfrm>
            <a:off x="395288" y="447675"/>
            <a:ext cx="8350079" cy="594427"/>
          </a:xfrm>
          <a:prstGeom prst="rect">
            <a:avLst/>
          </a:prstGeom>
        </p:spPr>
        <p:txBody>
          <a:bodyPr vert="horz" lIns="0" tIns="0" rIns="0" bIns="0" rtlCol="0" anchor="t">
            <a:noAutofit/>
          </a:bodyPr>
          <a:lstStyle/>
          <a:p>
            <a:r>
              <a:rPr lang="de-DE" noProof="0" dirty="0"/>
              <a:t>Folientitel</a:t>
            </a:r>
          </a:p>
        </p:txBody>
      </p:sp>
      <p:sp>
        <p:nvSpPr>
          <p:cNvPr id="3" name="Text Placeholder 2"/>
          <p:cNvSpPr>
            <a:spLocks noGrp="1"/>
          </p:cNvSpPr>
          <p:nvPr>
            <p:ph type="body" idx="1"/>
          </p:nvPr>
        </p:nvSpPr>
        <p:spPr bwMode="gray">
          <a:xfrm>
            <a:off x="395287" y="1131887"/>
            <a:ext cx="8350080" cy="3456087"/>
          </a:xfrm>
          <a:prstGeom prst="rect">
            <a:avLst/>
          </a:prstGeom>
        </p:spPr>
        <p:txBody>
          <a:bodyPr vert="horz" lIns="0" tIns="0" rIns="72000" bIns="0" rtlCol="0">
            <a:noAutofit/>
          </a:bodyPr>
          <a:lstStyle/>
          <a:p>
            <a:pPr lvl="0"/>
            <a:r>
              <a:rPr lang="de-DE" noProof="0" dirty="0"/>
              <a:t>Schreiben Sie hier Ihren Text.</a:t>
            </a:r>
          </a:p>
        </p:txBody>
      </p:sp>
      <p:sp>
        <p:nvSpPr>
          <p:cNvPr id="27" name="Date Placeholder 3"/>
          <p:cNvSpPr>
            <a:spLocks noGrp="1"/>
          </p:cNvSpPr>
          <p:nvPr>
            <p:ph type="dt" sz="half" idx="2"/>
          </p:nvPr>
        </p:nvSpPr>
        <p:spPr bwMode="gray">
          <a:xfrm>
            <a:off x="8100392" y="4836160"/>
            <a:ext cx="468051" cy="136050"/>
          </a:xfrm>
          <a:prstGeom prst="rect">
            <a:avLst/>
          </a:prstGeom>
        </p:spPr>
        <p:txBody>
          <a:bodyPr vert="horz" wrap="none" lIns="0" tIns="0" rIns="0" bIns="0" rtlCol="0" anchor="b"/>
          <a:lstStyle>
            <a:lvl1pPr algn="ctr">
              <a:defRPr sz="600">
                <a:solidFill>
                  <a:schemeClr val="accent1"/>
                </a:solidFill>
              </a:defRPr>
            </a:lvl1pPr>
          </a:lstStyle>
          <a:p>
            <a:endParaRPr lang="cs-CZ" dirty="0"/>
          </a:p>
        </p:txBody>
      </p:sp>
      <p:sp>
        <p:nvSpPr>
          <p:cNvPr id="28" name="Footer Placeholder 4"/>
          <p:cNvSpPr>
            <a:spLocks noGrp="1"/>
          </p:cNvSpPr>
          <p:nvPr>
            <p:ph type="ftr" sz="quarter" idx="3"/>
          </p:nvPr>
        </p:nvSpPr>
        <p:spPr bwMode="gray">
          <a:xfrm>
            <a:off x="5788992" y="4836160"/>
            <a:ext cx="2311400" cy="136050"/>
          </a:xfrm>
          <a:prstGeom prst="rect">
            <a:avLst/>
          </a:prstGeom>
        </p:spPr>
        <p:txBody>
          <a:bodyPr vert="horz" wrap="none" lIns="0" tIns="0" rIns="0" bIns="0" rtlCol="0" anchor="b"/>
          <a:lstStyle>
            <a:lvl1pPr algn="r">
              <a:defRPr sz="600">
                <a:solidFill>
                  <a:schemeClr val="accent1"/>
                </a:solidFill>
              </a:defRPr>
            </a:lvl1pPr>
          </a:lstStyle>
          <a:p>
            <a:endParaRPr lang="cs-CZ" noProof="0" dirty="0"/>
          </a:p>
        </p:txBody>
      </p:sp>
      <p:sp>
        <p:nvSpPr>
          <p:cNvPr id="29" name="Slide Number Placeholder 5"/>
          <p:cNvSpPr>
            <a:spLocks noGrp="1"/>
          </p:cNvSpPr>
          <p:nvPr>
            <p:ph type="sldNum" sz="quarter" idx="4"/>
          </p:nvPr>
        </p:nvSpPr>
        <p:spPr bwMode="gray">
          <a:xfrm>
            <a:off x="8568444" y="4836160"/>
            <a:ext cx="575557" cy="136050"/>
          </a:xfrm>
          <a:prstGeom prst="rect">
            <a:avLst/>
          </a:prstGeom>
        </p:spPr>
        <p:txBody>
          <a:bodyPr vert="horz" wrap="none" lIns="0" tIns="0" rIns="0" bIns="0" rtlCol="0" anchor="b"/>
          <a:lstStyle>
            <a:lvl1pPr algn="l">
              <a:defRPr sz="600" b="0">
                <a:solidFill>
                  <a:schemeClr val="accent1"/>
                </a:solidFill>
              </a:defRPr>
            </a:lvl1pPr>
          </a:lstStyle>
          <a:p>
            <a:r>
              <a:rPr lang="cs-CZ" noProof="0" dirty="0">
                <a:sym typeface="Wingdings"/>
              </a:rPr>
              <a:t>  </a:t>
            </a:r>
            <a:fld id="{443B15C8-972D-49F6-9B7C-5A2154A8C95F}" type="slidenum">
              <a:rPr lang="cs-CZ" noProof="0" smtClean="0"/>
              <a:pPr/>
              <a:t>‹Nr.›</a:t>
            </a:fld>
            <a:endParaRPr lang="cs-CZ" noProof="0" dirty="0"/>
          </a:p>
        </p:txBody>
      </p:sp>
      <p:grpSp>
        <p:nvGrpSpPr>
          <p:cNvPr id="30" name="Gruppieren 29"/>
          <p:cNvGrpSpPr/>
          <p:nvPr/>
        </p:nvGrpSpPr>
        <p:grpSpPr>
          <a:xfrm>
            <a:off x="-373329" y="-380578"/>
            <a:ext cx="9664396" cy="5679553"/>
            <a:chOff x="-373329" y="-380578"/>
            <a:chExt cx="9664396" cy="5679553"/>
          </a:xfrm>
        </p:grpSpPr>
        <p:sp>
          <p:nvSpPr>
            <p:cNvPr id="31" name="Textfeld 125"/>
            <p:cNvSpPr txBox="1"/>
            <p:nvPr userDrawn="1"/>
          </p:nvSpPr>
          <p:spPr bwMode="gray">
            <a:xfrm>
              <a:off x="169614" y="-137946"/>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11,60</a:t>
              </a:r>
            </a:p>
          </p:txBody>
        </p:sp>
        <p:cxnSp>
          <p:nvCxnSpPr>
            <p:cNvPr id="32" name="Gerade Verbindung 88"/>
            <p:cNvCxnSpPr/>
            <p:nvPr userDrawn="1"/>
          </p:nvCxnSpPr>
          <p:spPr bwMode="gray">
            <a:xfrm>
              <a:off x="395287" y="-380578"/>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Textfeld 125"/>
            <p:cNvSpPr txBox="1"/>
            <p:nvPr userDrawn="1"/>
          </p:nvSpPr>
          <p:spPr bwMode="gray">
            <a:xfrm>
              <a:off x="4468316" y="-247911"/>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0</a:t>
              </a:r>
            </a:p>
          </p:txBody>
        </p:sp>
        <p:cxnSp>
          <p:nvCxnSpPr>
            <p:cNvPr id="34" name="Gerade Verbindung 90"/>
            <p:cNvCxnSpPr/>
            <p:nvPr userDrawn="1"/>
          </p:nvCxnSpPr>
          <p:spPr bwMode="gray">
            <a:xfrm>
              <a:off x="4572000" y="-164554"/>
              <a:ext cx="0" cy="9465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feld 125"/>
            <p:cNvSpPr txBox="1"/>
            <p:nvPr userDrawn="1"/>
          </p:nvSpPr>
          <p:spPr bwMode="gray">
            <a:xfrm>
              <a:off x="8765420" y="-137946"/>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11,60</a:t>
              </a:r>
            </a:p>
          </p:txBody>
        </p:sp>
        <p:cxnSp>
          <p:nvCxnSpPr>
            <p:cNvPr id="36" name="Gerade Verbindung 95"/>
            <p:cNvCxnSpPr/>
            <p:nvPr userDrawn="1"/>
          </p:nvCxnSpPr>
          <p:spPr bwMode="gray">
            <a:xfrm>
              <a:off x="8745367" y="-380578"/>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Gerade Verbindung 96"/>
            <p:cNvCxnSpPr/>
            <p:nvPr userDrawn="1"/>
          </p:nvCxnSpPr>
          <p:spPr bwMode="gray">
            <a:xfrm>
              <a:off x="395287" y="5205375"/>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Gerade Verbindung 97"/>
            <p:cNvCxnSpPr/>
            <p:nvPr userDrawn="1"/>
          </p:nvCxnSpPr>
          <p:spPr bwMode="gray">
            <a:xfrm>
              <a:off x="4572000" y="5205375"/>
              <a:ext cx="0"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Gerade Verbindung 100"/>
            <p:cNvCxnSpPr/>
            <p:nvPr userDrawn="1"/>
          </p:nvCxnSpPr>
          <p:spPr bwMode="gray">
            <a:xfrm>
              <a:off x="8745367" y="5205375"/>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40" name="Textfeld 125"/>
            <p:cNvSpPr txBox="1"/>
            <p:nvPr userDrawn="1"/>
          </p:nvSpPr>
          <p:spPr bwMode="gray">
            <a:xfrm>
              <a:off x="-270016" y="4604219"/>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5,</a:t>
              </a:r>
              <a:r>
                <a:rPr lang="de-DE" sz="600" noProof="0" dirty="0">
                  <a:solidFill>
                    <a:schemeClr val="tx2"/>
                  </a:solidFill>
                </a:rPr>
                <a:t>6</a:t>
              </a:r>
              <a:r>
                <a:rPr lang="pl-PL" sz="600" noProof="0" dirty="0">
                  <a:solidFill>
                    <a:schemeClr val="tx2"/>
                  </a:solidFill>
                </a:rPr>
                <a:t>0</a:t>
              </a:r>
            </a:p>
          </p:txBody>
        </p:sp>
        <p:cxnSp>
          <p:nvCxnSpPr>
            <p:cNvPr id="41" name="Gerade Verbindung 103"/>
            <p:cNvCxnSpPr/>
            <p:nvPr userDrawn="1"/>
          </p:nvCxnSpPr>
          <p:spPr bwMode="gray">
            <a:xfrm rot="5400000">
              <a:off x="-217989" y="4425629"/>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Textfeld 125"/>
            <p:cNvSpPr txBox="1"/>
            <p:nvPr userDrawn="1"/>
          </p:nvSpPr>
          <p:spPr bwMode="gray">
            <a:xfrm>
              <a:off x="-270016" y="1042102"/>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4,00</a:t>
              </a:r>
            </a:p>
          </p:txBody>
        </p:sp>
        <p:cxnSp>
          <p:nvCxnSpPr>
            <p:cNvPr id="43" name="Gerade Verbindung 105"/>
            <p:cNvCxnSpPr/>
            <p:nvPr userDrawn="1"/>
          </p:nvCxnSpPr>
          <p:spPr bwMode="gray">
            <a:xfrm rot="5400000">
              <a:off x="-217989" y="970017"/>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44" name="Textfeld 125"/>
            <p:cNvSpPr txBox="1"/>
            <p:nvPr userDrawn="1"/>
          </p:nvSpPr>
          <p:spPr bwMode="gray">
            <a:xfrm>
              <a:off x="-325696" y="2825353"/>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0</a:t>
              </a:r>
              <a:r>
                <a:rPr lang="de-DE" sz="600" noProof="0" dirty="0">
                  <a:solidFill>
                    <a:schemeClr val="tx2"/>
                  </a:solidFill>
                </a:rPr>
                <a:t>,8</a:t>
              </a:r>
              <a:endParaRPr lang="pl-PL" sz="600" noProof="0" dirty="0">
                <a:solidFill>
                  <a:schemeClr val="tx2"/>
                </a:solidFill>
              </a:endParaRPr>
            </a:p>
          </p:txBody>
        </p:sp>
        <p:cxnSp>
          <p:nvCxnSpPr>
            <p:cNvPr id="45" name="Gerade Verbindung 107"/>
            <p:cNvCxnSpPr/>
            <p:nvPr userDrawn="1"/>
          </p:nvCxnSpPr>
          <p:spPr bwMode="gray">
            <a:xfrm rot="16200000">
              <a:off x="-109977" y="2815134"/>
              <a:ext cx="0" cy="9465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 Verbindung 108"/>
            <p:cNvCxnSpPr/>
            <p:nvPr userDrawn="1"/>
          </p:nvCxnSpPr>
          <p:spPr bwMode="gray">
            <a:xfrm rot="5400000">
              <a:off x="9244266" y="4534169"/>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Gerade Verbindung 109"/>
            <p:cNvCxnSpPr/>
            <p:nvPr userDrawn="1"/>
          </p:nvCxnSpPr>
          <p:spPr bwMode="gray">
            <a:xfrm rot="5400000">
              <a:off x="9244266" y="1078557"/>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Gerade Verbindung 110"/>
            <p:cNvCxnSpPr/>
            <p:nvPr userDrawn="1"/>
          </p:nvCxnSpPr>
          <p:spPr bwMode="gray">
            <a:xfrm rot="16200000">
              <a:off x="9244266" y="2815662"/>
              <a:ext cx="0"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81487306"/>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Lst>
  <p:transition>
    <p:fade/>
  </p:transition>
  <p:hf sldNum="0" hdr="0" ftr="0" dt="0"/>
  <p:txStyles>
    <p:titleStyle>
      <a:lvl1pPr algn="l" defTabSz="914400" rtl="0" eaLnBrk="1" latinLnBrk="0" hangingPunct="1">
        <a:lnSpc>
          <a:spcPct val="90000"/>
        </a:lnSpc>
        <a:spcBef>
          <a:spcPct val="0"/>
        </a:spcBef>
        <a:buNone/>
        <a:defRPr sz="18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300"/>
        </a:spcAft>
        <a:buClr>
          <a:schemeClr val="tx2"/>
        </a:buClr>
        <a:buFont typeface="Kaufland Office" panose="020B0503040000020003" pitchFamily="34" charset="0"/>
        <a:buChar char="−"/>
        <a:defRPr sz="1200" b="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300"/>
        </a:spcAft>
        <a:buClr>
          <a:schemeClr val="tx2"/>
        </a:buClr>
        <a:buSzPct val="90000"/>
        <a:buFont typeface="Kaufland Office" panose="020B0503040000020003" pitchFamily="34" charset="0"/>
        <a:buChar char="−"/>
        <a:defRPr sz="1200" kern="1200">
          <a:solidFill>
            <a:schemeClr val="tx1"/>
          </a:solidFill>
          <a:latin typeface="+mn-lt"/>
          <a:ea typeface="+mn-ea"/>
          <a:cs typeface="+mn-cs"/>
        </a:defRPr>
      </a:lvl3pPr>
      <a:lvl4pPr marL="180000" indent="-180000" algn="l" defTabSz="914400" rtl="0" eaLnBrk="1" latinLnBrk="0" hangingPunct="1">
        <a:lnSpc>
          <a:spcPct val="110000"/>
        </a:lnSpc>
        <a:spcBef>
          <a:spcPts val="300"/>
        </a:spcBef>
        <a:spcAft>
          <a:spcPts val="300"/>
        </a:spcAft>
        <a:buClr>
          <a:schemeClr val="tx2"/>
        </a:buClr>
        <a:buSzPct val="90000"/>
        <a:buFont typeface="+mj-lt"/>
        <a:buAutoNum type="arabicPeriod"/>
        <a:defRPr sz="1200" kern="1200">
          <a:solidFill>
            <a:schemeClr val="tx1"/>
          </a:solidFill>
          <a:latin typeface="+mn-lt"/>
          <a:ea typeface="+mn-ea"/>
          <a:cs typeface="+mn-cs"/>
        </a:defRPr>
      </a:lvl4pPr>
      <a:lvl5pPr marL="360000" indent="-180975" algn="l" defTabSz="914400" rtl="0" eaLnBrk="1" latinLnBrk="0" hangingPunct="1">
        <a:lnSpc>
          <a:spcPct val="110000"/>
        </a:lnSpc>
        <a:spcBef>
          <a:spcPts val="300"/>
        </a:spcBef>
        <a:spcAft>
          <a:spcPts val="300"/>
        </a:spcAft>
        <a:buClr>
          <a:schemeClr val="tx2"/>
        </a:buClr>
        <a:buSzPct val="100000"/>
        <a:buFont typeface="+mj-lt"/>
        <a:buAutoNum type="alphaLcPeriod"/>
        <a:defRPr sz="1200" kern="1200" baseline="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Clr>
          <a:schemeClr val="tx2"/>
        </a:buClr>
        <a:buFont typeface="+mj-lt"/>
        <a:buNone/>
        <a:defRPr sz="1400" b="1" kern="1200" cap="all" baseline="0">
          <a:solidFill>
            <a:schemeClr val="accent4"/>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None/>
        <a:defRPr sz="1400" b="1" kern="1200" cap="all" baseline="0">
          <a:solidFill>
            <a:schemeClr val="accent1"/>
          </a:solidFill>
          <a:latin typeface="+mn-lt"/>
          <a:ea typeface="+mn-ea"/>
          <a:cs typeface="+mn-cs"/>
        </a:defRPr>
      </a:lvl7pPr>
      <a:lvl8pPr marL="0" indent="0" algn="l" defTabSz="914400" rtl="0" eaLnBrk="1" latinLnBrk="0" hangingPunct="1">
        <a:lnSpc>
          <a:spcPct val="100000"/>
        </a:lnSpc>
        <a:spcBef>
          <a:spcPts val="300"/>
        </a:spcBef>
        <a:spcAft>
          <a:spcPts val="300"/>
        </a:spcAft>
        <a:buFont typeface="Arial" panose="020B0604020202020204" pitchFamily="34" charset="0"/>
        <a:buNone/>
        <a:defRPr sz="1400" b="1" kern="1200" cap="all" baseline="0">
          <a:solidFill>
            <a:schemeClr val="bg2"/>
          </a:solidFill>
          <a:latin typeface="+mn-lt"/>
          <a:ea typeface="+mn-ea"/>
          <a:cs typeface="+mn-cs"/>
        </a:defRPr>
      </a:lvl8pPr>
      <a:lvl9pPr marL="0" indent="0" algn="l" defTabSz="914400" rtl="0" eaLnBrk="1" latinLnBrk="0" hangingPunct="1">
        <a:lnSpc>
          <a:spcPct val="110000"/>
        </a:lnSpc>
        <a:spcBef>
          <a:spcPts val="300"/>
        </a:spcBef>
        <a:spcAft>
          <a:spcPts val="300"/>
        </a:spcAft>
        <a:buFont typeface="Arial" panose="020B0604020202020204" pitchFamily="34" charset="0"/>
        <a:buNone/>
        <a:defRPr sz="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6"/>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91572" name="think-cell Folie" r:id="rId17" imgW="245" imgH="245" progId="TCLayout.ActiveDocument.1">
                  <p:embed/>
                </p:oleObj>
              </mc:Choice>
              <mc:Fallback>
                <p:oleObj name="think-cell Folie" r:id="rId17" imgW="245" imgH="245" progId="TCLayout.ActiveDocument.1">
                  <p:embed/>
                  <p:pic>
                    <p:nvPicPr>
                      <p:cNvPr id="7" name="Object 6" hidden="1"/>
                      <p:cNvPicPr/>
                      <p:nvPr/>
                    </p:nvPicPr>
                    <p:blipFill>
                      <a:blip r:embed="rId18"/>
                      <a:stretch>
                        <a:fillRect/>
                      </a:stretch>
                    </p:blipFill>
                    <p:spPr>
                      <a:xfrm>
                        <a:off x="1589" y="1192"/>
                        <a:ext cx="1587" cy="1190"/>
                      </a:xfrm>
                      <a:prstGeom prst="rect">
                        <a:avLst/>
                      </a:prstGeom>
                    </p:spPr>
                  </p:pic>
                </p:oleObj>
              </mc:Fallback>
            </mc:AlternateContent>
          </a:graphicData>
        </a:graphic>
      </p:graphicFrame>
      <p:sp>
        <p:nvSpPr>
          <p:cNvPr id="2" name="Title Placeholder 1"/>
          <p:cNvSpPr>
            <a:spLocks noGrp="1"/>
          </p:cNvSpPr>
          <p:nvPr>
            <p:ph type="title"/>
          </p:nvPr>
        </p:nvSpPr>
        <p:spPr bwMode="gray">
          <a:xfrm>
            <a:off x="395288" y="447675"/>
            <a:ext cx="8350079" cy="594427"/>
          </a:xfrm>
          <a:prstGeom prst="rect">
            <a:avLst/>
          </a:prstGeom>
        </p:spPr>
        <p:txBody>
          <a:bodyPr vert="horz" lIns="0" tIns="0" rIns="0" bIns="0" rtlCol="0" anchor="t">
            <a:noAutofit/>
          </a:bodyPr>
          <a:lstStyle/>
          <a:p>
            <a:r>
              <a:rPr lang="de-DE" noProof="0" dirty="0"/>
              <a:t>Folientitel</a:t>
            </a:r>
          </a:p>
        </p:txBody>
      </p:sp>
      <p:sp>
        <p:nvSpPr>
          <p:cNvPr id="3" name="Text Placeholder 2"/>
          <p:cNvSpPr>
            <a:spLocks noGrp="1"/>
          </p:cNvSpPr>
          <p:nvPr>
            <p:ph type="body" idx="1"/>
          </p:nvPr>
        </p:nvSpPr>
        <p:spPr bwMode="gray">
          <a:xfrm>
            <a:off x="395287" y="1131887"/>
            <a:ext cx="8350080" cy="3456087"/>
          </a:xfrm>
          <a:prstGeom prst="rect">
            <a:avLst/>
          </a:prstGeom>
        </p:spPr>
        <p:txBody>
          <a:bodyPr vert="horz" lIns="0" tIns="0" rIns="72000" bIns="0" rtlCol="0">
            <a:noAutofit/>
          </a:bodyPr>
          <a:lstStyle/>
          <a:p>
            <a:pPr lvl="0"/>
            <a:r>
              <a:rPr lang="de-DE" noProof="0" dirty="0"/>
              <a:t>Schreiben Sie hier Ihren Text.</a:t>
            </a:r>
          </a:p>
        </p:txBody>
      </p:sp>
      <p:sp>
        <p:nvSpPr>
          <p:cNvPr id="27" name="Date Placeholder 3"/>
          <p:cNvSpPr>
            <a:spLocks noGrp="1"/>
          </p:cNvSpPr>
          <p:nvPr>
            <p:ph type="dt" sz="half" idx="2"/>
          </p:nvPr>
        </p:nvSpPr>
        <p:spPr bwMode="gray">
          <a:xfrm>
            <a:off x="8100392" y="4836160"/>
            <a:ext cx="468051" cy="136050"/>
          </a:xfrm>
          <a:prstGeom prst="rect">
            <a:avLst/>
          </a:prstGeom>
        </p:spPr>
        <p:txBody>
          <a:bodyPr vert="horz" wrap="none" lIns="0" tIns="0" rIns="0" bIns="0" rtlCol="0" anchor="b"/>
          <a:lstStyle>
            <a:lvl1pPr algn="ctr">
              <a:defRPr sz="600">
                <a:solidFill>
                  <a:schemeClr val="accent1"/>
                </a:solidFill>
              </a:defRPr>
            </a:lvl1pPr>
          </a:lstStyle>
          <a:p>
            <a:endParaRPr lang="cs-CZ" dirty="0"/>
          </a:p>
        </p:txBody>
      </p:sp>
      <p:sp>
        <p:nvSpPr>
          <p:cNvPr id="28" name="Footer Placeholder 4"/>
          <p:cNvSpPr>
            <a:spLocks noGrp="1"/>
          </p:cNvSpPr>
          <p:nvPr>
            <p:ph type="ftr" sz="quarter" idx="3"/>
          </p:nvPr>
        </p:nvSpPr>
        <p:spPr bwMode="gray">
          <a:xfrm>
            <a:off x="5788992" y="4836160"/>
            <a:ext cx="2311400" cy="136050"/>
          </a:xfrm>
          <a:prstGeom prst="rect">
            <a:avLst/>
          </a:prstGeom>
        </p:spPr>
        <p:txBody>
          <a:bodyPr vert="horz" wrap="none" lIns="0" tIns="0" rIns="0" bIns="0" rtlCol="0" anchor="b"/>
          <a:lstStyle>
            <a:lvl1pPr algn="r">
              <a:defRPr sz="600">
                <a:solidFill>
                  <a:schemeClr val="accent1"/>
                </a:solidFill>
              </a:defRPr>
            </a:lvl1pPr>
          </a:lstStyle>
          <a:p>
            <a:endParaRPr lang="cs-CZ" noProof="0" dirty="0"/>
          </a:p>
        </p:txBody>
      </p:sp>
      <p:sp>
        <p:nvSpPr>
          <p:cNvPr id="29" name="Slide Number Placeholder 5"/>
          <p:cNvSpPr>
            <a:spLocks noGrp="1"/>
          </p:cNvSpPr>
          <p:nvPr>
            <p:ph type="sldNum" sz="quarter" idx="4"/>
          </p:nvPr>
        </p:nvSpPr>
        <p:spPr bwMode="gray">
          <a:xfrm>
            <a:off x="8568444" y="4836160"/>
            <a:ext cx="575557" cy="136050"/>
          </a:xfrm>
          <a:prstGeom prst="rect">
            <a:avLst/>
          </a:prstGeom>
        </p:spPr>
        <p:txBody>
          <a:bodyPr vert="horz" wrap="none" lIns="0" tIns="0" rIns="0" bIns="0" rtlCol="0" anchor="b"/>
          <a:lstStyle>
            <a:lvl1pPr algn="l">
              <a:defRPr sz="600" b="0">
                <a:solidFill>
                  <a:schemeClr val="accent1"/>
                </a:solidFill>
              </a:defRPr>
            </a:lvl1pPr>
          </a:lstStyle>
          <a:p>
            <a:r>
              <a:rPr lang="cs-CZ" noProof="0" dirty="0">
                <a:sym typeface="Wingdings"/>
              </a:rPr>
              <a:t>  </a:t>
            </a:r>
            <a:fld id="{443B15C8-972D-49F6-9B7C-5A2154A8C95F}" type="slidenum">
              <a:rPr lang="cs-CZ" noProof="0" smtClean="0"/>
              <a:pPr/>
              <a:t>‹Nr.›</a:t>
            </a:fld>
            <a:endParaRPr lang="cs-CZ" noProof="0" dirty="0"/>
          </a:p>
        </p:txBody>
      </p:sp>
      <p:grpSp>
        <p:nvGrpSpPr>
          <p:cNvPr id="30" name="Gruppieren 29"/>
          <p:cNvGrpSpPr/>
          <p:nvPr/>
        </p:nvGrpSpPr>
        <p:grpSpPr>
          <a:xfrm>
            <a:off x="-373329" y="-380578"/>
            <a:ext cx="9664396" cy="5679553"/>
            <a:chOff x="-373329" y="-380578"/>
            <a:chExt cx="9664396" cy="5679553"/>
          </a:xfrm>
        </p:grpSpPr>
        <p:sp>
          <p:nvSpPr>
            <p:cNvPr id="31" name="Textfeld 125"/>
            <p:cNvSpPr txBox="1"/>
            <p:nvPr userDrawn="1"/>
          </p:nvSpPr>
          <p:spPr bwMode="gray">
            <a:xfrm>
              <a:off x="169614" y="-137946"/>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11,60</a:t>
              </a:r>
            </a:p>
          </p:txBody>
        </p:sp>
        <p:cxnSp>
          <p:nvCxnSpPr>
            <p:cNvPr id="32" name="Gerade Verbindung 88"/>
            <p:cNvCxnSpPr/>
            <p:nvPr userDrawn="1"/>
          </p:nvCxnSpPr>
          <p:spPr bwMode="gray">
            <a:xfrm>
              <a:off x="395287" y="-380578"/>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Textfeld 125"/>
            <p:cNvSpPr txBox="1"/>
            <p:nvPr userDrawn="1"/>
          </p:nvSpPr>
          <p:spPr bwMode="gray">
            <a:xfrm>
              <a:off x="4468316" y="-247911"/>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0</a:t>
              </a:r>
            </a:p>
          </p:txBody>
        </p:sp>
        <p:cxnSp>
          <p:nvCxnSpPr>
            <p:cNvPr id="34" name="Gerade Verbindung 90"/>
            <p:cNvCxnSpPr/>
            <p:nvPr userDrawn="1"/>
          </p:nvCxnSpPr>
          <p:spPr bwMode="gray">
            <a:xfrm>
              <a:off x="4572000" y="-164554"/>
              <a:ext cx="0" cy="9465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feld 125"/>
            <p:cNvSpPr txBox="1"/>
            <p:nvPr userDrawn="1"/>
          </p:nvSpPr>
          <p:spPr bwMode="gray">
            <a:xfrm>
              <a:off x="8765420" y="-137946"/>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11,60</a:t>
              </a:r>
            </a:p>
          </p:txBody>
        </p:sp>
        <p:cxnSp>
          <p:nvCxnSpPr>
            <p:cNvPr id="36" name="Gerade Verbindung 95"/>
            <p:cNvCxnSpPr/>
            <p:nvPr userDrawn="1"/>
          </p:nvCxnSpPr>
          <p:spPr bwMode="gray">
            <a:xfrm>
              <a:off x="8745367" y="-380578"/>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Gerade Verbindung 96"/>
            <p:cNvCxnSpPr/>
            <p:nvPr userDrawn="1"/>
          </p:nvCxnSpPr>
          <p:spPr bwMode="gray">
            <a:xfrm>
              <a:off x="395287" y="5205375"/>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Gerade Verbindung 97"/>
            <p:cNvCxnSpPr/>
            <p:nvPr userDrawn="1"/>
          </p:nvCxnSpPr>
          <p:spPr bwMode="gray">
            <a:xfrm>
              <a:off x="4572000" y="5205375"/>
              <a:ext cx="0"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Gerade Verbindung 100"/>
            <p:cNvCxnSpPr/>
            <p:nvPr userDrawn="1"/>
          </p:nvCxnSpPr>
          <p:spPr bwMode="gray">
            <a:xfrm>
              <a:off x="8745367" y="5205375"/>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40" name="Textfeld 125"/>
            <p:cNvSpPr txBox="1"/>
            <p:nvPr userDrawn="1"/>
          </p:nvSpPr>
          <p:spPr bwMode="gray">
            <a:xfrm>
              <a:off x="-270016" y="4604219"/>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5,</a:t>
              </a:r>
              <a:r>
                <a:rPr lang="de-DE" sz="600" noProof="0" dirty="0">
                  <a:solidFill>
                    <a:schemeClr val="tx2"/>
                  </a:solidFill>
                </a:rPr>
                <a:t>6</a:t>
              </a:r>
              <a:r>
                <a:rPr lang="pl-PL" sz="600" noProof="0" dirty="0">
                  <a:solidFill>
                    <a:schemeClr val="tx2"/>
                  </a:solidFill>
                </a:rPr>
                <a:t>0</a:t>
              </a:r>
            </a:p>
          </p:txBody>
        </p:sp>
        <p:cxnSp>
          <p:nvCxnSpPr>
            <p:cNvPr id="41" name="Gerade Verbindung 103"/>
            <p:cNvCxnSpPr/>
            <p:nvPr userDrawn="1"/>
          </p:nvCxnSpPr>
          <p:spPr bwMode="gray">
            <a:xfrm rot="5400000">
              <a:off x="-217989" y="4425629"/>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Textfeld 125"/>
            <p:cNvSpPr txBox="1"/>
            <p:nvPr userDrawn="1"/>
          </p:nvSpPr>
          <p:spPr bwMode="gray">
            <a:xfrm>
              <a:off x="-270016" y="1042102"/>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4,00</a:t>
              </a:r>
            </a:p>
          </p:txBody>
        </p:sp>
        <p:cxnSp>
          <p:nvCxnSpPr>
            <p:cNvPr id="43" name="Gerade Verbindung 105"/>
            <p:cNvCxnSpPr/>
            <p:nvPr userDrawn="1"/>
          </p:nvCxnSpPr>
          <p:spPr bwMode="gray">
            <a:xfrm rot="5400000">
              <a:off x="-217989" y="970017"/>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44" name="Textfeld 125"/>
            <p:cNvSpPr txBox="1"/>
            <p:nvPr userDrawn="1"/>
          </p:nvSpPr>
          <p:spPr bwMode="gray">
            <a:xfrm>
              <a:off x="-325696" y="2825353"/>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0</a:t>
              </a:r>
              <a:r>
                <a:rPr lang="de-DE" sz="600" noProof="0" dirty="0">
                  <a:solidFill>
                    <a:schemeClr val="tx2"/>
                  </a:solidFill>
                </a:rPr>
                <a:t>,8</a:t>
              </a:r>
              <a:endParaRPr lang="pl-PL" sz="600" noProof="0" dirty="0">
                <a:solidFill>
                  <a:schemeClr val="tx2"/>
                </a:solidFill>
              </a:endParaRPr>
            </a:p>
          </p:txBody>
        </p:sp>
        <p:cxnSp>
          <p:nvCxnSpPr>
            <p:cNvPr id="45" name="Gerade Verbindung 107"/>
            <p:cNvCxnSpPr/>
            <p:nvPr userDrawn="1"/>
          </p:nvCxnSpPr>
          <p:spPr bwMode="gray">
            <a:xfrm rot="16200000">
              <a:off x="-109977" y="2815134"/>
              <a:ext cx="0" cy="9465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 Verbindung 108"/>
            <p:cNvCxnSpPr/>
            <p:nvPr userDrawn="1"/>
          </p:nvCxnSpPr>
          <p:spPr bwMode="gray">
            <a:xfrm rot="5400000">
              <a:off x="9244266" y="4534169"/>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Gerade Verbindung 109"/>
            <p:cNvCxnSpPr/>
            <p:nvPr userDrawn="1"/>
          </p:nvCxnSpPr>
          <p:spPr bwMode="gray">
            <a:xfrm rot="5400000">
              <a:off x="9244266" y="1078557"/>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Gerade Verbindung 110"/>
            <p:cNvCxnSpPr/>
            <p:nvPr userDrawn="1"/>
          </p:nvCxnSpPr>
          <p:spPr bwMode="gray">
            <a:xfrm rot="16200000">
              <a:off x="9244266" y="2815662"/>
              <a:ext cx="0"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63893573"/>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Lst>
  <p:transition>
    <p:fade/>
  </p:transition>
  <p:hf sldNum="0" hdr="0" ftr="0" dt="0"/>
  <p:txStyles>
    <p:titleStyle>
      <a:lvl1pPr algn="l" defTabSz="914400" rtl="0" eaLnBrk="1" latinLnBrk="0" hangingPunct="1">
        <a:lnSpc>
          <a:spcPct val="90000"/>
        </a:lnSpc>
        <a:spcBef>
          <a:spcPct val="0"/>
        </a:spcBef>
        <a:buNone/>
        <a:defRPr sz="18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300"/>
        </a:spcAft>
        <a:buClr>
          <a:schemeClr val="tx2"/>
        </a:buClr>
        <a:buFont typeface="Kaufland Office" panose="020B0503040000020003" pitchFamily="34" charset="0"/>
        <a:buChar char="−"/>
        <a:defRPr sz="1200" b="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300"/>
        </a:spcAft>
        <a:buClr>
          <a:schemeClr val="tx2"/>
        </a:buClr>
        <a:buSzPct val="90000"/>
        <a:buFont typeface="Kaufland Office" panose="020B0503040000020003" pitchFamily="34" charset="0"/>
        <a:buChar char="−"/>
        <a:defRPr sz="1200" kern="1200">
          <a:solidFill>
            <a:schemeClr val="tx1"/>
          </a:solidFill>
          <a:latin typeface="+mn-lt"/>
          <a:ea typeface="+mn-ea"/>
          <a:cs typeface="+mn-cs"/>
        </a:defRPr>
      </a:lvl3pPr>
      <a:lvl4pPr marL="180000" indent="-180000" algn="l" defTabSz="914400" rtl="0" eaLnBrk="1" latinLnBrk="0" hangingPunct="1">
        <a:lnSpc>
          <a:spcPct val="110000"/>
        </a:lnSpc>
        <a:spcBef>
          <a:spcPts val="300"/>
        </a:spcBef>
        <a:spcAft>
          <a:spcPts val="300"/>
        </a:spcAft>
        <a:buClr>
          <a:schemeClr val="tx2"/>
        </a:buClr>
        <a:buSzPct val="90000"/>
        <a:buFont typeface="+mj-lt"/>
        <a:buAutoNum type="arabicPeriod"/>
        <a:defRPr sz="1200" kern="1200">
          <a:solidFill>
            <a:schemeClr val="tx1"/>
          </a:solidFill>
          <a:latin typeface="+mn-lt"/>
          <a:ea typeface="+mn-ea"/>
          <a:cs typeface="+mn-cs"/>
        </a:defRPr>
      </a:lvl4pPr>
      <a:lvl5pPr marL="360000" indent="-180975" algn="l" defTabSz="914400" rtl="0" eaLnBrk="1" latinLnBrk="0" hangingPunct="1">
        <a:lnSpc>
          <a:spcPct val="110000"/>
        </a:lnSpc>
        <a:spcBef>
          <a:spcPts val="300"/>
        </a:spcBef>
        <a:spcAft>
          <a:spcPts val="300"/>
        </a:spcAft>
        <a:buClr>
          <a:schemeClr val="tx2"/>
        </a:buClr>
        <a:buSzPct val="100000"/>
        <a:buFont typeface="+mj-lt"/>
        <a:buAutoNum type="alphaLcPeriod"/>
        <a:defRPr sz="1200" kern="1200" baseline="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Clr>
          <a:schemeClr val="tx2"/>
        </a:buClr>
        <a:buFont typeface="+mj-lt"/>
        <a:buNone/>
        <a:defRPr sz="1400" b="1" kern="1200" cap="all" baseline="0">
          <a:solidFill>
            <a:schemeClr val="accent4"/>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None/>
        <a:defRPr sz="1400" b="1" kern="1200" cap="all" baseline="0">
          <a:solidFill>
            <a:schemeClr val="accent1"/>
          </a:solidFill>
          <a:latin typeface="+mn-lt"/>
          <a:ea typeface="+mn-ea"/>
          <a:cs typeface="+mn-cs"/>
        </a:defRPr>
      </a:lvl7pPr>
      <a:lvl8pPr marL="0" indent="0" algn="l" defTabSz="914400" rtl="0" eaLnBrk="1" latinLnBrk="0" hangingPunct="1">
        <a:lnSpc>
          <a:spcPct val="100000"/>
        </a:lnSpc>
        <a:spcBef>
          <a:spcPts val="300"/>
        </a:spcBef>
        <a:spcAft>
          <a:spcPts val="300"/>
        </a:spcAft>
        <a:buFont typeface="Arial" panose="020B0604020202020204" pitchFamily="34" charset="0"/>
        <a:buNone/>
        <a:defRPr sz="1400" b="1" kern="1200" cap="all" baseline="0">
          <a:solidFill>
            <a:schemeClr val="bg2"/>
          </a:solidFill>
          <a:latin typeface="+mn-lt"/>
          <a:ea typeface="+mn-ea"/>
          <a:cs typeface="+mn-cs"/>
        </a:defRPr>
      </a:lvl8pPr>
      <a:lvl9pPr marL="0" indent="0" algn="l" defTabSz="914400" rtl="0" eaLnBrk="1" latinLnBrk="0" hangingPunct="1">
        <a:lnSpc>
          <a:spcPct val="110000"/>
        </a:lnSpc>
        <a:spcBef>
          <a:spcPts val="300"/>
        </a:spcBef>
        <a:spcAft>
          <a:spcPts val="300"/>
        </a:spcAft>
        <a:buFont typeface="Arial" panose="020B0604020202020204" pitchFamily="34" charset="0"/>
        <a:buNone/>
        <a:defRPr sz="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6"/>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98725" name="think-cell Folie" r:id="rId17" imgW="245" imgH="245" progId="TCLayout.ActiveDocument.1">
                  <p:embed/>
                </p:oleObj>
              </mc:Choice>
              <mc:Fallback>
                <p:oleObj name="think-cell Folie" r:id="rId17" imgW="245" imgH="245" progId="TCLayout.ActiveDocument.1">
                  <p:embed/>
                  <p:pic>
                    <p:nvPicPr>
                      <p:cNvPr id="7" name="Object 6" hidden="1"/>
                      <p:cNvPicPr/>
                      <p:nvPr/>
                    </p:nvPicPr>
                    <p:blipFill>
                      <a:blip r:embed="rId18"/>
                      <a:stretch>
                        <a:fillRect/>
                      </a:stretch>
                    </p:blipFill>
                    <p:spPr>
                      <a:xfrm>
                        <a:off x="1589" y="1192"/>
                        <a:ext cx="1587" cy="1190"/>
                      </a:xfrm>
                      <a:prstGeom prst="rect">
                        <a:avLst/>
                      </a:prstGeom>
                    </p:spPr>
                  </p:pic>
                </p:oleObj>
              </mc:Fallback>
            </mc:AlternateContent>
          </a:graphicData>
        </a:graphic>
      </p:graphicFrame>
      <p:sp>
        <p:nvSpPr>
          <p:cNvPr id="2" name="Title Placeholder 1"/>
          <p:cNvSpPr>
            <a:spLocks noGrp="1"/>
          </p:cNvSpPr>
          <p:nvPr>
            <p:ph type="title"/>
          </p:nvPr>
        </p:nvSpPr>
        <p:spPr bwMode="gray">
          <a:xfrm>
            <a:off x="395288" y="447675"/>
            <a:ext cx="8350079" cy="594427"/>
          </a:xfrm>
          <a:prstGeom prst="rect">
            <a:avLst/>
          </a:prstGeom>
        </p:spPr>
        <p:txBody>
          <a:bodyPr vert="horz" lIns="0" tIns="0" rIns="0" bIns="0" rtlCol="0" anchor="t">
            <a:noAutofit/>
          </a:bodyPr>
          <a:lstStyle/>
          <a:p>
            <a:r>
              <a:rPr lang="de-DE" noProof="0" dirty="0"/>
              <a:t>Folientitel</a:t>
            </a:r>
          </a:p>
        </p:txBody>
      </p:sp>
      <p:sp>
        <p:nvSpPr>
          <p:cNvPr id="3" name="Text Placeholder 2"/>
          <p:cNvSpPr>
            <a:spLocks noGrp="1"/>
          </p:cNvSpPr>
          <p:nvPr>
            <p:ph type="body" idx="1"/>
          </p:nvPr>
        </p:nvSpPr>
        <p:spPr bwMode="gray">
          <a:xfrm>
            <a:off x="395287" y="1131887"/>
            <a:ext cx="8350080" cy="3456087"/>
          </a:xfrm>
          <a:prstGeom prst="rect">
            <a:avLst/>
          </a:prstGeom>
        </p:spPr>
        <p:txBody>
          <a:bodyPr vert="horz" lIns="0" tIns="0" rIns="72000" bIns="0" rtlCol="0">
            <a:noAutofit/>
          </a:bodyPr>
          <a:lstStyle/>
          <a:p>
            <a:pPr lvl="0"/>
            <a:r>
              <a:rPr lang="de-DE" noProof="0" dirty="0"/>
              <a:t>Schreiben Sie hier Ihren Text.</a:t>
            </a:r>
          </a:p>
        </p:txBody>
      </p:sp>
      <p:sp>
        <p:nvSpPr>
          <p:cNvPr id="27" name="Date Placeholder 3"/>
          <p:cNvSpPr>
            <a:spLocks noGrp="1"/>
          </p:cNvSpPr>
          <p:nvPr>
            <p:ph type="dt" sz="half" idx="2"/>
          </p:nvPr>
        </p:nvSpPr>
        <p:spPr bwMode="gray">
          <a:xfrm>
            <a:off x="8100392" y="4836160"/>
            <a:ext cx="468051" cy="136050"/>
          </a:xfrm>
          <a:prstGeom prst="rect">
            <a:avLst/>
          </a:prstGeom>
        </p:spPr>
        <p:txBody>
          <a:bodyPr vert="horz" wrap="none" lIns="0" tIns="0" rIns="0" bIns="0" rtlCol="0" anchor="b"/>
          <a:lstStyle>
            <a:lvl1pPr algn="ctr">
              <a:defRPr sz="600">
                <a:solidFill>
                  <a:schemeClr val="accent1"/>
                </a:solidFill>
              </a:defRPr>
            </a:lvl1pPr>
          </a:lstStyle>
          <a:p>
            <a:endParaRPr lang="cs-CZ" dirty="0"/>
          </a:p>
        </p:txBody>
      </p:sp>
      <p:sp>
        <p:nvSpPr>
          <p:cNvPr id="28" name="Footer Placeholder 4"/>
          <p:cNvSpPr>
            <a:spLocks noGrp="1"/>
          </p:cNvSpPr>
          <p:nvPr>
            <p:ph type="ftr" sz="quarter" idx="3"/>
          </p:nvPr>
        </p:nvSpPr>
        <p:spPr bwMode="gray">
          <a:xfrm>
            <a:off x="5788992" y="4836160"/>
            <a:ext cx="2311400" cy="136050"/>
          </a:xfrm>
          <a:prstGeom prst="rect">
            <a:avLst/>
          </a:prstGeom>
        </p:spPr>
        <p:txBody>
          <a:bodyPr vert="horz" wrap="none" lIns="0" tIns="0" rIns="0" bIns="0" rtlCol="0" anchor="b"/>
          <a:lstStyle>
            <a:lvl1pPr algn="r">
              <a:defRPr sz="600">
                <a:solidFill>
                  <a:schemeClr val="accent1"/>
                </a:solidFill>
              </a:defRPr>
            </a:lvl1pPr>
          </a:lstStyle>
          <a:p>
            <a:endParaRPr lang="cs-CZ" noProof="0" dirty="0"/>
          </a:p>
        </p:txBody>
      </p:sp>
      <p:sp>
        <p:nvSpPr>
          <p:cNvPr id="29" name="Slide Number Placeholder 5"/>
          <p:cNvSpPr>
            <a:spLocks noGrp="1"/>
          </p:cNvSpPr>
          <p:nvPr>
            <p:ph type="sldNum" sz="quarter" idx="4"/>
          </p:nvPr>
        </p:nvSpPr>
        <p:spPr bwMode="gray">
          <a:xfrm>
            <a:off x="8568444" y="4836160"/>
            <a:ext cx="575557" cy="136050"/>
          </a:xfrm>
          <a:prstGeom prst="rect">
            <a:avLst/>
          </a:prstGeom>
        </p:spPr>
        <p:txBody>
          <a:bodyPr vert="horz" wrap="none" lIns="0" tIns="0" rIns="0" bIns="0" rtlCol="0" anchor="b"/>
          <a:lstStyle>
            <a:lvl1pPr algn="l">
              <a:defRPr sz="600" b="0">
                <a:solidFill>
                  <a:schemeClr val="accent1"/>
                </a:solidFill>
              </a:defRPr>
            </a:lvl1pPr>
          </a:lstStyle>
          <a:p>
            <a:r>
              <a:rPr lang="cs-CZ" noProof="0" dirty="0">
                <a:sym typeface="Wingdings"/>
              </a:rPr>
              <a:t>  </a:t>
            </a:r>
            <a:fld id="{443B15C8-972D-49F6-9B7C-5A2154A8C95F}" type="slidenum">
              <a:rPr lang="cs-CZ" noProof="0" smtClean="0"/>
              <a:pPr/>
              <a:t>‹Nr.›</a:t>
            </a:fld>
            <a:endParaRPr lang="cs-CZ" noProof="0" dirty="0"/>
          </a:p>
        </p:txBody>
      </p:sp>
      <p:grpSp>
        <p:nvGrpSpPr>
          <p:cNvPr id="30" name="Gruppieren 29"/>
          <p:cNvGrpSpPr/>
          <p:nvPr/>
        </p:nvGrpSpPr>
        <p:grpSpPr>
          <a:xfrm>
            <a:off x="-373329" y="-380578"/>
            <a:ext cx="9664396" cy="5679553"/>
            <a:chOff x="-373329" y="-380578"/>
            <a:chExt cx="9664396" cy="5679553"/>
          </a:xfrm>
        </p:grpSpPr>
        <p:sp>
          <p:nvSpPr>
            <p:cNvPr id="31" name="Textfeld 125"/>
            <p:cNvSpPr txBox="1"/>
            <p:nvPr userDrawn="1"/>
          </p:nvSpPr>
          <p:spPr bwMode="gray">
            <a:xfrm>
              <a:off x="169614" y="-137946"/>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11,60</a:t>
              </a:r>
            </a:p>
          </p:txBody>
        </p:sp>
        <p:cxnSp>
          <p:nvCxnSpPr>
            <p:cNvPr id="32" name="Gerade Verbindung 88"/>
            <p:cNvCxnSpPr/>
            <p:nvPr userDrawn="1"/>
          </p:nvCxnSpPr>
          <p:spPr bwMode="gray">
            <a:xfrm>
              <a:off x="395287" y="-380578"/>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Textfeld 125"/>
            <p:cNvSpPr txBox="1"/>
            <p:nvPr userDrawn="1"/>
          </p:nvSpPr>
          <p:spPr bwMode="gray">
            <a:xfrm>
              <a:off x="4468316" y="-247911"/>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0</a:t>
              </a:r>
            </a:p>
          </p:txBody>
        </p:sp>
        <p:cxnSp>
          <p:nvCxnSpPr>
            <p:cNvPr id="34" name="Gerade Verbindung 90"/>
            <p:cNvCxnSpPr/>
            <p:nvPr userDrawn="1"/>
          </p:nvCxnSpPr>
          <p:spPr bwMode="gray">
            <a:xfrm>
              <a:off x="4572000" y="-164554"/>
              <a:ext cx="0" cy="9465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feld 125"/>
            <p:cNvSpPr txBox="1"/>
            <p:nvPr userDrawn="1"/>
          </p:nvSpPr>
          <p:spPr bwMode="gray">
            <a:xfrm>
              <a:off x="8765420" y="-137946"/>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l">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11,60</a:t>
              </a:r>
            </a:p>
          </p:txBody>
        </p:sp>
        <p:cxnSp>
          <p:nvCxnSpPr>
            <p:cNvPr id="36" name="Gerade Verbindung 95"/>
            <p:cNvCxnSpPr/>
            <p:nvPr userDrawn="1"/>
          </p:nvCxnSpPr>
          <p:spPr bwMode="gray">
            <a:xfrm>
              <a:off x="8745367" y="-380578"/>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Gerade Verbindung 96"/>
            <p:cNvCxnSpPr/>
            <p:nvPr userDrawn="1"/>
          </p:nvCxnSpPr>
          <p:spPr bwMode="gray">
            <a:xfrm>
              <a:off x="395287" y="5205375"/>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Gerade Verbindung 97"/>
            <p:cNvCxnSpPr/>
            <p:nvPr userDrawn="1"/>
          </p:nvCxnSpPr>
          <p:spPr bwMode="gray">
            <a:xfrm>
              <a:off x="4572000" y="5205375"/>
              <a:ext cx="0"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Gerade Verbindung 100"/>
            <p:cNvCxnSpPr/>
            <p:nvPr userDrawn="1"/>
          </p:nvCxnSpPr>
          <p:spPr bwMode="gray">
            <a:xfrm>
              <a:off x="8745367" y="5205375"/>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40" name="Textfeld 125"/>
            <p:cNvSpPr txBox="1"/>
            <p:nvPr userDrawn="1"/>
          </p:nvSpPr>
          <p:spPr bwMode="gray">
            <a:xfrm>
              <a:off x="-270016" y="4604219"/>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5,</a:t>
              </a:r>
              <a:r>
                <a:rPr lang="de-DE" sz="600" noProof="0" dirty="0">
                  <a:solidFill>
                    <a:schemeClr val="tx2"/>
                  </a:solidFill>
                </a:rPr>
                <a:t>6</a:t>
              </a:r>
              <a:r>
                <a:rPr lang="pl-PL" sz="600" noProof="0" dirty="0">
                  <a:solidFill>
                    <a:schemeClr val="tx2"/>
                  </a:solidFill>
                </a:rPr>
                <a:t>0</a:t>
              </a:r>
            </a:p>
          </p:txBody>
        </p:sp>
        <p:cxnSp>
          <p:nvCxnSpPr>
            <p:cNvPr id="41" name="Gerade Verbindung 103"/>
            <p:cNvCxnSpPr/>
            <p:nvPr userDrawn="1"/>
          </p:nvCxnSpPr>
          <p:spPr bwMode="gray">
            <a:xfrm rot="5400000">
              <a:off x="-217989" y="4425629"/>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Textfeld 125"/>
            <p:cNvSpPr txBox="1"/>
            <p:nvPr userDrawn="1"/>
          </p:nvSpPr>
          <p:spPr bwMode="gray">
            <a:xfrm>
              <a:off x="-270016" y="1042102"/>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4,00</a:t>
              </a:r>
            </a:p>
          </p:txBody>
        </p:sp>
        <p:cxnSp>
          <p:nvCxnSpPr>
            <p:cNvPr id="43" name="Gerade Verbindung 105"/>
            <p:cNvCxnSpPr/>
            <p:nvPr userDrawn="1"/>
          </p:nvCxnSpPr>
          <p:spPr bwMode="gray">
            <a:xfrm rot="5400000">
              <a:off x="-217989" y="970017"/>
              <a:ext cx="1" cy="310681"/>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44" name="Textfeld 125"/>
            <p:cNvSpPr txBox="1"/>
            <p:nvPr userDrawn="1"/>
          </p:nvSpPr>
          <p:spPr bwMode="gray">
            <a:xfrm>
              <a:off x="-325696" y="2825353"/>
              <a:ext cx="207368" cy="69156"/>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lnSpc>
                  <a:spcPct val="110000"/>
                </a:lnSpc>
                <a:spcBef>
                  <a:spcPts val="300"/>
                </a:spcBef>
                <a:spcAft>
                  <a:spcPts val="300"/>
                </a:spcAft>
                <a:buClr>
                  <a:schemeClr val="accent1"/>
                </a:buClr>
                <a:buFont typeface="Wingdings" panose="05000000000000000000" pitchFamily="2" charset="2"/>
                <a:buNone/>
              </a:pPr>
              <a:r>
                <a:rPr lang="pl-PL" sz="600" noProof="0" dirty="0">
                  <a:solidFill>
                    <a:schemeClr val="tx2"/>
                  </a:solidFill>
                </a:rPr>
                <a:t>0</a:t>
              </a:r>
              <a:r>
                <a:rPr lang="de-DE" sz="600" noProof="0" dirty="0">
                  <a:solidFill>
                    <a:schemeClr val="tx2"/>
                  </a:solidFill>
                </a:rPr>
                <a:t>,8</a:t>
              </a:r>
              <a:endParaRPr lang="pl-PL" sz="600" noProof="0" dirty="0">
                <a:solidFill>
                  <a:schemeClr val="tx2"/>
                </a:solidFill>
              </a:endParaRPr>
            </a:p>
          </p:txBody>
        </p:sp>
        <p:cxnSp>
          <p:nvCxnSpPr>
            <p:cNvPr id="45" name="Gerade Verbindung 107"/>
            <p:cNvCxnSpPr/>
            <p:nvPr userDrawn="1"/>
          </p:nvCxnSpPr>
          <p:spPr bwMode="gray">
            <a:xfrm rot="16200000">
              <a:off x="-109977" y="2815134"/>
              <a:ext cx="0" cy="94657"/>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 Verbindung 108"/>
            <p:cNvCxnSpPr/>
            <p:nvPr userDrawn="1"/>
          </p:nvCxnSpPr>
          <p:spPr bwMode="gray">
            <a:xfrm rot="5400000">
              <a:off x="9244266" y="4534169"/>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Gerade Verbindung 109"/>
            <p:cNvCxnSpPr/>
            <p:nvPr userDrawn="1"/>
          </p:nvCxnSpPr>
          <p:spPr bwMode="gray">
            <a:xfrm rot="5400000">
              <a:off x="9244266" y="1078557"/>
              <a:ext cx="1"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Gerade Verbindung 110"/>
            <p:cNvCxnSpPr/>
            <p:nvPr userDrawn="1"/>
          </p:nvCxnSpPr>
          <p:spPr bwMode="gray">
            <a:xfrm rot="16200000">
              <a:off x="9244266" y="2815662"/>
              <a:ext cx="0" cy="936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6743289"/>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Lst>
  <p:transition>
    <p:fade/>
  </p:transition>
  <p:hf sldNum="0" hdr="0" ftr="0" dt="0"/>
  <p:txStyles>
    <p:titleStyle>
      <a:lvl1pPr algn="l" defTabSz="914400" rtl="0" eaLnBrk="1" latinLnBrk="0" hangingPunct="1">
        <a:lnSpc>
          <a:spcPct val="90000"/>
        </a:lnSpc>
        <a:spcBef>
          <a:spcPct val="0"/>
        </a:spcBef>
        <a:buNone/>
        <a:defRPr sz="18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1pPr>
      <a:lvl2pPr marL="180000" indent="-180000" algn="l" defTabSz="914400" rtl="0" eaLnBrk="1" latinLnBrk="0" hangingPunct="1">
        <a:lnSpc>
          <a:spcPct val="110000"/>
        </a:lnSpc>
        <a:spcBef>
          <a:spcPts val="300"/>
        </a:spcBef>
        <a:spcAft>
          <a:spcPts val="300"/>
        </a:spcAft>
        <a:buClr>
          <a:schemeClr val="tx2"/>
        </a:buClr>
        <a:buFont typeface="Kaufland Office" panose="020B0503040000020003" pitchFamily="34" charset="0"/>
        <a:buChar char="−"/>
        <a:defRPr sz="1200" b="0" kern="1200">
          <a:solidFill>
            <a:schemeClr val="tx1"/>
          </a:solidFill>
          <a:latin typeface="+mn-lt"/>
          <a:ea typeface="+mn-ea"/>
          <a:cs typeface="+mn-cs"/>
        </a:defRPr>
      </a:lvl2pPr>
      <a:lvl3pPr marL="360000" indent="-180000" algn="l" defTabSz="914400" rtl="0" eaLnBrk="1" latinLnBrk="0" hangingPunct="1">
        <a:lnSpc>
          <a:spcPct val="110000"/>
        </a:lnSpc>
        <a:spcBef>
          <a:spcPts val="300"/>
        </a:spcBef>
        <a:spcAft>
          <a:spcPts val="300"/>
        </a:spcAft>
        <a:buClr>
          <a:schemeClr val="tx2"/>
        </a:buClr>
        <a:buSzPct val="90000"/>
        <a:buFont typeface="Kaufland Office" panose="020B0503040000020003" pitchFamily="34" charset="0"/>
        <a:buChar char="−"/>
        <a:defRPr sz="1200" kern="1200">
          <a:solidFill>
            <a:schemeClr val="tx1"/>
          </a:solidFill>
          <a:latin typeface="+mn-lt"/>
          <a:ea typeface="+mn-ea"/>
          <a:cs typeface="+mn-cs"/>
        </a:defRPr>
      </a:lvl3pPr>
      <a:lvl4pPr marL="180000" indent="-180000" algn="l" defTabSz="914400" rtl="0" eaLnBrk="1" latinLnBrk="0" hangingPunct="1">
        <a:lnSpc>
          <a:spcPct val="110000"/>
        </a:lnSpc>
        <a:spcBef>
          <a:spcPts val="300"/>
        </a:spcBef>
        <a:spcAft>
          <a:spcPts val="300"/>
        </a:spcAft>
        <a:buClr>
          <a:schemeClr val="tx2"/>
        </a:buClr>
        <a:buSzPct val="90000"/>
        <a:buFont typeface="+mj-lt"/>
        <a:buAutoNum type="arabicPeriod"/>
        <a:defRPr sz="1200" kern="1200">
          <a:solidFill>
            <a:schemeClr val="tx1"/>
          </a:solidFill>
          <a:latin typeface="+mn-lt"/>
          <a:ea typeface="+mn-ea"/>
          <a:cs typeface="+mn-cs"/>
        </a:defRPr>
      </a:lvl4pPr>
      <a:lvl5pPr marL="360000" indent="-180975" algn="l" defTabSz="914400" rtl="0" eaLnBrk="1" latinLnBrk="0" hangingPunct="1">
        <a:lnSpc>
          <a:spcPct val="110000"/>
        </a:lnSpc>
        <a:spcBef>
          <a:spcPts val="300"/>
        </a:spcBef>
        <a:spcAft>
          <a:spcPts val="300"/>
        </a:spcAft>
        <a:buClr>
          <a:schemeClr val="tx2"/>
        </a:buClr>
        <a:buSzPct val="100000"/>
        <a:buFont typeface="+mj-lt"/>
        <a:buAutoNum type="alphaLcPeriod"/>
        <a:defRPr sz="1200" kern="1200" baseline="0">
          <a:solidFill>
            <a:schemeClr val="tx1"/>
          </a:solidFill>
          <a:latin typeface="+mn-lt"/>
          <a:ea typeface="+mn-ea"/>
          <a:cs typeface="+mn-cs"/>
        </a:defRPr>
      </a:lvl5pPr>
      <a:lvl6pPr marL="0" indent="0" algn="l" defTabSz="914400" rtl="0" eaLnBrk="1" latinLnBrk="0" hangingPunct="1">
        <a:lnSpc>
          <a:spcPct val="100000"/>
        </a:lnSpc>
        <a:spcBef>
          <a:spcPts val="300"/>
        </a:spcBef>
        <a:spcAft>
          <a:spcPts val="300"/>
        </a:spcAft>
        <a:buClr>
          <a:schemeClr val="tx2"/>
        </a:buClr>
        <a:buFont typeface="+mj-lt"/>
        <a:buNone/>
        <a:defRPr sz="1400" b="1" kern="1200" cap="all" baseline="0">
          <a:solidFill>
            <a:schemeClr val="accent4"/>
          </a:solidFill>
          <a:latin typeface="+mn-lt"/>
          <a:ea typeface="+mn-ea"/>
          <a:cs typeface="+mn-cs"/>
        </a:defRPr>
      </a:lvl6pPr>
      <a:lvl7pPr marL="0" indent="0" algn="l" defTabSz="914400" rtl="0" eaLnBrk="1" latinLnBrk="0" hangingPunct="1">
        <a:lnSpc>
          <a:spcPct val="100000"/>
        </a:lnSpc>
        <a:spcBef>
          <a:spcPts val="300"/>
        </a:spcBef>
        <a:spcAft>
          <a:spcPts val="300"/>
        </a:spcAft>
        <a:buFont typeface="Arial" panose="020B0604020202020204" pitchFamily="34" charset="0"/>
        <a:buNone/>
        <a:defRPr sz="1400" b="1" kern="1200" cap="all" baseline="0">
          <a:solidFill>
            <a:schemeClr val="accent1"/>
          </a:solidFill>
          <a:latin typeface="+mn-lt"/>
          <a:ea typeface="+mn-ea"/>
          <a:cs typeface="+mn-cs"/>
        </a:defRPr>
      </a:lvl7pPr>
      <a:lvl8pPr marL="0" indent="0" algn="l" defTabSz="914400" rtl="0" eaLnBrk="1" latinLnBrk="0" hangingPunct="1">
        <a:lnSpc>
          <a:spcPct val="100000"/>
        </a:lnSpc>
        <a:spcBef>
          <a:spcPts val="300"/>
        </a:spcBef>
        <a:spcAft>
          <a:spcPts val="300"/>
        </a:spcAft>
        <a:buFont typeface="Arial" panose="020B0604020202020204" pitchFamily="34" charset="0"/>
        <a:buNone/>
        <a:defRPr sz="1400" b="1" kern="1200" cap="all" baseline="0">
          <a:solidFill>
            <a:schemeClr val="bg2"/>
          </a:solidFill>
          <a:latin typeface="+mn-lt"/>
          <a:ea typeface="+mn-ea"/>
          <a:cs typeface="+mn-cs"/>
        </a:defRPr>
      </a:lvl8pPr>
      <a:lvl9pPr marL="0" indent="0" algn="l" defTabSz="914400" rtl="0" eaLnBrk="1" latinLnBrk="0" hangingPunct="1">
        <a:lnSpc>
          <a:spcPct val="110000"/>
        </a:lnSpc>
        <a:spcBef>
          <a:spcPts val="300"/>
        </a:spcBef>
        <a:spcAft>
          <a:spcPts val="300"/>
        </a:spcAft>
        <a:buFont typeface="Arial" panose="020B0604020202020204" pitchFamily="34" charset="0"/>
        <a:buNone/>
        <a:defRPr sz="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EDEBDE"/>
        </a:solidFill>
        <a:effectLst/>
      </p:bgPr>
    </p:bg>
    <p:spTree>
      <p:nvGrpSpPr>
        <p:cNvPr id="1" name=""/>
        <p:cNvGrpSpPr/>
        <p:nvPr/>
      </p:nvGrpSpPr>
      <p:grpSpPr>
        <a:xfrm>
          <a:off x="0" y="0"/>
          <a:ext cx="0" cy="0"/>
          <a:chOff x="0" y="0"/>
          <a:chExt cx="0" cy="0"/>
        </a:xfrm>
      </p:grpSpPr>
      <p:sp>
        <p:nvSpPr>
          <p:cNvPr id="4" name="Datumsplatzhalt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50A80E4E-9FB5-4159-8C8C-4F330FDB9CE4}" type="datetime1">
              <a:rPr lang="de-DE" smtClean="0"/>
              <a:t>25.09.2020</a:t>
            </a:fld>
            <a:endParaRPr lang="de-DE" dirty="0"/>
          </a:p>
        </p:txBody>
      </p:sp>
      <p:sp>
        <p:nvSpPr>
          <p:cNvPr id="5" name="Fußzeilenplatzhalt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de-DE" dirty="0"/>
              <a:t>Fußzeile</a:t>
            </a:r>
          </a:p>
        </p:txBody>
      </p:sp>
      <p:sp>
        <p:nvSpPr>
          <p:cNvPr id="6" name="Foliennummernplatzhalt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AB0AA071-8F62-40A8-AF53-86D5342D4DCF}" type="slidenum">
              <a:rPr lang="de-DE" smtClean="0"/>
              <a:t>‹Nr.›</a:t>
            </a:fld>
            <a:endParaRPr lang="de-DE" dirty="0"/>
          </a:p>
        </p:txBody>
      </p:sp>
      <p:sp>
        <p:nvSpPr>
          <p:cNvPr id="7" name="Rechteck 6"/>
          <p:cNvSpPr/>
          <p:nvPr userDrawn="1"/>
        </p:nvSpPr>
        <p:spPr>
          <a:xfrm>
            <a:off x="11832" y="5996"/>
            <a:ext cx="9144000" cy="7835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dirty="0"/>
          </a:p>
        </p:txBody>
      </p:sp>
      <p:sp>
        <p:nvSpPr>
          <p:cNvPr id="8" name="Rechteck 7"/>
          <p:cNvSpPr/>
          <p:nvPr userDrawn="1"/>
        </p:nvSpPr>
        <p:spPr>
          <a:xfrm>
            <a:off x="11832" y="3921900"/>
            <a:ext cx="9144000" cy="12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dirty="0"/>
          </a:p>
        </p:txBody>
      </p:sp>
      <p:sp>
        <p:nvSpPr>
          <p:cNvPr id="10" name="Rectangle 1"/>
          <p:cNvSpPr>
            <a:spLocks noChangeArrowheads="1"/>
          </p:cNvSpPr>
          <p:nvPr userDrawn="1"/>
        </p:nvSpPr>
        <p:spPr bwMode="auto">
          <a:xfrm>
            <a:off x="0" y="637151"/>
            <a:ext cx="9181976" cy="152400"/>
          </a:xfrm>
          <a:prstGeom prst="rect">
            <a:avLst/>
          </a:prstGeom>
          <a:solidFill>
            <a:srgbClr val="669900">
              <a:alpha val="85097"/>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de-DE" altLang="en-US" sz="1350" dirty="0"/>
          </a:p>
        </p:txBody>
      </p:sp>
      <p:pic>
        <p:nvPicPr>
          <p:cNvPr id="1026" name="Picture 2" descr="http://www.business-biodiversity.eu/bausteine.net/i/21938/Logo_Food-and-Biodiversity_gross.jpg?width=300"/>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7196146" y="141570"/>
            <a:ext cx="1696335" cy="810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R:\_Fotos_Logos_PPTs\Logos\Projekte\B&amp;B Campaign\Logo_life.tif"/>
          <p:cNvPicPr>
            <a:picLocks noChangeAspect="1" noChangeArrowheads="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7631986" y="4157027"/>
            <a:ext cx="1260494" cy="675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feld 1"/>
          <p:cNvSpPr txBox="1"/>
          <p:nvPr userDrawn="1"/>
        </p:nvSpPr>
        <p:spPr>
          <a:xfrm>
            <a:off x="7559978" y="3975906"/>
            <a:ext cx="1332502" cy="230832"/>
          </a:xfrm>
          <a:prstGeom prst="rect">
            <a:avLst/>
          </a:prstGeom>
          <a:noFill/>
        </p:spPr>
        <p:txBody>
          <a:bodyPr wrap="square" rtlCol="0">
            <a:spAutoFit/>
          </a:bodyPr>
          <a:lstStyle/>
          <a:p>
            <a:r>
              <a:rPr lang="de-DE" sz="900" dirty="0">
                <a:solidFill>
                  <a:srgbClr val="194097"/>
                </a:solidFill>
              </a:rPr>
              <a:t>Funded by </a:t>
            </a:r>
          </a:p>
        </p:txBody>
      </p:sp>
      <p:pic>
        <p:nvPicPr>
          <p:cNvPr id="12" name="Picture 2" descr="R:\_Fotos_Logos_PPTs\Logos\Projekte\LIFEBiostandards\DBU\DBU gefoerdert durch_200x20.jpg"/>
          <p:cNvPicPr>
            <a:picLocks noChangeAspect="1" noChangeArrowheads="1"/>
          </p:cNvPicPr>
          <p:nvPr userDrawn="1"/>
        </p:nvPicPr>
        <p:blipFill rotWithShape="1">
          <a:blip r:embed="rId7" cstate="email">
            <a:extLst>
              <a:ext uri="{28A0092B-C50C-407E-A947-70E740481C1C}">
                <a14:useLocalDpi xmlns:a14="http://schemas.microsoft.com/office/drawing/2010/main" val="0"/>
              </a:ext>
            </a:extLst>
          </a:blip>
          <a:stretch/>
        </p:blipFill>
        <p:spPr bwMode="auto">
          <a:xfrm>
            <a:off x="6376445" y="4004100"/>
            <a:ext cx="1260000" cy="9450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4" name="Textfeld 13"/>
          <p:cNvSpPr txBox="1"/>
          <p:nvPr userDrawn="1"/>
        </p:nvSpPr>
        <p:spPr>
          <a:xfrm>
            <a:off x="588052" y="4130352"/>
            <a:ext cx="2903829" cy="71558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56731D">
                    <a:tint val="75000"/>
                  </a:srgbClr>
                </a:solidFill>
                <a:effectLst/>
                <a:uLnTx/>
                <a:uFillTx/>
                <a:latin typeface="+mn-lt"/>
                <a:ea typeface="+mn-ea"/>
                <a:cs typeface="+mn-cs"/>
              </a:rPr>
              <a:t>Biodiversity in Standards and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56731D">
                    <a:tint val="75000"/>
                  </a:srgbClr>
                </a:solidFill>
                <a:effectLst/>
                <a:uLnTx/>
                <a:uFillTx/>
                <a:latin typeface="+mn-lt"/>
                <a:ea typeface="+mn-ea"/>
                <a:cs typeface="+mn-cs"/>
              </a:rPr>
              <a:t>Labels for the Food Sector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56731D">
                    <a:tint val="75000"/>
                  </a:srgbClr>
                </a:solidFill>
                <a:effectLst/>
                <a:uLnTx/>
                <a:uFillTx/>
                <a:latin typeface="+mn-lt"/>
                <a:ea typeface="+mn-ea"/>
                <a:cs typeface="+mn-cs"/>
              </a:rPr>
              <a:t>LIFE15GIE/DE/000737</a:t>
            </a:r>
            <a:endParaRPr kumimoji="0" lang="de-DE" sz="1350" b="0" i="0" u="none" strike="noStrike" kern="1200" cap="none" spc="0" normalizeH="0" baseline="0" noProof="0" dirty="0">
              <a:ln>
                <a:noFill/>
              </a:ln>
              <a:solidFill>
                <a:srgbClr val="56731D">
                  <a:tint val="75000"/>
                </a:srgbClr>
              </a:solidFill>
              <a:effectLst/>
              <a:uLnTx/>
              <a:uFillTx/>
              <a:latin typeface="+mn-lt"/>
              <a:ea typeface="+mn-ea"/>
              <a:cs typeface="+mn-cs"/>
            </a:endParaRPr>
          </a:p>
        </p:txBody>
      </p:sp>
      <p:pic>
        <p:nvPicPr>
          <p:cNvPr id="15" name="Grafik 14"/>
          <p:cNvPicPr>
            <a:picLocks noChangeAspect="1"/>
          </p:cNvPicPr>
          <p:nvPr userDrawn="1"/>
        </p:nvPicPr>
        <p:blipFill>
          <a:blip r:embed="rId8" cstate="email">
            <a:extLst>
              <a:ext uri="{28A0092B-C50C-407E-A947-70E740481C1C}">
                <a14:useLocalDpi xmlns:a14="http://schemas.microsoft.com/office/drawing/2010/main" val="0"/>
              </a:ext>
            </a:extLst>
          </a:blip>
          <a:stretch>
            <a:fillRect/>
          </a:stretch>
        </p:blipFill>
        <p:spPr>
          <a:xfrm>
            <a:off x="5104242" y="4056758"/>
            <a:ext cx="1124538" cy="513000"/>
          </a:xfrm>
          <a:prstGeom prst="rect">
            <a:avLst/>
          </a:prstGeom>
        </p:spPr>
      </p:pic>
      <p:pic>
        <p:nvPicPr>
          <p:cNvPr id="11" name="Grafik 10"/>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3923929" y="4638776"/>
            <a:ext cx="2330539" cy="247579"/>
          </a:xfrm>
          <a:prstGeom prst="rect">
            <a:avLst/>
          </a:prstGeom>
        </p:spPr>
      </p:pic>
      <p:pic>
        <p:nvPicPr>
          <p:cNvPr id="13" name="Grafik 12"/>
          <p:cNvPicPr>
            <a:picLocks noChangeAspect="1"/>
          </p:cNvPicPr>
          <p:nvPr userDrawn="1"/>
        </p:nvPicPr>
        <p:blipFill>
          <a:blip r:embed="rId10" cstate="email">
            <a:extLst>
              <a:ext uri="{28A0092B-C50C-407E-A947-70E740481C1C}">
                <a14:useLocalDpi xmlns:a14="http://schemas.microsoft.com/office/drawing/2010/main" val="0"/>
              </a:ext>
            </a:extLst>
          </a:blip>
          <a:stretch>
            <a:fillRect/>
          </a:stretch>
        </p:blipFill>
        <p:spPr>
          <a:xfrm>
            <a:off x="4248988" y="4056758"/>
            <a:ext cx="684000" cy="513000"/>
          </a:xfrm>
          <a:prstGeom prst="rect">
            <a:avLst/>
          </a:prstGeom>
        </p:spPr>
      </p:pic>
    </p:spTree>
    <p:extLst>
      <p:ext uri="{BB962C8B-B14F-4D97-AF65-F5344CB8AC3E}">
        <p14:creationId xmlns:p14="http://schemas.microsoft.com/office/powerpoint/2010/main" val="1465893903"/>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Lst>
  <p:hf hdr="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EDEBDE"/>
        </a:solidFill>
        <a:effectLst/>
      </p:bgPr>
    </p:bg>
    <p:spTree>
      <p:nvGrpSpPr>
        <p:cNvPr id="1" name=""/>
        <p:cNvGrpSpPr/>
        <p:nvPr/>
      </p:nvGrpSpPr>
      <p:grpSpPr>
        <a:xfrm>
          <a:off x="0" y="0"/>
          <a:ext cx="0" cy="0"/>
          <a:chOff x="0" y="0"/>
          <a:chExt cx="0" cy="0"/>
        </a:xfrm>
      </p:grpSpPr>
      <p:sp>
        <p:nvSpPr>
          <p:cNvPr id="11" name="Textplatzhalter 10"/>
          <p:cNvSpPr>
            <a:spLocks noGrp="1"/>
          </p:cNvSpPr>
          <p:nvPr>
            <p:ph type="body" idx="1"/>
          </p:nvPr>
        </p:nvSpPr>
        <p:spPr>
          <a:xfrm>
            <a:off x="455612" y="963588"/>
            <a:ext cx="8229600" cy="3768402"/>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Rechteck 14"/>
          <p:cNvSpPr/>
          <p:nvPr userDrawn="1"/>
        </p:nvSpPr>
        <p:spPr>
          <a:xfrm>
            <a:off x="4432" y="5996"/>
            <a:ext cx="9144000" cy="7835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dirty="0"/>
          </a:p>
        </p:txBody>
      </p:sp>
      <p:sp>
        <p:nvSpPr>
          <p:cNvPr id="16" name="Rectangle 1"/>
          <p:cNvSpPr>
            <a:spLocks noChangeArrowheads="1"/>
          </p:cNvSpPr>
          <p:nvPr userDrawn="1"/>
        </p:nvSpPr>
        <p:spPr bwMode="auto">
          <a:xfrm>
            <a:off x="0" y="637151"/>
            <a:ext cx="9181976" cy="152400"/>
          </a:xfrm>
          <a:prstGeom prst="rect">
            <a:avLst/>
          </a:prstGeom>
          <a:solidFill>
            <a:srgbClr val="669900">
              <a:alpha val="85097"/>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de-DE" altLang="en-US" sz="1350" dirty="0"/>
          </a:p>
        </p:txBody>
      </p:sp>
      <p:sp>
        <p:nvSpPr>
          <p:cNvPr id="10" name="Titelplatzhalter 9"/>
          <p:cNvSpPr>
            <a:spLocks noGrp="1"/>
          </p:cNvSpPr>
          <p:nvPr>
            <p:ph type="title"/>
          </p:nvPr>
        </p:nvSpPr>
        <p:spPr>
          <a:xfrm>
            <a:off x="455612" y="80934"/>
            <a:ext cx="8229600" cy="546600"/>
          </a:xfrm>
          <a:prstGeom prst="rect">
            <a:avLst/>
          </a:prstGeom>
        </p:spPr>
        <p:txBody>
          <a:bodyPr vert="horz" lIns="91440" tIns="45720" rIns="91440" bIns="45720" rtlCol="0" anchor="ctr">
            <a:normAutofit/>
          </a:bodyPr>
          <a:lstStyle/>
          <a:p>
            <a:r>
              <a:rPr lang="de-DE" dirty="0"/>
              <a:t>Titel</a:t>
            </a:r>
          </a:p>
        </p:txBody>
      </p:sp>
      <p:pic>
        <p:nvPicPr>
          <p:cNvPr id="17" name="Picture 2" descr="http://www.business-biodiversity.eu/bausteine.net/i/21938/Logo_Food-and-Biodiversity_gross.jpg?width=300"/>
          <p:cNvPicPr>
            <a:picLocks noChangeAspect="1" noChangeArrowheads="1"/>
          </p:cNvPicPr>
          <p:nvPr userDrawn="1"/>
        </p:nvPicPr>
        <p:blipFill>
          <a:blip r:embed="rId9" cstate="email">
            <a:extLst>
              <a:ext uri="{28A0092B-C50C-407E-A947-70E740481C1C}">
                <a14:useLocalDpi xmlns:a14="http://schemas.microsoft.com/office/drawing/2010/main" val="0"/>
              </a:ext>
            </a:extLst>
          </a:blip>
          <a:srcRect/>
          <a:stretch>
            <a:fillRect/>
          </a:stretch>
        </p:blipFill>
        <p:spPr bwMode="auto">
          <a:xfrm>
            <a:off x="7196490" y="141570"/>
            <a:ext cx="1696335" cy="8100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R:\_Fotos_Logos_PPTs\Logos\Projekte\B&amp;B Campaign\Logo_life.tif"/>
          <p:cNvPicPr>
            <a:picLocks noChangeAspect="1" noChangeArrowheads="1"/>
          </p:cNvPicPr>
          <p:nvPr userDrawn="1"/>
        </p:nvPicPr>
        <p:blipFill>
          <a:blip r:embed="rId10" cstate="email">
            <a:extLst>
              <a:ext uri="{28A0092B-C50C-407E-A947-70E740481C1C}">
                <a14:useLocalDpi xmlns:a14="http://schemas.microsoft.com/office/drawing/2010/main" val="0"/>
              </a:ext>
            </a:extLst>
          </a:blip>
          <a:srcRect/>
          <a:stretch>
            <a:fillRect/>
          </a:stretch>
        </p:blipFill>
        <p:spPr bwMode="auto">
          <a:xfrm>
            <a:off x="8212369" y="4832057"/>
            <a:ext cx="504197" cy="2700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feld 13"/>
          <p:cNvSpPr txBox="1"/>
          <p:nvPr userDrawn="1"/>
        </p:nvSpPr>
        <p:spPr>
          <a:xfrm>
            <a:off x="8129868" y="4704502"/>
            <a:ext cx="648072" cy="184666"/>
          </a:xfrm>
          <a:prstGeom prst="rect">
            <a:avLst/>
          </a:prstGeom>
          <a:noFill/>
        </p:spPr>
        <p:txBody>
          <a:bodyPr wrap="square" rtlCol="0">
            <a:spAutoFit/>
          </a:bodyPr>
          <a:lstStyle/>
          <a:p>
            <a:r>
              <a:rPr lang="de-DE" sz="600" dirty="0">
                <a:solidFill>
                  <a:srgbClr val="194097"/>
                </a:solidFill>
              </a:rPr>
              <a:t>Funded by </a:t>
            </a:r>
          </a:p>
        </p:txBody>
      </p:sp>
    </p:spTree>
    <p:extLst>
      <p:ext uri="{BB962C8B-B14F-4D97-AF65-F5344CB8AC3E}">
        <p14:creationId xmlns:p14="http://schemas.microsoft.com/office/powerpoint/2010/main" val="1642557336"/>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Lst>
  <p:hf hdr="0"/>
  <p:txStyles>
    <p:titleStyle>
      <a:lvl1pPr algn="l" defTabSz="685800" rtl="0" eaLnBrk="1" latinLnBrk="0" hangingPunct="1">
        <a:spcBef>
          <a:spcPct val="0"/>
        </a:spcBef>
        <a:buNone/>
        <a:defRPr sz="3300" b="1" kern="1200">
          <a:solidFill>
            <a:schemeClr val="tx1"/>
          </a:solidFill>
          <a:latin typeface="Arial" panose="020B0604020202020204" pitchFamily="34" charset="0"/>
          <a:ea typeface="+mj-ea"/>
          <a:cs typeface="Arial" panose="020B0604020202020204" pitchFamily="34" charset="0"/>
        </a:defRPr>
      </a:lvl1pPr>
    </p:titleStyle>
    <p:bodyStyle>
      <a:lvl1pPr marL="257175" indent="-257175" algn="l" defTabSz="685800" rtl="0" eaLnBrk="1" latinLnBrk="0" hangingPunct="1">
        <a:spcBef>
          <a:spcPct val="20000"/>
        </a:spcBef>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1pPr>
      <a:lvl2pPr marL="557213" indent="-214313" algn="l" defTabSz="685800" rtl="0" eaLnBrk="1" latinLnBrk="0" hangingPunct="1">
        <a:spcBef>
          <a:spcPct val="20000"/>
        </a:spcBef>
        <a:buFont typeface="Arial" panose="020B0604020202020204" pitchFamily="34" charset="0"/>
        <a:buChar char="–"/>
        <a:defRPr sz="1500" kern="1200">
          <a:solidFill>
            <a:schemeClr val="accent3"/>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spcBef>
          <a:spcPct val="20000"/>
        </a:spcBef>
        <a:buFont typeface="Arial" panose="020B0604020202020204" pitchFamily="34" charset="0"/>
        <a:buChar char="•"/>
        <a:defRPr sz="1350" kern="1200">
          <a:solidFill>
            <a:schemeClr val="accent4"/>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spcBef>
          <a:spcPct val="20000"/>
        </a:spcBef>
        <a:buFont typeface="Arial" panose="020B0604020202020204" pitchFamily="34" charset="0"/>
        <a:buChar char="–"/>
        <a:defRPr sz="1350" kern="1200">
          <a:solidFill>
            <a:schemeClr val="accent5"/>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spcBef>
          <a:spcPct val="20000"/>
        </a:spcBef>
        <a:buFont typeface="Arial" panose="020B0604020202020204" pitchFamily="34" charset="0"/>
        <a:buChar char="»"/>
        <a:defRPr sz="1200" kern="1200">
          <a:solidFill>
            <a:schemeClr val="bg2">
              <a:lumMod val="50000"/>
            </a:schemeClr>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66.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35.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35.xml"/><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35.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2.png"/><Relationship Id="rId7"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35.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3.png"/><Relationship Id="rId9" Type="http://schemas.openxmlformats.org/officeDocument/2006/relationships/image" Target="../media/image3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35.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35.xml"/><Relationship Id="rId5" Type="http://schemas.openxmlformats.org/officeDocument/2006/relationships/image" Target="../media/image23.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p:cNvSpPr txBox="1"/>
          <p:nvPr/>
        </p:nvSpPr>
        <p:spPr>
          <a:xfrm>
            <a:off x="1331639" y="1167594"/>
            <a:ext cx="6480720" cy="923330"/>
          </a:xfrm>
          <a:prstGeom prst="rect">
            <a:avLst/>
          </a:prstGeom>
          <a:noFill/>
        </p:spPr>
        <p:txBody>
          <a:bodyPr wrap="square" rtlCol="0">
            <a:spAutoFit/>
          </a:bodyPr>
          <a:lstStyle/>
          <a:p>
            <a:pPr algn="ctr" defTabSz="685800">
              <a:spcAft>
                <a:spcPts val="600"/>
              </a:spcAft>
            </a:pPr>
            <a:r>
              <a:rPr lang="es-CO" sz="2700" b="1" dirty="0">
                <a:solidFill>
                  <a:srgbClr val="56731D"/>
                </a:solidFill>
                <a:latin typeface="Arial" panose="020B0604020202020204" pitchFamily="34" charset="0"/>
                <a:cs typeface="Arial" panose="020B0604020202020204" pitchFamily="34" charset="0"/>
              </a:rPr>
              <a:t>German Initiative “Biodiversity in the German Food Sector”</a:t>
            </a:r>
          </a:p>
        </p:txBody>
      </p:sp>
      <p:pic>
        <p:nvPicPr>
          <p:cNvPr id="6" name="Imagen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3977934" y="4623978"/>
            <a:ext cx="1916591" cy="310463"/>
          </a:xfrm>
          <a:prstGeom prst="rect">
            <a:avLst/>
          </a:prstGeom>
        </p:spPr>
      </p:pic>
      <p:sp>
        <p:nvSpPr>
          <p:cNvPr id="2" name="Textfeld 1"/>
          <p:cNvSpPr txBox="1"/>
          <p:nvPr/>
        </p:nvSpPr>
        <p:spPr>
          <a:xfrm>
            <a:off x="2249742" y="2679762"/>
            <a:ext cx="5076564" cy="553998"/>
          </a:xfrm>
          <a:prstGeom prst="rect">
            <a:avLst/>
          </a:prstGeom>
          <a:noFill/>
        </p:spPr>
        <p:txBody>
          <a:bodyPr wrap="square" rtlCol="0">
            <a:spAutoFit/>
          </a:bodyPr>
          <a:lstStyle/>
          <a:p>
            <a:pPr algn="ctr" defTabSz="685800"/>
            <a:r>
              <a:rPr lang="de-DE" sz="1500" dirty="0">
                <a:solidFill>
                  <a:srgbClr val="56731D"/>
                </a:solidFill>
                <a:latin typeface="Calibri"/>
              </a:rPr>
              <a:t>Marion Hammerl, Lake Constance </a:t>
            </a:r>
            <a:r>
              <a:rPr lang="de-DE" sz="1500" dirty="0" err="1">
                <a:solidFill>
                  <a:srgbClr val="56731D"/>
                </a:solidFill>
                <a:latin typeface="Calibri"/>
              </a:rPr>
              <a:t>Foundation</a:t>
            </a:r>
            <a:endParaRPr lang="de-DE" sz="1500" dirty="0">
              <a:solidFill>
                <a:srgbClr val="56731D"/>
              </a:solidFill>
              <a:latin typeface="Calibri"/>
            </a:endParaRPr>
          </a:p>
          <a:p>
            <a:pPr algn="ctr" defTabSz="685800"/>
            <a:r>
              <a:rPr lang="de-DE" sz="1500" dirty="0">
                <a:solidFill>
                  <a:srgbClr val="56731D"/>
                </a:solidFill>
                <a:latin typeface="Calibri"/>
              </a:rPr>
              <a:t>Kai Stober, Kaufland</a:t>
            </a:r>
          </a:p>
        </p:txBody>
      </p:sp>
    </p:spTree>
    <p:extLst>
      <p:ext uri="{BB962C8B-B14F-4D97-AF65-F5344CB8AC3E}">
        <p14:creationId xmlns:p14="http://schemas.microsoft.com/office/powerpoint/2010/main" val="21811105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itel 115"/>
          <p:cNvSpPr>
            <a:spLocks noGrp="1"/>
          </p:cNvSpPr>
          <p:nvPr>
            <p:ph type="title"/>
          </p:nvPr>
        </p:nvSpPr>
        <p:spPr>
          <a:xfrm>
            <a:off x="395288" y="483518"/>
            <a:ext cx="8350079" cy="594427"/>
          </a:xfrm>
        </p:spPr>
        <p:txBody>
          <a:bodyPr/>
          <a:lstStyle/>
          <a:p>
            <a:r>
              <a:rPr lang="en-US" dirty="0">
                <a:latin typeface="Kaufland Office" pitchFamily="34" charset="0"/>
                <a:cs typeface="Arial" charset="0"/>
              </a:rPr>
              <a:t>Biodiversity management </a:t>
            </a:r>
            <a:endParaRPr lang="de-DE" dirty="0"/>
          </a:p>
        </p:txBody>
      </p:sp>
      <p:sp>
        <p:nvSpPr>
          <p:cNvPr id="5" name="Textplatzhalter 4"/>
          <p:cNvSpPr>
            <a:spLocks noGrp="1"/>
          </p:cNvSpPr>
          <p:nvPr>
            <p:ph type="body" sz="quarter" idx="20"/>
          </p:nvPr>
        </p:nvSpPr>
        <p:spPr/>
        <p:txBody>
          <a:bodyPr/>
          <a:lstStyle/>
          <a:p>
            <a:r>
              <a:rPr lang="de-DE" dirty="0"/>
              <a:t>Kaufland</a:t>
            </a:r>
          </a:p>
        </p:txBody>
      </p:sp>
      <p:pic>
        <p:nvPicPr>
          <p:cNvPr id="8" name="Grafik 7" descr="Ein Bild, das Zeichnung enthält.&#10;&#10;Automatisch generierte Beschreibung">
            <a:extLst>
              <a:ext uri="{FF2B5EF4-FFF2-40B4-BE49-F238E27FC236}">
                <a16:creationId xmlns:a16="http://schemas.microsoft.com/office/drawing/2014/main" id="{7864E9CC-422C-43E5-8141-377D86444535}"/>
              </a:ext>
            </a:extLst>
          </p:cNvPr>
          <p:cNvPicPr>
            <a:picLocks noChangeAspect="1"/>
          </p:cNvPicPr>
          <p:nvPr/>
        </p:nvPicPr>
        <p:blipFill>
          <a:blip r:embed="rId3"/>
          <a:stretch>
            <a:fillRect/>
          </a:stretch>
        </p:blipFill>
        <p:spPr>
          <a:xfrm>
            <a:off x="8172400" y="198544"/>
            <a:ext cx="843558" cy="843558"/>
          </a:xfrm>
          <a:prstGeom prst="rect">
            <a:avLst/>
          </a:prstGeom>
        </p:spPr>
      </p:pic>
      <p:pic>
        <p:nvPicPr>
          <p:cNvPr id="10" name="Grafik 9">
            <a:extLst>
              <a:ext uri="{FF2B5EF4-FFF2-40B4-BE49-F238E27FC236}">
                <a16:creationId xmlns:a16="http://schemas.microsoft.com/office/drawing/2014/main" id="{7682008A-51C6-4274-BE56-406E391C5D3C}"/>
              </a:ext>
            </a:extLst>
          </p:cNvPr>
          <p:cNvPicPr>
            <a:picLocks noChangeAspect="1"/>
          </p:cNvPicPr>
          <p:nvPr/>
        </p:nvPicPr>
        <p:blipFill>
          <a:blip r:embed="rId4"/>
          <a:stretch>
            <a:fillRect/>
          </a:stretch>
        </p:blipFill>
        <p:spPr>
          <a:xfrm>
            <a:off x="429846" y="1008112"/>
            <a:ext cx="3003798" cy="3003798"/>
          </a:xfrm>
          <a:prstGeom prst="rect">
            <a:avLst/>
          </a:prstGeom>
        </p:spPr>
      </p:pic>
      <p:sp>
        <p:nvSpPr>
          <p:cNvPr id="11" name="Ellipse 10">
            <a:extLst>
              <a:ext uri="{FF2B5EF4-FFF2-40B4-BE49-F238E27FC236}">
                <a16:creationId xmlns:a16="http://schemas.microsoft.com/office/drawing/2014/main" id="{108CE996-FCF9-4F9C-A6B9-6E48BCB346E8}"/>
              </a:ext>
            </a:extLst>
          </p:cNvPr>
          <p:cNvSpPr/>
          <p:nvPr/>
        </p:nvSpPr>
        <p:spPr bwMode="gray">
          <a:xfrm>
            <a:off x="1187624" y="3291830"/>
            <a:ext cx="1512168" cy="1440160"/>
          </a:xfrm>
          <a:prstGeom prst="ellips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ct val="110000"/>
              </a:lnSpc>
              <a:spcBef>
                <a:spcPts val="300"/>
              </a:spcBef>
              <a:spcAft>
                <a:spcPts val="300"/>
              </a:spcAft>
            </a:pPr>
            <a:endParaRPr lang="de-DE" sz="1200" dirty="0" err="1">
              <a:solidFill>
                <a:schemeClr val="bg1"/>
              </a:solidFill>
            </a:endParaRPr>
          </a:p>
        </p:txBody>
      </p:sp>
      <p:cxnSp>
        <p:nvCxnSpPr>
          <p:cNvPr id="125" name="Gerader Verbinder 124">
            <a:extLst>
              <a:ext uri="{FF2B5EF4-FFF2-40B4-BE49-F238E27FC236}">
                <a16:creationId xmlns:a16="http://schemas.microsoft.com/office/drawing/2014/main" id="{B88F0FD3-D715-4248-A747-931DC74DEC38}"/>
              </a:ext>
            </a:extLst>
          </p:cNvPr>
          <p:cNvCxnSpPr>
            <a:cxnSpLocks/>
          </p:cNvCxnSpPr>
          <p:nvPr/>
        </p:nvCxnSpPr>
        <p:spPr bwMode="gray">
          <a:xfrm flipV="1">
            <a:off x="1907704" y="1366488"/>
            <a:ext cx="2107928" cy="629198"/>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6" name="Gerader Verbinder 125">
            <a:extLst>
              <a:ext uri="{FF2B5EF4-FFF2-40B4-BE49-F238E27FC236}">
                <a16:creationId xmlns:a16="http://schemas.microsoft.com/office/drawing/2014/main" id="{EEFC425A-398A-4B6A-B8D4-87602B0F9940}"/>
              </a:ext>
            </a:extLst>
          </p:cNvPr>
          <p:cNvCxnSpPr>
            <a:cxnSpLocks/>
          </p:cNvCxnSpPr>
          <p:nvPr/>
        </p:nvCxnSpPr>
        <p:spPr bwMode="gray">
          <a:xfrm>
            <a:off x="4018514" y="1366488"/>
            <a:ext cx="864096"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feld 24">
            <a:extLst>
              <a:ext uri="{FF2B5EF4-FFF2-40B4-BE49-F238E27FC236}">
                <a16:creationId xmlns:a16="http://schemas.microsoft.com/office/drawing/2014/main" id="{34AF5C1B-0CE3-4F43-9F14-8615C1648810}"/>
              </a:ext>
            </a:extLst>
          </p:cNvPr>
          <p:cNvSpPr txBox="1"/>
          <p:nvPr/>
        </p:nvSpPr>
        <p:spPr bwMode="gray">
          <a:xfrm>
            <a:off x="5011206" y="1225803"/>
            <a:ext cx="1872208" cy="337835"/>
          </a:xfrm>
          <a:prstGeom prst="rect">
            <a:avLst/>
          </a:prstGeom>
          <a:noFill/>
        </p:spPr>
        <p:txBody>
          <a:bodyPr wrap="square" lIns="0" tIns="0" rIns="0" bIns="0" rtlCol="0">
            <a:noAutofit/>
          </a:bodyPr>
          <a:lstStyle/>
          <a:p>
            <a:pPr>
              <a:lnSpc>
                <a:spcPct val="110000"/>
              </a:lnSpc>
              <a:spcBef>
                <a:spcPts val="300"/>
              </a:spcBef>
              <a:spcAft>
                <a:spcPts val="300"/>
              </a:spcAft>
              <a:buClr>
                <a:schemeClr val="accent1"/>
              </a:buClr>
            </a:pPr>
            <a:r>
              <a:rPr lang="de-DE" sz="1400" b="1" dirty="0"/>
              <a:t>Initiativ-Management   </a:t>
            </a:r>
          </a:p>
        </p:txBody>
      </p:sp>
      <p:pic>
        <p:nvPicPr>
          <p:cNvPr id="9" name="Grafik 8">
            <a:extLst>
              <a:ext uri="{FF2B5EF4-FFF2-40B4-BE49-F238E27FC236}">
                <a16:creationId xmlns:a16="http://schemas.microsoft.com/office/drawing/2014/main" id="{5589529F-4481-481E-8B37-E0181A51B21C}"/>
              </a:ext>
            </a:extLst>
          </p:cNvPr>
          <p:cNvPicPr>
            <a:picLocks noChangeAspect="1"/>
          </p:cNvPicPr>
          <p:nvPr/>
        </p:nvPicPr>
        <p:blipFill>
          <a:blip r:embed="rId5"/>
          <a:stretch>
            <a:fillRect/>
          </a:stretch>
        </p:blipFill>
        <p:spPr>
          <a:xfrm>
            <a:off x="4902448" y="1648183"/>
            <a:ext cx="993734" cy="993734"/>
          </a:xfrm>
          <a:prstGeom prst="rect">
            <a:avLst/>
          </a:prstGeom>
        </p:spPr>
      </p:pic>
      <p:sp>
        <p:nvSpPr>
          <p:cNvPr id="14" name="Rectangle 2">
            <a:extLst>
              <a:ext uri="{FF2B5EF4-FFF2-40B4-BE49-F238E27FC236}">
                <a16:creationId xmlns:a16="http://schemas.microsoft.com/office/drawing/2014/main" id="{25F31BE4-91D7-458A-81D4-5E72DA67058D}"/>
              </a:ext>
            </a:extLst>
          </p:cNvPr>
          <p:cNvSpPr>
            <a:spLocks noChangeArrowheads="1"/>
          </p:cNvSpPr>
          <p:nvPr/>
        </p:nvSpPr>
        <p:spPr bwMode="auto">
          <a:xfrm>
            <a:off x="0" y="99715"/>
            <a:ext cx="65" cy="25776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9522" rIns="0" bIns="-952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15" name="Rectangle 3">
            <a:extLst>
              <a:ext uri="{FF2B5EF4-FFF2-40B4-BE49-F238E27FC236}">
                <a16:creationId xmlns:a16="http://schemas.microsoft.com/office/drawing/2014/main" id="{10B992D0-FDE2-4C2E-855B-38C7840D50DB}"/>
              </a:ext>
            </a:extLst>
          </p:cNvPr>
          <p:cNvSpPr>
            <a:spLocks noChangeArrowheads="1"/>
          </p:cNvSpPr>
          <p:nvPr/>
        </p:nvSpPr>
        <p:spPr bwMode="auto">
          <a:xfrm>
            <a:off x="6084169" y="1982162"/>
            <a:ext cx="2664544" cy="196214"/>
          </a:xfrm>
          <a:prstGeom prst="rect">
            <a:avLst/>
          </a:prstGeom>
          <a:noFill/>
          <a:ln>
            <a:noFill/>
          </a:ln>
          <a:effectLst/>
        </p:spPr>
        <p:txBody>
          <a:bodyPr vert="horz" wrap="square" lIns="0" tIns="-9522" rIns="0" bIns="-952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400" b="0" i="0" u="none" strike="noStrike" cap="none" normalizeH="0" baseline="0" dirty="0">
                <a:ln>
                  <a:noFill/>
                </a:ln>
                <a:solidFill>
                  <a:srgbClr val="222222"/>
                </a:solidFill>
                <a:effectLst/>
                <a:cs typeface="Arial" panose="020B0604020202020204" pitchFamily="34" charset="0"/>
              </a:rPr>
              <a:t>Create </a:t>
            </a:r>
            <a:r>
              <a:rPr kumimoji="0" lang="de-DE" altLang="de-DE" sz="1400" b="0" i="0" u="none" strike="noStrike" cap="none" normalizeH="0" baseline="0" dirty="0" err="1">
                <a:ln>
                  <a:noFill/>
                </a:ln>
                <a:solidFill>
                  <a:srgbClr val="222222"/>
                </a:solidFill>
                <a:effectLst/>
                <a:cs typeface="Arial" panose="020B0604020202020204" pitchFamily="34" charset="0"/>
              </a:rPr>
              <a:t>framework</a:t>
            </a:r>
            <a:r>
              <a:rPr kumimoji="0" lang="de-DE" altLang="de-DE" sz="1400" b="0" i="0" u="none" strike="noStrike" cap="none" normalizeH="0" baseline="0" dirty="0">
                <a:ln>
                  <a:noFill/>
                </a:ln>
                <a:solidFill>
                  <a:srgbClr val="222222"/>
                </a:solidFill>
                <a:effectLst/>
                <a:cs typeface="Arial" panose="020B0604020202020204" pitchFamily="34" charset="0"/>
              </a:rPr>
              <a:t> </a:t>
            </a:r>
            <a:r>
              <a:rPr kumimoji="0" lang="de-DE" altLang="de-DE" sz="1400" b="0" i="0" u="none" strike="noStrike" cap="none" normalizeH="0" baseline="0" dirty="0" err="1">
                <a:ln>
                  <a:noFill/>
                </a:ln>
                <a:solidFill>
                  <a:srgbClr val="222222"/>
                </a:solidFill>
                <a:effectLst/>
                <a:cs typeface="Arial" panose="020B0604020202020204" pitchFamily="34" charset="0"/>
              </a:rPr>
              <a:t>conditions</a:t>
            </a:r>
            <a:endParaRPr kumimoji="0" lang="de-DE" altLang="de-DE" sz="1400" b="0" i="0" u="none" strike="noStrike" cap="none" normalizeH="0" baseline="0" dirty="0">
              <a:ln>
                <a:noFill/>
              </a:ln>
              <a:solidFill>
                <a:schemeClr val="tx1"/>
              </a:solidFill>
              <a:effectLst/>
            </a:endParaRPr>
          </a:p>
        </p:txBody>
      </p:sp>
      <p:sp>
        <p:nvSpPr>
          <p:cNvPr id="16" name="Rechteck 15">
            <a:extLst>
              <a:ext uri="{FF2B5EF4-FFF2-40B4-BE49-F238E27FC236}">
                <a16:creationId xmlns:a16="http://schemas.microsoft.com/office/drawing/2014/main" id="{51B6571D-22DC-4366-BC41-183EF11AEB93}"/>
              </a:ext>
            </a:extLst>
          </p:cNvPr>
          <p:cNvSpPr/>
          <p:nvPr/>
        </p:nvSpPr>
        <p:spPr>
          <a:xfrm>
            <a:off x="6095122" y="3160842"/>
            <a:ext cx="2448271" cy="523220"/>
          </a:xfrm>
          <a:prstGeom prst="rect">
            <a:avLst/>
          </a:prstGeom>
        </p:spPr>
        <p:txBody>
          <a:bodyPr wrap="square">
            <a:spAutoFit/>
          </a:bodyPr>
          <a:lstStyle/>
          <a:p>
            <a:pPr algn="ctr"/>
            <a:r>
              <a:rPr lang="de-DE" sz="1400" dirty="0">
                <a:solidFill>
                  <a:srgbClr val="222222"/>
                </a:solidFill>
                <a:cs typeface="Arial" panose="020B0604020202020204" pitchFamily="34" charset="0"/>
              </a:rPr>
              <a:t>Initiative: </a:t>
            </a:r>
            <a:r>
              <a:rPr lang="en-US" sz="1400" dirty="0">
                <a:solidFill>
                  <a:srgbClr val="222222"/>
                </a:solidFill>
                <a:cs typeface="Arial" panose="020B0604020202020204" pitchFamily="34" charset="0"/>
              </a:rPr>
              <a:t>Biodiversity in the food sector</a:t>
            </a:r>
            <a:endParaRPr lang="de-DE" sz="1400" dirty="0">
              <a:solidFill>
                <a:srgbClr val="222222"/>
              </a:solidFill>
              <a:cs typeface="Arial" panose="020B0604020202020204" pitchFamily="34" charset="0"/>
            </a:endParaRPr>
          </a:p>
        </p:txBody>
      </p:sp>
      <p:pic>
        <p:nvPicPr>
          <p:cNvPr id="19" name="Grafik 18" descr="Ein Bild, das Uhr enthält.&#10;&#10;Automatisch generierte Beschreibung">
            <a:extLst>
              <a:ext uri="{FF2B5EF4-FFF2-40B4-BE49-F238E27FC236}">
                <a16:creationId xmlns:a16="http://schemas.microsoft.com/office/drawing/2014/main" id="{16B14D8E-AE2D-4F5F-81CB-E5E1B7233AAE}"/>
              </a:ext>
            </a:extLst>
          </p:cNvPr>
          <p:cNvPicPr>
            <a:picLocks noChangeAspect="1"/>
          </p:cNvPicPr>
          <p:nvPr/>
        </p:nvPicPr>
        <p:blipFill>
          <a:blip r:embed="rId6"/>
          <a:stretch>
            <a:fillRect/>
          </a:stretch>
        </p:blipFill>
        <p:spPr>
          <a:xfrm>
            <a:off x="4833654" y="3024561"/>
            <a:ext cx="1250515" cy="795782"/>
          </a:xfrm>
          <a:prstGeom prst="rect">
            <a:avLst/>
          </a:prstGeom>
        </p:spPr>
      </p:pic>
    </p:spTree>
    <p:extLst>
      <p:ext uri="{BB962C8B-B14F-4D97-AF65-F5344CB8AC3E}">
        <p14:creationId xmlns:p14="http://schemas.microsoft.com/office/powerpoint/2010/main" val="17453272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itel 115"/>
          <p:cNvSpPr>
            <a:spLocks noGrp="1"/>
          </p:cNvSpPr>
          <p:nvPr>
            <p:ph type="title"/>
          </p:nvPr>
        </p:nvSpPr>
        <p:spPr>
          <a:xfrm>
            <a:off x="395288" y="483518"/>
            <a:ext cx="8350079" cy="594427"/>
          </a:xfrm>
        </p:spPr>
        <p:txBody>
          <a:bodyPr/>
          <a:lstStyle/>
          <a:p>
            <a:r>
              <a:rPr lang="en-US" dirty="0">
                <a:latin typeface="Kaufland Office" pitchFamily="34" charset="0"/>
                <a:cs typeface="Arial" charset="0"/>
              </a:rPr>
              <a:t>Biodiversity management </a:t>
            </a:r>
            <a:endParaRPr lang="de-DE" dirty="0"/>
          </a:p>
        </p:txBody>
      </p:sp>
      <p:sp>
        <p:nvSpPr>
          <p:cNvPr id="5" name="Textplatzhalter 4"/>
          <p:cNvSpPr>
            <a:spLocks noGrp="1"/>
          </p:cNvSpPr>
          <p:nvPr>
            <p:ph type="body" sz="quarter" idx="20"/>
          </p:nvPr>
        </p:nvSpPr>
        <p:spPr/>
        <p:txBody>
          <a:bodyPr/>
          <a:lstStyle/>
          <a:p>
            <a:r>
              <a:rPr lang="de-DE" dirty="0"/>
              <a:t>Kaufland</a:t>
            </a:r>
          </a:p>
        </p:txBody>
      </p:sp>
      <p:pic>
        <p:nvPicPr>
          <p:cNvPr id="8" name="Grafik 7" descr="Ein Bild, das Zeichnung enthält.&#10;&#10;Automatisch generierte Beschreibung">
            <a:extLst>
              <a:ext uri="{FF2B5EF4-FFF2-40B4-BE49-F238E27FC236}">
                <a16:creationId xmlns:a16="http://schemas.microsoft.com/office/drawing/2014/main" id="{7864E9CC-422C-43E5-8141-377D86444535}"/>
              </a:ext>
            </a:extLst>
          </p:cNvPr>
          <p:cNvPicPr>
            <a:picLocks noChangeAspect="1"/>
          </p:cNvPicPr>
          <p:nvPr/>
        </p:nvPicPr>
        <p:blipFill>
          <a:blip r:embed="rId3"/>
          <a:stretch>
            <a:fillRect/>
          </a:stretch>
        </p:blipFill>
        <p:spPr>
          <a:xfrm>
            <a:off x="8172400" y="198544"/>
            <a:ext cx="843558" cy="843558"/>
          </a:xfrm>
          <a:prstGeom prst="rect">
            <a:avLst/>
          </a:prstGeom>
        </p:spPr>
      </p:pic>
      <p:pic>
        <p:nvPicPr>
          <p:cNvPr id="10" name="Grafik 9">
            <a:extLst>
              <a:ext uri="{FF2B5EF4-FFF2-40B4-BE49-F238E27FC236}">
                <a16:creationId xmlns:a16="http://schemas.microsoft.com/office/drawing/2014/main" id="{7682008A-51C6-4274-BE56-406E391C5D3C}"/>
              </a:ext>
            </a:extLst>
          </p:cNvPr>
          <p:cNvPicPr>
            <a:picLocks noChangeAspect="1"/>
          </p:cNvPicPr>
          <p:nvPr/>
        </p:nvPicPr>
        <p:blipFill>
          <a:blip r:embed="rId4"/>
          <a:stretch>
            <a:fillRect/>
          </a:stretch>
        </p:blipFill>
        <p:spPr>
          <a:xfrm>
            <a:off x="429846" y="1008112"/>
            <a:ext cx="3003798" cy="3003798"/>
          </a:xfrm>
          <a:prstGeom prst="rect">
            <a:avLst/>
          </a:prstGeom>
        </p:spPr>
      </p:pic>
      <p:sp>
        <p:nvSpPr>
          <p:cNvPr id="11" name="Ellipse 10">
            <a:extLst>
              <a:ext uri="{FF2B5EF4-FFF2-40B4-BE49-F238E27FC236}">
                <a16:creationId xmlns:a16="http://schemas.microsoft.com/office/drawing/2014/main" id="{108CE996-FCF9-4F9C-A6B9-6E48BCB346E8}"/>
              </a:ext>
            </a:extLst>
          </p:cNvPr>
          <p:cNvSpPr/>
          <p:nvPr/>
        </p:nvSpPr>
        <p:spPr bwMode="gray">
          <a:xfrm>
            <a:off x="1187624" y="3291830"/>
            <a:ext cx="1512168" cy="1440160"/>
          </a:xfrm>
          <a:prstGeom prst="ellips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ct val="110000"/>
              </a:lnSpc>
              <a:spcBef>
                <a:spcPts val="300"/>
              </a:spcBef>
              <a:spcAft>
                <a:spcPts val="300"/>
              </a:spcAft>
            </a:pPr>
            <a:endParaRPr lang="de-DE" sz="1200" dirty="0" err="1">
              <a:solidFill>
                <a:schemeClr val="bg1"/>
              </a:solidFill>
            </a:endParaRPr>
          </a:p>
        </p:txBody>
      </p:sp>
      <p:cxnSp>
        <p:nvCxnSpPr>
          <p:cNvPr id="119" name="Gerader Verbinder 118">
            <a:extLst>
              <a:ext uri="{FF2B5EF4-FFF2-40B4-BE49-F238E27FC236}">
                <a16:creationId xmlns:a16="http://schemas.microsoft.com/office/drawing/2014/main" id="{F47F2EAE-0E6B-4CEA-A22F-7D5347BD16B2}"/>
              </a:ext>
            </a:extLst>
          </p:cNvPr>
          <p:cNvCxnSpPr>
            <a:cxnSpLocks/>
          </p:cNvCxnSpPr>
          <p:nvPr/>
        </p:nvCxnSpPr>
        <p:spPr bwMode="gray">
          <a:xfrm flipV="1">
            <a:off x="1331640" y="1635647"/>
            <a:ext cx="2448272" cy="1343654"/>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1" name="Gerader Verbinder 120">
            <a:extLst>
              <a:ext uri="{FF2B5EF4-FFF2-40B4-BE49-F238E27FC236}">
                <a16:creationId xmlns:a16="http://schemas.microsoft.com/office/drawing/2014/main" id="{64A114AB-E64D-4082-BEFB-40EAAC8EE154}"/>
              </a:ext>
            </a:extLst>
          </p:cNvPr>
          <p:cNvCxnSpPr>
            <a:cxnSpLocks/>
          </p:cNvCxnSpPr>
          <p:nvPr/>
        </p:nvCxnSpPr>
        <p:spPr bwMode="gray">
          <a:xfrm>
            <a:off x="3779912" y="1635646"/>
            <a:ext cx="1014036"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8" name="Textfeld 137">
            <a:extLst>
              <a:ext uri="{FF2B5EF4-FFF2-40B4-BE49-F238E27FC236}">
                <a16:creationId xmlns:a16="http://schemas.microsoft.com/office/drawing/2014/main" id="{E3565A35-585E-4278-B638-4985768D6E7D}"/>
              </a:ext>
            </a:extLst>
          </p:cNvPr>
          <p:cNvSpPr txBox="1"/>
          <p:nvPr/>
        </p:nvSpPr>
        <p:spPr bwMode="gray">
          <a:xfrm>
            <a:off x="4957475" y="1521200"/>
            <a:ext cx="1872208" cy="585630"/>
          </a:xfrm>
          <a:prstGeom prst="rect">
            <a:avLst/>
          </a:prstGeom>
          <a:noFill/>
        </p:spPr>
        <p:txBody>
          <a:bodyPr wrap="square" lIns="0" tIns="0" rIns="0" bIns="0" rtlCol="0">
            <a:noAutofit/>
          </a:bodyPr>
          <a:lstStyle/>
          <a:p>
            <a:pPr>
              <a:lnSpc>
                <a:spcPct val="110000"/>
              </a:lnSpc>
              <a:spcBef>
                <a:spcPts val="300"/>
              </a:spcBef>
              <a:spcAft>
                <a:spcPts val="300"/>
              </a:spcAft>
              <a:buClr>
                <a:schemeClr val="accent1"/>
              </a:buClr>
            </a:pPr>
            <a:r>
              <a:rPr lang="de-DE" sz="1400" b="1" dirty="0"/>
              <a:t>Project Management   </a:t>
            </a:r>
          </a:p>
        </p:txBody>
      </p:sp>
      <p:sp>
        <p:nvSpPr>
          <p:cNvPr id="6" name="Rechteck 5">
            <a:extLst>
              <a:ext uri="{FF2B5EF4-FFF2-40B4-BE49-F238E27FC236}">
                <a16:creationId xmlns:a16="http://schemas.microsoft.com/office/drawing/2014/main" id="{15B481F7-D215-45BB-9B55-DE308D7CBEA5}"/>
              </a:ext>
            </a:extLst>
          </p:cNvPr>
          <p:cNvSpPr/>
          <p:nvPr/>
        </p:nvSpPr>
        <p:spPr>
          <a:xfrm>
            <a:off x="4888878" y="2106830"/>
            <a:ext cx="4464496" cy="1200329"/>
          </a:xfrm>
          <a:prstGeom prst="rect">
            <a:avLst/>
          </a:prstGeom>
        </p:spPr>
        <p:txBody>
          <a:bodyPr wrap="square">
            <a:spAutoFit/>
          </a:bodyPr>
          <a:lstStyle/>
          <a:p>
            <a:pPr marL="285750" indent="-285750">
              <a:buFont typeface="Arial" panose="020B0604020202020204" pitchFamily="34" charset="0"/>
              <a:buChar char="•"/>
            </a:pPr>
            <a:r>
              <a:rPr lang="de-DE" sz="1200" dirty="0" err="1"/>
              <a:t>Biodiversity</a:t>
            </a:r>
            <a:r>
              <a:rPr lang="de-DE" sz="1200" dirty="0"/>
              <a:t> Performance Tool (BPT)</a:t>
            </a:r>
            <a:endParaRPr lang="en-US" sz="1200" dirty="0">
              <a:solidFill>
                <a:srgbClr val="222222"/>
              </a:solidFill>
            </a:endParaRPr>
          </a:p>
          <a:p>
            <a:pPr marL="285750" indent="-285750">
              <a:buFont typeface="Arial" panose="020B0604020202020204" pitchFamily="34" charset="0"/>
              <a:buChar char="•"/>
            </a:pPr>
            <a:r>
              <a:rPr lang="en-US" sz="1200" dirty="0">
                <a:solidFill>
                  <a:srgbClr val="222222"/>
                </a:solidFill>
              </a:rPr>
              <a:t>Project to promote our precious soil</a:t>
            </a:r>
          </a:p>
          <a:p>
            <a:pPr marL="285750" indent="-285750">
              <a:buFont typeface="Arial" panose="020B0604020202020204" pitchFamily="34" charset="0"/>
              <a:buChar char="•"/>
            </a:pPr>
            <a:r>
              <a:rPr lang="de-DE" sz="1200" dirty="0"/>
              <a:t>Projects </a:t>
            </a:r>
            <a:r>
              <a:rPr lang="de-DE" sz="1200" dirty="0" err="1"/>
              <a:t>flowering</a:t>
            </a:r>
            <a:r>
              <a:rPr lang="de-DE" sz="1200" dirty="0"/>
              <a:t> </a:t>
            </a:r>
            <a:r>
              <a:rPr lang="de-DE" sz="1200" dirty="0" err="1"/>
              <a:t>areas</a:t>
            </a:r>
            <a:endParaRPr lang="de-DE" sz="1200" dirty="0"/>
          </a:p>
          <a:p>
            <a:pPr marL="285750" indent="-285750">
              <a:buFont typeface="Arial" panose="020B0604020202020204" pitchFamily="34" charset="0"/>
              <a:buChar char="•"/>
            </a:pPr>
            <a:r>
              <a:rPr lang="en-US" sz="1200" dirty="0"/>
              <a:t>Projects for the near-natural redesign of </a:t>
            </a:r>
            <a:r>
              <a:rPr lang="en-US" sz="1200" dirty="0" err="1"/>
              <a:t>Kaufland</a:t>
            </a:r>
            <a:r>
              <a:rPr lang="en-US" sz="1200" dirty="0"/>
              <a:t> locations such as logistics centers </a:t>
            </a:r>
            <a:endParaRPr lang="de-DE" sz="1200" dirty="0"/>
          </a:p>
          <a:p>
            <a:pPr marL="285750" indent="-285750">
              <a:buFont typeface="Arial" panose="020B0604020202020204" pitchFamily="34" charset="0"/>
              <a:buChar char="•"/>
            </a:pPr>
            <a:r>
              <a:rPr lang="de-DE" sz="1200" dirty="0"/>
              <a:t>…</a:t>
            </a:r>
          </a:p>
        </p:txBody>
      </p:sp>
    </p:spTree>
    <p:extLst>
      <p:ext uri="{BB962C8B-B14F-4D97-AF65-F5344CB8AC3E}">
        <p14:creationId xmlns:p14="http://schemas.microsoft.com/office/powerpoint/2010/main" val="2569058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itel 115"/>
          <p:cNvSpPr>
            <a:spLocks noGrp="1"/>
          </p:cNvSpPr>
          <p:nvPr>
            <p:ph type="title"/>
          </p:nvPr>
        </p:nvSpPr>
        <p:spPr>
          <a:xfrm>
            <a:off x="395288" y="483518"/>
            <a:ext cx="8350079" cy="594427"/>
          </a:xfrm>
        </p:spPr>
        <p:txBody>
          <a:bodyPr/>
          <a:lstStyle/>
          <a:p>
            <a:r>
              <a:rPr lang="en-US" dirty="0">
                <a:latin typeface="+mn-lt"/>
                <a:cs typeface="Arial" charset="0"/>
              </a:rPr>
              <a:t>Biodiversity management </a:t>
            </a:r>
            <a:endParaRPr lang="de-DE" dirty="0">
              <a:latin typeface="+mn-lt"/>
            </a:endParaRPr>
          </a:p>
        </p:txBody>
      </p:sp>
      <p:sp>
        <p:nvSpPr>
          <p:cNvPr id="5" name="Textplatzhalter 4"/>
          <p:cNvSpPr>
            <a:spLocks noGrp="1"/>
          </p:cNvSpPr>
          <p:nvPr>
            <p:ph type="body" sz="quarter" idx="20"/>
          </p:nvPr>
        </p:nvSpPr>
        <p:spPr/>
        <p:txBody>
          <a:bodyPr/>
          <a:lstStyle/>
          <a:p>
            <a:r>
              <a:rPr lang="de-DE" dirty="0"/>
              <a:t>Kaufland</a:t>
            </a:r>
          </a:p>
        </p:txBody>
      </p:sp>
      <p:pic>
        <p:nvPicPr>
          <p:cNvPr id="8" name="Grafik 7" descr="Ein Bild, das Zeichnung enthält.&#10;&#10;Automatisch generierte Beschreibung">
            <a:extLst>
              <a:ext uri="{FF2B5EF4-FFF2-40B4-BE49-F238E27FC236}">
                <a16:creationId xmlns:a16="http://schemas.microsoft.com/office/drawing/2014/main" id="{7864E9CC-422C-43E5-8141-377D86444535}"/>
              </a:ext>
            </a:extLst>
          </p:cNvPr>
          <p:cNvPicPr>
            <a:picLocks noChangeAspect="1"/>
          </p:cNvPicPr>
          <p:nvPr/>
        </p:nvPicPr>
        <p:blipFill>
          <a:blip r:embed="rId3"/>
          <a:stretch>
            <a:fillRect/>
          </a:stretch>
        </p:blipFill>
        <p:spPr>
          <a:xfrm>
            <a:off x="8172400" y="198544"/>
            <a:ext cx="843558" cy="843558"/>
          </a:xfrm>
          <a:prstGeom prst="rect">
            <a:avLst/>
          </a:prstGeom>
        </p:spPr>
      </p:pic>
      <p:cxnSp>
        <p:nvCxnSpPr>
          <p:cNvPr id="124" name="Gerader Verbinder 123">
            <a:extLst>
              <a:ext uri="{FF2B5EF4-FFF2-40B4-BE49-F238E27FC236}">
                <a16:creationId xmlns:a16="http://schemas.microsoft.com/office/drawing/2014/main" id="{3A9530E8-5D1A-435C-8E80-E2DD01C53C4E}"/>
              </a:ext>
            </a:extLst>
          </p:cNvPr>
          <p:cNvCxnSpPr>
            <a:cxnSpLocks/>
          </p:cNvCxnSpPr>
          <p:nvPr/>
        </p:nvCxnSpPr>
        <p:spPr bwMode="gray">
          <a:xfrm>
            <a:off x="2889814" y="1347614"/>
            <a:ext cx="1557866"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7" name="Textfeld 136">
            <a:extLst>
              <a:ext uri="{FF2B5EF4-FFF2-40B4-BE49-F238E27FC236}">
                <a16:creationId xmlns:a16="http://schemas.microsoft.com/office/drawing/2014/main" id="{E42A4077-B4C7-41E0-A849-4FD92DA6AE92}"/>
              </a:ext>
            </a:extLst>
          </p:cNvPr>
          <p:cNvSpPr txBox="1"/>
          <p:nvPr/>
        </p:nvSpPr>
        <p:spPr bwMode="gray">
          <a:xfrm>
            <a:off x="4572000" y="1194364"/>
            <a:ext cx="2664296" cy="585630"/>
          </a:xfrm>
          <a:prstGeom prst="rect">
            <a:avLst/>
          </a:prstGeom>
          <a:noFill/>
        </p:spPr>
        <p:txBody>
          <a:bodyPr wrap="square" lIns="0" tIns="0" rIns="0" bIns="0" rtlCol="0">
            <a:noAutofit/>
          </a:bodyPr>
          <a:lstStyle/>
          <a:p>
            <a:pPr>
              <a:lnSpc>
                <a:spcPct val="110000"/>
              </a:lnSpc>
              <a:spcBef>
                <a:spcPts val="300"/>
              </a:spcBef>
              <a:spcAft>
                <a:spcPts val="300"/>
              </a:spcAft>
              <a:buClr>
                <a:schemeClr val="accent1"/>
              </a:buClr>
            </a:pPr>
            <a:r>
              <a:rPr lang="de-DE" sz="1400" b="1" dirty="0" err="1"/>
              <a:t>Pesticide</a:t>
            </a:r>
            <a:r>
              <a:rPr lang="de-DE" sz="1400" b="1" dirty="0"/>
              <a:t> Management  </a:t>
            </a:r>
          </a:p>
        </p:txBody>
      </p:sp>
      <p:pic>
        <p:nvPicPr>
          <p:cNvPr id="9" name="Grafik 8" descr="Ein Bild, das Uhr enthält.&#10;&#10;Automatisch generierte Beschreibung">
            <a:extLst>
              <a:ext uri="{FF2B5EF4-FFF2-40B4-BE49-F238E27FC236}">
                <a16:creationId xmlns:a16="http://schemas.microsoft.com/office/drawing/2014/main" id="{D7D11814-EE45-4F89-A58D-0E2920F8BD6A}"/>
              </a:ext>
            </a:extLst>
          </p:cNvPr>
          <p:cNvPicPr>
            <a:picLocks noChangeAspect="1"/>
          </p:cNvPicPr>
          <p:nvPr/>
        </p:nvPicPr>
        <p:blipFill>
          <a:blip r:embed="rId4"/>
          <a:stretch>
            <a:fillRect/>
          </a:stretch>
        </p:blipFill>
        <p:spPr>
          <a:xfrm>
            <a:off x="4075507" y="2668360"/>
            <a:ext cx="992986" cy="992986"/>
          </a:xfrm>
          <a:prstGeom prst="rect">
            <a:avLst/>
          </a:prstGeom>
        </p:spPr>
      </p:pic>
      <p:pic>
        <p:nvPicPr>
          <p:cNvPr id="13" name="Grafik 12" descr="Ein Bild, das Licht, Uhr, Zeichnung enthält.&#10;&#10;Automatisch generierte Beschreibung">
            <a:extLst>
              <a:ext uri="{FF2B5EF4-FFF2-40B4-BE49-F238E27FC236}">
                <a16:creationId xmlns:a16="http://schemas.microsoft.com/office/drawing/2014/main" id="{CBFBFCB7-5301-40D8-8410-DEBCDB607BFC}"/>
              </a:ext>
            </a:extLst>
          </p:cNvPr>
          <p:cNvPicPr>
            <a:picLocks noChangeAspect="1"/>
          </p:cNvPicPr>
          <p:nvPr/>
        </p:nvPicPr>
        <p:blipFill>
          <a:blip r:embed="rId5"/>
          <a:stretch>
            <a:fillRect/>
          </a:stretch>
        </p:blipFill>
        <p:spPr>
          <a:xfrm>
            <a:off x="4075507" y="3739004"/>
            <a:ext cx="992986" cy="992986"/>
          </a:xfrm>
          <a:prstGeom prst="rect">
            <a:avLst/>
          </a:prstGeom>
        </p:spPr>
      </p:pic>
      <p:pic>
        <p:nvPicPr>
          <p:cNvPr id="15" name="Grafik 14" descr="Ein Bild, das Licht, Zeichnung enthält.&#10;&#10;Automatisch generierte Beschreibung">
            <a:extLst>
              <a:ext uri="{FF2B5EF4-FFF2-40B4-BE49-F238E27FC236}">
                <a16:creationId xmlns:a16="http://schemas.microsoft.com/office/drawing/2014/main" id="{51FA67A3-61E4-46B6-99DF-E85DB88C6494}"/>
              </a:ext>
            </a:extLst>
          </p:cNvPr>
          <p:cNvPicPr>
            <a:picLocks noChangeAspect="1"/>
          </p:cNvPicPr>
          <p:nvPr/>
        </p:nvPicPr>
        <p:blipFill>
          <a:blip r:embed="rId6"/>
          <a:stretch>
            <a:fillRect/>
          </a:stretch>
        </p:blipFill>
        <p:spPr>
          <a:xfrm>
            <a:off x="4073835" y="1640631"/>
            <a:ext cx="992984" cy="992984"/>
          </a:xfrm>
          <a:prstGeom prst="rect">
            <a:avLst/>
          </a:prstGeom>
        </p:spPr>
      </p:pic>
      <p:sp>
        <p:nvSpPr>
          <p:cNvPr id="19" name="Rectangle 2">
            <a:extLst>
              <a:ext uri="{FF2B5EF4-FFF2-40B4-BE49-F238E27FC236}">
                <a16:creationId xmlns:a16="http://schemas.microsoft.com/office/drawing/2014/main" id="{03B85EF5-13B9-4D0D-9E6D-9806F4547FDA}"/>
              </a:ext>
            </a:extLst>
          </p:cNvPr>
          <p:cNvSpPr>
            <a:spLocks noChangeArrowheads="1"/>
          </p:cNvSpPr>
          <p:nvPr/>
        </p:nvSpPr>
        <p:spPr bwMode="auto">
          <a:xfrm>
            <a:off x="5341684" y="1851670"/>
            <a:ext cx="2542684" cy="411657"/>
          </a:xfrm>
          <a:prstGeom prst="rect">
            <a:avLst/>
          </a:prstGeom>
          <a:noFill/>
          <a:ln>
            <a:noFill/>
          </a:ln>
          <a:effectLst/>
        </p:spPr>
        <p:txBody>
          <a:bodyPr vert="horz" wrap="none" lIns="0" tIns="-9522" rIns="0" bIns="-952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400" b="0" i="0" u="none" strike="noStrike" cap="none" normalizeH="0" baseline="0" dirty="0">
                <a:ln>
                  <a:noFill/>
                </a:ln>
                <a:solidFill>
                  <a:srgbClr val="222222"/>
                </a:solidFill>
                <a:effectLst/>
                <a:cs typeface="Arial" panose="020B0604020202020204" pitchFamily="34" charset="0"/>
              </a:rPr>
              <a:t>Long-term </a:t>
            </a:r>
            <a:r>
              <a:rPr kumimoji="0" lang="de-DE" altLang="de-DE" sz="1400" b="0" i="0" u="none" strike="noStrike" cap="none" normalizeH="0" baseline="0" dirty="0" err="1">
                <a:ln>
                  <a:noFill/>
                </a:ln>
                <a:solidFill>
                  <a:srgbClr val="222222"/>
                </a:solidFill>
                <a:effectLst/>
                <a:cs typeface="Arial" panose="020B0604020202020204" pitchFamily="34" charset="0"/>
              </a:rPr>
              <a:t>supply</a:t>
            </a:r>
            <a:r>
              <a:rPr kumimoji="0" lang="de-DE" altLang="de-DE" sz="1400" b="0" i="0" u="none" strike="noStrike" cap="none" normalizeH="0" baseline="0" dirty="0">
                <a:ln>
                  <a:noFill/>
                </a:ln>
                <a:solidFill>
                  <a:srgbClr val="222222"/>
                </a:solidFill>
                <a:effectLst/>
                <a:cs typeface="Arial" panose="020B0604020202020204" pitchFamily="34" charset="0"/>
              </a:rPr>
              <a:t> </a:t>
            </a:r>
            <a:r>
              <a:rPr kumimoji="0" lang="de-DE" altLang="de-DE" sz="1400" b="0" i="0" u="none" strike="noStrike" cap="none" normalizeH="0" baseline="0" dirty="0" err="1">
                <a:ln>
                  <a:noFill/>
                </a:ln>
                <a:solidFill>
                  <a:srgbClr val="222222"/>
                </a:solidFill>
                <a:effectLst/>
                <a:cs typeface="Arial" panose="020B0604020202020204" pitchFamily="34" charset="0"/>
              </a:rPr>
              <a:t>relationships</a:t>
            </a:r>
            <a:r>
              <a:rPr kumimoji="0" lang="de-DE" altLang="de-DE" sz="1400" b="0" i="0" u="none" strike="noStrike" cap="none" normalizeH="0" baseline="0" dirty="0">
                <a:ln>
                  <a:noFill/>
                </a:ln>
                <a:solidFill>
                  <a:srgbClr val="222222"/>
                </a:solidFill>
                <a:effectLst/>
                <a:cs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400" b="0" i="0" u="none" strike="noStrike" cap="none" normalizeH="0" baseline="0" dirty="0" err="1">
                <a:ln>
                  <a:noFill/>
                </a:ln>
                <a:solidFill>
                  <a:srgbClr val="222222"/>
                </a:solidFill>
                <a:effectLst/>
                <a:cs typeface="Arial" panose="020B0604020202020204" pitchFamily="34" charset="0"/>
              </a:rPr>
              <a:t>based</a:t>
            </a:r>
            <a:r>
              <a:rPr kumimoji="0" lang="de-DE" altLang="de-DE" sz="1400" b="0" i="0" u="none" strike="noStrike" cap="none" normalizeH="0" baseline="0" dirty="0">
                <a:ln>
                  <a:noFill/>
                </a:ln>
                <a:solidFill>
                  <a:srgbClr val="222222"/>
                </a:solidFill>
                <a:effectLst/>
                <a:cs typeface="Arial" panose="020B0604020202020204" pitchFamily="34" charset="0"/>
              </a:rPr>
              <a:t> on </a:t>
            </a:r>
            <a:r>
              <a:rPr kumimoji="0" lang="de-DE" altLang="de-DE" sz="1400" b="0" i="0" u="none" strike="noStrike" cap="none" normalizeH="0" baseline="0" dirty="0" err="1">
                <a:ln>
                  <a:noFill/>
                </a:ln>
                <a:solidFill>
                  <a:srgbClr val="222222"/>
                </a:solidFill>
                <a:effectLst/>
                <a:cs typeface="Arial" panose="020B0604020202020204" pitchFamily="34" charset="0"/>
              </a:rPr>
              <a:t>partnership</a:t>
            </a:r>
            <a:endParaRPr kumimoji="0" lang="de-DE" altLang="de-DE" sz="1400" b="0" i="0" u="none" strike="noStrike" cap="none" normalizeH="0" baseline="0" dirty="0">
              <a:ln>
                <a:noFill/>
              </a:ln>
              <a:solidFill>
                <a:schemeClr val="tx1"/>
              </a:solidFill>
              <a:effectLst/>
              <a:cs typeface="Arial" panose="020B0604020202020204" pitchFamily="34" charset="0"/>
            </a:endParaRPr>
          </a:p>
        </p:txBody>
      </p:sp>
      <p:sp>
        <p:nvSpPr>
          <p:cNvPr id="20" name="Rectangle 3">
            <a:extLst>
              <a:ext uri="{FF2B5EF4-FFF2-40B4-BE49-F238E27FC236}">
                <a16:creationId xmlns:a16="http://schemas.microsoft.com/office/drawing/2014/main" id="{F4B63303-BA92-4ACE-9DC3-D46AE12AC1B6}"/>
              </a:ext>
            </a:extLst>
          </p:cNvPr>
          <p:cNvSpPr>
            <a:spLocks noChangeArrowheads="1"/>
          </p:cNvSpPr>
          <p:nvPr/>
        </p:nvSpPr>
        <p:spPr bwMode="auto">
          <a:xfrm>
            <a:off x="1254880" y="1687752"/>
            <a:ext cx="65" cy="25776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9522" rIns="0" bIns="-952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dirty="0">
              <a:ln>
                <a:noFill/>
              </a:ln>
              <a:solidFill>
                <a:schemeClr val="tx1"/>
              </a:solidFill>
              <a:effectLst/>
            </a:endParaRPr>
          </a:p>
        </p:txBody>
      </p:sp>
      <p:sp>
        <p:nvSpPr>
          <p:cNvPr id="21" name="Rechteck 20">
            <a:extLst>
              <a:ext uri="{FF2B5EF4-FFF2-40B4-BE49-F238E27FC236}">
                <a16:creationId xmlns:a16="http://schemas.microsoft.com/office/drawing/2014/main" id="{185781B4-7497-4A8B-B1B3-F8B77E13BFC9}"/>
              </a:ext>
            </a:extLst>
          </p:cNvPr>
          <p:cNvSpPr/>
          <p:nvPr/>
        </p:nvSpPr>
        <p:spPr>
          <a:xfrm>
            <a:off x="5209009" y="3075806"/>
            <a:ext cx="3006336" cy="307777"/>
          </a:xfrm>
          <a:prstGeom prst="rect">
            <a:avLst/>
          </a:prstGeom>
        </p:spPr>
        <p:txBody>
          <a:bodyPr wrap="none">
            <a:spAutoFit/>
          </a:bodyPr>
          <a:lstStyle/>
          <a:p>
            <a:r>
              <a:rPr lang="de-DE" sz="1400" dirty="0" err="1">
                <a:solidFill>
                  <a:srgbClr val="222222"/>
                </a:solidFill>
              </a:rPr>
              <a:t>Clearly</a:t>
            </a:r>
            <a:r>
              <a:rPr lang="de-DE" sz="1400" dirty="0">
                <a:solidFill>
                  <a:srgbClr val="222222"/>
                </a:solidFill>
              </a:rPr>
              <a:t> </a:t>
            </a:r>
            <a:r>
              <a:rPr lang="de-DE" sz="1400" dirty="0" err="1">
                <a:solidFill>
                  <a:srgbClr val="222222"/>
                </a:solidFill>
              </a:rPr>
              <a:t>defined</a:t>
            </a:r>
            <a:r>
              <a:rPr lang="de-DE" sz="1400" dirty="0">
                <a:solidFill>
                  <a:srgbClr val="222222"/>
                </a:solidFill>
              </a:rPr>
              <a:t> Kaufland </a:t>
            </a:r>
            <a:r>
              <a:rPr lang="de-DE" sz="1400" dirty="0" err="1">
                <a:solidFill>
                  <a:srgbClr val="222222"/>
                </a:solidFill>
              </a:rPr>
              <a:t>standards</a:t>
            </a:r>
            <a:endParaRPr lang="de-DE" sz="1400" dirty="0"/>
          </a:p>
        </p:txBody>
      </p:sp>
      <p:sp>
        <p:nvSpPr>
          <p:cNvPr id="22" name="Rechteck 21">
            <a:extLst>
              <a:ext uri="{FF2B5EF4-FFF2-40B4-BE49-F238E27FC236}">
                <a16:creationId xmlns:a16="http://schemas.microsoft.com/office/drawing/2014/main" id="{63E6497B-9EAA-4E85-AD04-6C8B89E6B355}"/>
              </a:ext>
            </a:extLst>
          </p:cNvPr>
          <p:cNvSpPr/>
          <p:nvPr/>
        </p:nvSpPr>
        <p:spPr>
          <a:xfrm>
            <a:off x="5209009" y="4081608"/>
            <a:ext cx="3313664" cy="307777"/>
          </a:xfrm>
          <a:prstGeom prst="rect">
            <a:avLst/>
          </a:prstGeom>
        </p:spPr>
        <p:txBody>
          <a:bodyPr wrap="none">
            <a:spAutoFit/>
          </a:bodyPr>
          <a:lstStyle/>
          <a:p>
            <a:r>
              <a:rPr lang="de-DE" sz="1400" dirty="0" err="1"/>
              <a:t>Effective</a:t>
            </a:r>
            <a:r>
              <a:rPr lang="de-DE" sz="1400" dirty="0"/>
              <a:t> and </a:t>
            </a:r>
            <a:r>
              <a:rPr lang="de-DE" sz="1400" dirty="0" err="1"/>
              <a:t>preventive</a:t>
            </a:r>
            <a:r>
              <a:rPr lang="de-DE" sz="1400" dirty="0"/>
              <a:t> </a:t>
            </a:r>
            <a:r>
              <a:rPr lang="de-DE" sz="1400" dirty="0" err="1"/>
              <a:t>control</a:t>
            </a:r>
            <a:r>
              <a:rPr lang="de-DE" sz="1400" dirty="0"/>
              <a:t> on </a:t>
            </a:r>
            <a:r>
              <a:rPr lang="de-DE" sz="1400" dirty="0" err="1"/>
              <a:t>site</a:t>
            </a:r>
            <a:endParaRPr lang="de-DE" sz="1400" dirty="0"/>
          </a:p>
        </p:txBody>
      </p:sp>
      <p:pic>
        <p:nvPicPr>
          <p:cNvPr id="18" name="Grafik 17">
            <a:extLst>
              <a:ext uri="{FF2B5EF4-FFF2-40B4-BE49-F238E27FC236}">
                <a16:creationId xmlns:a16="http://schemas.microsoft.com/office/drawing/2014/main" id="{57058BDA-7850-44C6-82F6-86A6C0D2DD70}"/>
              </a:ext>
            </a:extLst>
          </p:cNvPr>
          <p:cNvPicPr>
            <a:picLocks noChangeAspect="1"/>
          </p:cNvPicPr>
          <p:nvPr/>
        </p:nvPicPr>
        <p:blipFill>
          <a:blip r:embed="rId7"/>
          <a:stretch>
            <a:fillRect/>
          </a:stretch>
        </p:blipFill>
        <p:spPr>
          <a:xfrm>
            <a:off x="426960" y="1008112"/>
            <a:ext cx="3003798" cy="3003798"/>
          </a:xfrm>
          <a:prstGeom prst="rect">
            <a:avLst/>
          </a:prstGeom>
        </p:spPr>
      </p:pic>
      <p:cxnSp>
        <p:nvCxnSpPr>
          <p:cNvPr id="123" name="Gerader Verbinder 122">
            <a:extLst>
              <a:ext uri="{FF2B5EF4-FFF2-40B4-BE49-F238E27FC236}">
                <a16:creationId xmlns:a16="http://schemas.microsoft.com/office/drawing/2014/main" id="{59F5AD07-3802-4002-96D6-EF6F0F4DD60E}"/>
              </a:ext>
            </a:extLst>
          </p:cNvPr>
          <p:cNvCxnSpPr>
            <a:cxnSpLocks/>
          </p:cNvCxnSpPr>
          <p:nvPr/>
        </p:nvCxnSpPr>
        <p:spPr bwMode="gray">
          <a:xfrm flipV="1">
            <a:off x="2627784" y="1347615"/>
            <a:ext cx="262030" cy="1512167"/>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Ellipse 10">
            <a:extLst>
              <a:ext uri="{FF2B5EF4-FFF2-40B4-BE49-F238E27FC236}">
                <a16:creationId xmlns:a16="http://schemas.microsoft.com/office/drawing/2014/main" id="{108CE996-FCF9-4F9C-A6B9-6E48BCB346E8}"/>
              </a:ext>
            </a:extLst>
          </p:cNvPr>
          <p:cNvSpPr/>
          <p:nvPr/>
        </p:nvSpPr>
        <p:spPr bwMode="gray">
          <a:xfrm>
            <a:off x="1187624" y="3291830"/>
            <a:ext cx="1512168" cy="1440160"/>
          </a:xfrm>
          <a:prstGeom prst="ellips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ct val="110000"/>
              </a:lnSpc>
              <a:spcBef>
                <a:spcPts val="300"/>
              </a:spcBef>
              <a:spcAft>
                <a:spcPts val="300"/>
              </a:spcAft>
            </a:pPr>
            <a:endParaRPr lang="de-DE" sz="1200" dirty="0" err="1">
              <a:solidFill>
                <a:schemeClr val="bg1"/>
              </a:solidFill>
            </a:endParaRPr>
          </a:p>
        </p:txBody>
      </p:sp>
    </p:spTree>
    <p:extLst>
      <p:ext uri="{BB962C8B-B14F-4D97-AF65-F5344CB8AC3E}">
        <p14:creationId xmlns:p14="http://schemas.microsoft.com/office/powerpoint/2010/main" val="19204866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1" grpId="0"/>
      <p:bldP spid="2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itel 115"/>
          <p:cNvSpPr>
            <a:spLocks noGrp="1"/>
          </p:cNvSpPr>
          <p:nvPr>
            <p:ph type="title"/>
          </p:nvPr>
        </p:nvSpPr>
        <p:spPr>
          <a:xfrm>
            <a:off x="395288" y="483518"/>
            <a:ext cx="8350079" cy="594427"/>
          </a:xfrm>
        </p:spPr>
        <p:txBody>
          <a:bodyPr/>
          <a:lstStyle/>
          <a:p>
            <a:r>
              <a:rPr lang="en-US" dirty="0">
                <a:latin typeface="Kaufland Office" pitchFamily="34" charset="0"/>
                <a:cs typeface="Arial" charset="0"/>
              </a:rPr>
              <a:t>Biodiversity management </a:t>
            </a:r>
            <a:endParaRPr lang="de-DE" dirty="0"/>
          </a:p>
        </p:txBody>
      </p:sp>
      <p:sp>
        <p:nvSpPr>
          <p:cNvPr id="5" name="Textplatzhalter 4"/>
          <p:cNvSpPr>
            <a:spLocks noGrp="1"/>
          </p:cNvSpPr>
          <p:nvPr>
            <p:ph type="body" sz="quarter" idx="20"/>
          </p:nvPr>
        </p:nvSpPr>
        <p:spPr/>
        <p:txBody>
          <a:bodyPr/>
          <a:lstStyle/>
          <a:p>
            <a:r>
              <a:rPr lang="de-DE" dirty="0"/>
              <a:t>Kaufland</a:t>
            </a:r>
          </a:p>
        </p:txBody>
      </p:sp>
      <p:pic>
        <p:nvPicPr>
          <p:cNvPr id="8" name="Grafik 7" descr="Ein Bild, das Zeichnung enthält.&#10;&#10;Automatisch generierte Beschreibung">
            <a:extLst>
              <a:ext uri="{FF2B5EF4-FFF2-40B4-BE49-F238E27FC236}">
                <a16:creationId xmlns:a16="http://schemas.microsoft.com/office/drawing/2014/main" id="{7864E9CC-422C-43E5-8141-377D86444535}"/>
              </a:ext>
            </a:extLst>
          </p:cNvPr>
          <p:cNvPicPr>
            <a:picLocks noChangeAspect="1"/>
          </p:cNvPicPr>
          <p:nvPr/>
        </p:nvPicPr>
        <p:blipFill>
          <a:blip r:embed="rId3"/>
          <a:stretch>
            <a:fillRect/>
          </a:stretch>
        </p:blipFill>
        <p:spPr>
          <a:xfrm>
            <a:off x="8172400" y="198544"/>
            <a:ext cx="843558" cy="843558"/>
          </a:xfrm>
          <a:prstGeom prst="rect">
            <a:avLst/>
          </a:prstGeom>
        </p:spPr>
      </p:pic>
      <p:pic>
        <p:nvPicPr>
          <p:cNvPr id="10" name="Grafik 9">
            <a:extLst>
              <a:ext uri="{FF2B5EF4-FFF2-40B4-BE49-F238E27FC236}">
                <a16:creationId xmlns:a16="http://schemas.microsoft.com/office/drawing/2014/main" id="{7682008A-51C6-4274-BE56-406E391C5D3C}"/>
              </a:ext>
            </a:extLst>
          </p:cNvPr>
          <p:cNvPicPr>
            <a:picLocks noChangeAspect="1"/>
          </p:cNvPicPr>
          <p:nvPr/>
        </p:nvPicPr>
        <p:blipFill>
          <a:blip r:embed="rId4"/>
          <a:stretch>
            <a:fillRect/>
          </a:stretch>
        </p:blipFill>
        <p:spPr>
          <a:xfrm>
            <a:off x="429846" y="1008112"/>
            <a:ext cx="3003798" cy="3003798"/>
          </a:xfrm>
          <a:prstGeom prst="rect">
            <a:avLst/>
          </a:prstGeom>
        </p:spPr>
      </p:pic>
      <p:sp>
        <p:nvSpPr>
          <p:cNvPr id="11" name="Ellipse 10">
            <a:extLst>
              <a:ext uri="{FF2B5EF4-FFF2-40B4-BE49-F238E27FC236}">
                <a16:creationId xmlns:a16="http://schemas.microsoft.com/office/drawing/2014/main" id="{108CE996-FCF9-4F9C-A6B9-6E48BCB346E8}"/>
              </a:ext>
            </a:extLst>
          </p:cNvPr>
          <p:cNvSpPr/>
          <p:nvPr/>
        </p:nvSpPr>
        <p:spPr bwMode="gray">
          <a:xfrm>
            <a:off x="1187624" y="3291830"/>
            <a:ext cx="1512168" cy="1440160"/>
          </a:xfrm>
          <a:prstGeom prst="ellips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ct val="110000"/>
              </a:lnSpc>
              <a:spcBef>
                <a:spcPts val="300"/>
              </a:spcBef>
              <a:spcAft>
                <a:spcPts val="300"/>
              </a:spcAft>
            </a:pPr>
            <a:endParaRPr lang="de-DE" sz="1200" dirty="0" err="1">
              <a:solidFill>
                <a:schemeClr val="bg1"/>
              </a:solidFill>
            </a:endParaRPr>
          </a:p>
        </p:txBody>
      </p:sp>
      <p:cxnSp>
        <p:nvCxnSpPr>
          <p:cNvPr id="17" name="Gerader Verbinder 16">
            <a:extLst>
              <a:ext uri="{FF2B5EF4-FFF2-40B4-BE49-F238E27FC236}">
                <a16:creationId xmlns:a16="http://schemas.microsoft.com/office/drawing/2014/main" id="{0FF18423-8068-475A-9BF9-AE11B576CEB9}"/>
              </a:ext>
            </a:extLst>
          </p:cNvPr>
          <p:cNvCxnSpPr>
            <a:cxnSpLocks/>
          </p:cNvCxnSpPr>
          <p:nvPr/>
        </p:nvCxnSpPr>
        <p:spPr bwMode="gray">
          <a:xfrm flipV="1">
            <a:off x="1943708" y="1258126"/>
            <a:ext cx="1260140" cy="2738658"/>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D87FA643-92D8-402D-9200-7A8D310C3F7E}"/>
              </a:ext>
            </a:extLst>
          </p:cNvPr>
          <p:cNvCxnSpPr>
            <a:cxnSpLocks/>
          </p:cNvCxnSpPr>
          <p:nvPr/>
        </p:nvCxnSpPr>
        <p:spPr bwMode="gray">
          <a:xfrm>
            <a:off x="3197498" y="1257901"/>
            <a:ext cx="1243832" cy="8797"/>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B08AD292-2FEA-4730-AE29-B6ACBAA94027}"/>
              </a:ext>
            </a:extLst>
          </p:cNvPr>
          <p:cNvSpPr txBox="1"/>
          <p:nvPr/>
        </p:nvSpPr>
        <p:spPr bwMode="gray">
          <a:xfrm>
            <a:off x="4573802" y="1010594"/>
            <a:ext cx="1872208" cy="585630"/>
          </a:xfrm>
          <a:prstGeom prst="rect">
            <a:avLst/>
          </a:prstGeom>
          <a:noFill/>
        </p:spPr>
        <p:txBody>
          <a:bodyPr wrap="square" lIns="0" tIns="0" rIns="0" bIns="0" rtlCol="0">
            <a:noAutofit/>
          </a:bodyPr>
          <a:lstStyle/>
          <a:p>
            <a:pPr>
              <a:lnSpc>
                <a:spcPct val="110000"/>
              </a:lnSpc>
              <a:spcBef>
                <a:spcPts val="300"/>
              </a:spcBef>
              <a:spcAft>
                <a:spcPts val="300"/>
              </a:spcAft>
              <a:buClr>
                <a:schemeClr val="accent1"/>
              </a:buClr>
            </a:pPr>
            <a:r>
              <a:rPr lang="de-DE" sz="1200" b="1" dirty="0"/>
              <a:t>Communication- and </a:t>
            </a:r>
            <a:r>
              <a:rPr lang="de-DE" sz="1200" b="1" dirty="0" err="1"/>
              <a:t>Assortment</a:t>
            </a:r>
            <a:r>
              <a:rPr lang="de-DE" sz="1200" b="1" dirty="0"/>
              <a:t> </a:t>
            </a:r>
            <a:r>
              <a:rPr lang="de-DE" sz="1200" b="1" dirty="0" err="1"/>
              <a:t>management</a:t>
            </a:r>
            <a:r>
              <a:rPr lang="de-DE" sz="1200" b="1" dirty="0"/>
              <a:t> </a:t>
            </a:r>
          </a:p>
        </p:txBody>
      </p:sp>
      <p:pic>
        <p:nvPicPr>
          <p:cNvPr id="141" name="Grafik 140">
            <a:extLst>
              <a:ext uri="{FF2B5EF4-FFF2-40B4-BE49-F238E27FC236}">
                <a16:creationId xmlns:a16="http://schemas.microsoft.com/office/drawing/2014/main" id="{7121F262-D3C3-4B1A-852B-5C361AC192C5}"/>
              </a:ext>
            </a:extLst>
          </p:cNvPr>
          <p:cNvPicPr>
            <a:picLocks noChangeAspect="1"/>
          </p:cNvPicPr>
          <p:nvPr/>
        </p:nvPicPr>
        <p:blipFill>
          <a:blip r:embed="rId5"/>
          <a:stretch>
            <a:fillRect/>
          </a:stretch>
        </p:blipFill>
        <p:spPr>
          <a:xfrm>
            <a:off x="5796028" y="2911645"/>
            <a:ext cx="1437184" cy="839101"/>
          </a:xfrm>
          <a:prstGeom prst="rect">
            <a:avLst/>
          </a:prstGeom>
        </p:spPr>
      </p:pic>
      <p:pic>
        <p:nvPicPr>
          <p:cNvPr id="142" name="Grafik 141">
            <a:extLst>
              <a:ext uri="{FF2B5EF4-FFF2-40B4-BE49-F238E27FC236}">
                <a16:creationId xmlns:a16="http://schemas.microsoft.com/office/drawing/2014/main" id="{9F48B962-34AD-4D51-9DE9-F0FDC15B2421}"/>
              </a:ext>
            </a:extLst>
          </p:cNvPr>
          <p:cNvPicPr>
            <a:picLocks noChangeAspect="1"/>
          </p:cNvPicPr>
          <p:nvPr/>
        </p:nvPicPr>
        <p:blipFill>
          <a:blip r:embed="rId6"/>
          <a:stretch>
            <a:fillRect/>
          </a:stretch>
        </p:blipFill>
        <p:spPr>
          <a:xfrm>
            <a:off x="7588809" y="3531360"/>
            <a:ext cx="1379133" cy="806098"/>
          </a:xfrm>
          <a:prstGeom prst="rect">
            <a:avLst/>
          </a:prstGeom>
        </p:spPr>
      </p:pic>
      <p:pic>
        <p:nvPicPr>
          <p:cNvPr id="27" name="Grafik 26">
            <a:extLst>
              <a:ext uri="{FF2B5EF4-FFF2-40B4-BE49-F238E27FC236}">
                <a16:creationId xmlns:a16="http://schemas.microsoft.com/office/drawing/2014/main" id="{0B451DB5-C180-4E13-8E23-5DD8714BBDF7}"/>
              </a:ext>
            </a:extLst>
          </p:cNvPr>
          <p:cNvPicPr>
            <a:picLocks noChangeAspect="1"/>
          </p:cNvPicPr>
          <p:nvPr/>
        </p:nvPicPr>
        <p:blipFill>
          <a:blip r:embed="rId7"/>
          <a:stretch>
            <a:fillRect/>
          </a:stretch>
        </p:blipFill>
        <p:spPr>
          <a:xfrm>
            <a:off x="3683446" y="1521162"/>
            <a:ext cx="1927920" cy="1212802"/>
          </a:xfrm>
          <a:prstGeom prst="rect">
            <a:avLst/>
          </a:prstGeom>
        </p:spPr>
      </p:pic>
      <p:pic>
        <p:nvPicPr>
          <p:cNvPr id="28" name="Grafik 27">
            <a:extLst>
              <a:ext uri="{FF2B5EF4-FFF2-40B4-BE49-F238E27FC236}">
                <a16:creationId xmlns:a16="http://schemas.microsoft.com/office/drawing/2014/main" id="{126DEF33-A3B6-4A18-B97E-D8747722D069}"/>
              </a:ext>
            </a:extLst>
          </p:cNvPr>
          <p:cNvPicPr>
            <a:picLocks noChangeAspect="1"/>
          </p:cNvPicPr>
          <p:nvPr/>
        </p:nvPicPr>
        <p:blipFill>
          <a:blip r:embed="rId8"/>
          <a:stretch>
            <a:fillRect/>
          </a:stretch>
        </p:blipFill>
        <p:spPr>
          <a:xfrm>
            <a:off x="4124429" y="3237400"/>
            <a:ext cx="980814" cy="1380883"/>
          </a:xfrm>
          <a:prstGeom prst="rect">
            <a:avLst/>
          </a:prstGeom>
        </p:spPr>
      </p:pic>
      <p:pic>
        <p:nvPicPr>
          <p:cNvPr id="29" name="Grafik 28">
            <a:extLst>
              <a:ext uri="{FF2B5EF4-FFF2-40B4-BE49-F238E27FC236}">
                <a16:creationId xmlns:a16="http://schemas.microsoft.com/office/drawing/2014/main" id="{5D7C3FF9-5355-48D5-AEF1-7E940C793CD5}"/>
              </a:ext>
            </a:extLst>
          </p:cNvPr>
          <p:cNvPicPr>
            <a:picLocks noChangeAspect="1"/>
          </p:cNvPicPr>
          <p:nvPr/>
        </p:nvPicPr>
        <p:blipFill>
          <a:blip r:embed="rId9"/>
          <a:stretch>
            <a:fillRect/>
          </a:stretch>
        </p:blipFill>
        <p:spPr>
          <a:xfrm>
            <a:off x="5833376" y="4026223"/>
            <a:ext cx="1399836" cy="859766"/>
          </a:xfrm>
          <a:prstGeom prst="rect">
            <a:avLst/>
          </a:prstGeom>
        </p:spPr>
      </p:pic>
      <p:pic>
        <p:nvPicPr>
          <p:cNvPr id="30" name="Grafik 29">
            <a:extLst>
              <a:ext uri="{FF2B5EF4-FFF2-40B4-BE49-F238E27FC236}">
                <a16:creationId xmlns:a16="http://schemas.microsoft.com/office/drawing/2014/main" id="{F686208F-2328-4302-9AE3-B906911ED0D7}"/>
              </a:ext>
            </a:extLst>
          </p:cNvPr>
          <p:cNvPicPr>
            <a:picLocks noChangeAspect="1"/>
          </p:cNvPicPr>
          <p:nvPr/>
        </p:nvPicPr>
        <p:blipFill>
          <a:blip r:embed="rId10"/>
          <a:stretch>
            <a:fillRect/>
          </a:stretch>
        </p:blipFill>
        <p:spPr>
          <a:xfrm>
            <a:off x="6181445" y="1576068"/>
            <a:ext cx="2532709" cy="1206321"/>
          </a:xfrm>
          <a:prstGeom prst="rect">
            <a:avLst/>
          </a:prstGeom>
        </p:spPr>
      </p:pic>
    </p:spTree>
    <p:extLst>
      <p:ext uri="{BB962C8B-B14F-4D97-AF65-F5344CB8AC3E}">
        <p14:creationId xmlns:p14="http://schemas.microsoft.com/office/powerpoint/2010/main" val="5809046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4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uadroTexto 1">
            <a:extLst>
              <a:ext uri="{FF2B5EF4-FFF2-40B4-BE49-F238E27FC236}">
                <a16:creationId xmlns:a16="http://schemas.microsoft.com/office/drawing/2014/main" id="{77EF2E1E-4ED0-4CD1-9133-BE05B5729A33}"/>
              </a:ext>
            </a:extLst>
          </p:cNvPr>
          <p:cNvSpPr txBox="1"/>
          <p:nvPr/>
        </p:nvSpPr>
        <p:spPr>
          <a:xfrm>
            <a:off x="1392682" y="951570"/>
            <a:ext cx="4980167" cy="646331"/>
          </a:xfrm>
          <a:prstGeom prst="rect">
            <a:avLst/>
          </a:prstGeom>
          <a:noFill/>
        </p:spPr>
        <p:txBody>
          <a:bodyPr wrap="square" rtlCol="0">
            <a:spAutoFit/>
          </a:bodyPr>
          <a:lstStyle/>
          <a:p>
            <a:pPr defTabSz="685800"/>
            <a:r>
              <a:rPr lang="en" b="1" dirty="0">
                <a:solidFill>
                  <a:srgbClr val="76291A"/>
                </a:solidFill>
                <a:latin typeface="Calibri"/>
                <a:cs typeface="Calibri" panose="020F0502020204030204" pitchFamily="34" charset="0"/>
              </a:rPr>
              <a:t>Biodiversity - The basis of our food systems under serious threat</a:t>
            </a:r>
          </a:p>
        </p:txBody>
      </p:sp>
      <p:sp>
        <p:nvSpPr>
          <p:cNvPr id="13" name="Untertitel 2">
            <a:extLst>
              <a:ext uri="{FF2B5EF4-FFF2-40B4-BE49-F238E27FC236}">
                <a16:creationId xmlns:a16="http://schemas.microsoft.com/office/drawing/2014/main" id="{D05FD152-CC27-4639-A250-E7BE8DD100A3}"/>
              </a:ext>
            </a:extLst>
          </p:cNvPr>
          <p:cNvSpPr txBox="1">
            <a:spLocks/>
          </p:cNvSpPr>
          <p:nvPr/>
        </p:nvSpPr>
        <p:spPr>
          <a:xfrm>
            <a:off x="1392682" y="1772058"/>
            <a:ext cx="6358637" cy="2905926"/>
          </a:xfrm>
          <a:prstGeom prst="rect">
            <a:avLst/>
          </a:prstGeom>
        </p:spPr>
        <p:txBody>
          <a:bodyPr>
            <a:noAutofit/>
          </a:bodyPr>
          <a:lstStyle>
            <a:lvl1pPr marL="0" indent="0" algn="l" defTabSz="685800" rtl="0" eaLnBrk="1" latinLnBrk="0" hangingPunct="1">
              <a:lnSpc>
                <a:spcPct val="90000"/>
              </a:lnSpc>
              <a:spcBef>
                <a:spcPts val="600"/>
              </a:spcBef>
              <a:buFont typeface="Arial" panose="020B0604020202020204" pitchFamily="34" charset="0"/>
              <a:buNone/>
              <a:defRPr lang="de-DE" sz="1200" kern="1200" dirty="0" smtClean="0">
                <a:solidFill>
                  <a:schemeClr val="tx1"/>
                </a:solidFill>
                <a:latin typeface="+mn-lt"/>
                <a:ea typeface="+mn-ea"/>
                <a:cs typeface="+mn-cs"/>
              </a:defRPr>
            </a:lvl1pPr>
            <a:lvl2pPr marL="180975" indent="-180975" algn="l" defTabSz="685800" rtl="0" eaLnBrk="1" latinLnBrk="0" hangingPunct="1">
              <a:lnSpc>
                <a:spcPct val="90000"/>
              </a:lnSpc>
              <a:spcBef>
                <a:spcPts val="600"/>
              </a:spcBef>
              <a:buClr>
                <a:schemeClr val="accent1"/>
              </a:buClr>
              <a:buFont typeface="Wingdings" panose="05000000000000000000" pitchFamily="2" charset="2"/>
              <a:buChar char="§"/>
              <a:defRPr lang="de-DE" sz="1200" kern="1200" dirty="0" smtClean="0">
                <a:solidFill>
                  <a:schemeClr val="tx1"/>
                </a:solidFill>
                <a:latin typeface="+mn-lt"/>
                <a:ea typeface="+mn-ea"/>
                <a:cs typeface="+mn-cs"/>
              </a:defRPr>
            </a:lvl2pPr>
            <a:lvl3pPr marL="357188" indent="-176213" algn="l" defTabSz="685800" rtl="0" eaLnBrk="1" latinLnBrk="0" hangingPunct="1">
              <a:lnSpc>
                <a:spcPct val="90000"/>
              </a:lnSpc>
              <a:spcBef>
                <a:spcPts val="600"/>
              </a:spcBef>
              <a:buClr>
                <a:schemeClr val="accent1"/>
              </a:buClr>
              <a:buFont typeface="Symbol" panose="05050102010706020507" pitchFamily="18" charset="2"/>
              <a:buChar char="-"/>
              <a:defRPr lang="de-DE" sz="1100" kern="1200" dirty="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just" defTabSz="514350">
              <a:spcBef>
                <a:spcPts val="450"/>
              </a:spcBef>
            </a:pPr>
            <a:r>
              <a:rPr lang="es-AR" sz="1500" dirty="0">
                <a:solidFill>
                  <a:srgbClr val="56731D"/>
                </a:solidFill>
                <a:latin typeface="Calibri"/>
                <a:cs typeface="Calibri" panose="020F0502020204030204" pitchFamily="34" charset="0"/>
              </a:rPr>
              <a:t>FAO’s Director- General: </a:t>
            </a:r>
          </a:p>
          <a:p>
            <a:pPr algn="just" defTabSz="514350">
              <a:spcBef>
                <a:spcPts val="450"/>
              </a:spcBef>
            </a:pPr>
            <a:r>
              <a:rPr lang="en" sz="1500" dirty="0">
                <a:solidFill>
                  <a:srgbClr val="56731D"/>
                </a:solidFill>
                <a:latin typeface="Calibri"/>
                <a:cs typeface="Calibri" panose="020F0502020204030204" pitchFamily="34" charset="0"/>
              </a:rPr>
              <a:t>“Biodiversity is critical for safeguarding global food security, underpinning healthy and nutritious diets, improving rural livelihoods, and enhancing the resilience of people and communities. We need to use biodiversity in a sustainable way, so that we can better respond to rising climate change challenges and produce food in a way that doesn’t harm our environment”</a:t>
            </a:r>
          </a:p>
          <a:p>
            <a:pPr algn="just" defTabSz="514350">
              <a:spcBef>
                <a:spcPts val="450"/>
              </a:spcBef>
            </a:pPr>
            <a:r>
              <a:rPr lang="en" sz="1500" dirty="0">
                <a:solidFill>
                  <a:srgbClr val="56731D"/>
                </a:solidFill>
                <a:latin typeface="Calibri"/>
                <a:cs typeface="Calibri" panose="020F0502020204030204" pitchFamily="34" charset="0"/>
              </a:rPr>
              <a:t> </a:t>
            </a:r>
            <a:endParaRPr lang="es-AR" sz="1500" dirty="0">
              <a:solidFill>
                <a:srgbClr val="56731D"/>
              </a:solidFill>
              <a:latin typeface="Calibri"/>
              <a:cs typeface="Calibri" panose="020F0502020204030204" pitchFamily="34" charset="0"/>
            </a:endParaRPr>
          </a:p>
          <a:p>
            <a:pPr algn="just" defTabSz="514350">
              <a:spcBef>
                <a:spcPts val="450"/>
              </a:spcBef>
            </a:pPr>
            <a:r>
              <a:rPr lang="en" sz="1500" dirty="0">
                <a:solidFill>
                  <a:srgbClr val="56731D"/>
                </a:solidFill>
                <a:latin typeface="Calibri"/>
                <a:cs typeface="Calibri" panose="020F0502020204030204" pitchFamily="34" charset="0"/>
              </a:rPr>
              <a:t>“Less biodiversity means that plants and animals are more vulnerable to pests and diseases. Compounded by our reliance on fewer and fewer species to feed ourselves, the increasing loss of biodiversity for food and agriculture puts food security and nutrition at risk” </a:t>
            </a:r>
            <a:endParaRPr lang="es-AR" sz="1500" dirty="0">
              <a:solidFill>
                <a:srgbClr val="56731D"/>
              </a:solidFill>
              <a:latin typeface="Calibri"/>
              <a:cs typeface="Calibri" panose="020F0502020204030204" pitchFamily="34" charset="0"/>
            </a:endParaRPr>
          </a:p>
        </p:txBody>
      </p:sp>
    </p:spTree>
    <p:extLst>
      <p:ext uri="{BB962C8B-B14F-4D97-AF65-F5344CB8AC3E}">
        <p14:creationId xmlns:p14="http://schemas.microsoft.com/office/powerpoint/2010/main" val="173679112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F3230613-C9C6-43C2-A5CB-16D1111EFF22}"/>
              </a:ext>
            </a:extLst>
          </p:cNvPr>
          <p:cNvSpPr>
            <a:spLocks noGrp="1"/>
          </p:cNvSpPr>
          <p:nvPr>
            <p:ph type="title"/>
          </p:nvPr>
        </p:nvSpPr>
        <p:spPr>
          <a:xfrm>
            <a:off x="1439652" y="1167594"/>
            <a:ext cx="5604452" cy="1188132"/>
          </a:xfrm>
        </p:spPr>
        <p:txBody>
          <a:bodyPr>
            <a:normAutofit fontScale="90000"/>
          </a:bodyPr>
          <a:lstStyle/>
          <a:p>
            <a:r>
              <a:rPr lang="es-CO" sz="1350" dirty="0"/>
              <a:t>Group to build the Initiative composed by 15 actors:</a:t>
            </a:r>
            <a:br>
              <a:rPr lang="es-CO" sz="1350" dirty="0"/>
            </a:br>
            <a:r>
              <a:rPr lang="es-CO" sz="1350" dirty="0"/>
              <a:t/>
            </a:r>
            <a:br>
              <a:rPr lang="es-CO" sz="1350" dirty="0"/>
            </a:br>
            <a:r>
              <a:rPr lang="es-CO" sz="1350" dirty="0"/>
              <a:t>	Food companies and retailers</a:t>
            </a:r>
            <a:br>
              <a:rPr lang="es-CO" sz="1350" dirty="0"/>
            </a:br>
            <a:r>
              <a:rPr lang="es-CO" sz="1350" dirty="0"/>
              <a:t>	Food standards</a:t>
            </a:r>
            <a:br>
              <a:rPr lang="es-CO" sz="1350" dirty="0"/>
            </a:br>
            <a:r>
              <a:rPr lang="es-CO" sz="1350" dirty="0"/>
              <a:t>	Agricultural organisations</a:t>
            </a:r>
            <a:br>
              <a:rPr lang="es-CO" sz="1350" dirty="0"/>
            </a:br>
            <a:r>
              <a:rPr lang="es-CO" sz="1350" dirty="0"/>
              <a:t>	Environmental NGOs</a:t>
            </a:r>
            <a:br>
              <a:rPr lang="es-CO" sz="1350" dirty="0"/>
            </a:br>
            <a:r>
              <a:rPr lang="es-CO" sz="1350" dirty="0"/>
              <a:t>	Scientific institutions</a:t>
            </a:r>
            <a:br>
              <a:rPr lang="es-CO" sz="1350" dirty="0"/>
            </a:br>
            <a:r>
              <a:rPr lang="es-CO" sz="1350" dirty="0"/>
              <a:t/>
            </a:r>
            <a:br>
              <a:rPr lang="es-CO" sz="1350" dirty="0"/>
            </a:br>
            <a:endParaRPr lang="es-CO" sz="1350" dirty="0"/>
          </a:p>
        </p:txBody>
      </p:sp>
      <p:sp>
        <p:nvSpPr>
          <p:cNvPr id="2" name="Textfeld 1"/>
          <p:cNvSpPr txBox="1"/>
          <p:nvPr/>
        </p:nvSpPr>
        <p:spPr>
          <a:xfrm>
            <a:off x="1769774" y="195486"/>
            <a:ext cx="4260388" cy="369332"/>
          </a:xfrm>
          <a:prstGeom prst="rect">
            <a:avLst/>
          </a:prstGeom>
          <a:noFill/>
        </p:spPr>
        <p:txBody>
          <a:bodyPr wrap="square" rtlCol="0">
            <a:spAutoFit/>
          </a:bodyPr>
          <a:lstStyle/>
          <a:p>
            <a:pPr defTabSz="685800"/>
            <a:r>
              <a:rPr lang="de-DE" b="1" dirty="0">
                <a:solidFill>
                  <a:srgbClr val="56731D"/>
                </a:solidFill>
                <a:latin typeface="Calibri"/>
              </a:rPr>
              <a:t>German Food </a:t>
            </a:r>
            <a:r>
              <a:rPr lang="de-DE" b="1" dirty="0" err="1">
                <a:solidFill>
                  <a:srgbClr val="56731D"/>
                </a:solidFill>
                <a:latin typeface="Calibri"/>
              </a:rPr>
              <a:t>Sector</a:t>
            </a:r>
            <a:r>
              <a:rPr lang="de-DE" b="1" dirty="0">
                <a:solidFill>
                  <a:srgbClr val="56731D"/>
                </a:solidFill>
                <a:latin typeface="Calibri"/>
              </a:rPr>
              <a:t> Initiative</a:t>
            </a:r>
          </a:p>
        </p:txBody>
      </p:sp>
      <p:sp>
        <p:nvSpPr>
          <p:cNvPr id="7" name="Rechteck 6"/>
          <p:cNvSpPr/>
          <p:nvPr/>
        </p:nvSpPr>
        <p:spPr>
          <a:xfrm>
            <a:off x="1223628" y="3512009"/>
            <a:ext cx="1817897" cy="594066"/>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500" b="1" dirty="0">
                <a:solidFill>
                  <a:srgbClr val="FFFFFF"/>
                </a:solidFill>
                <a:latin typeface="Calibri"/>
              </a:rPr>
              <a:t>Statutes</a:t>
            </a:r>
          </a:p>
        </p:txBody>
      </p:sp>
      <p:sp>
        <p:nvSpPr>
          <p:cNvPr id="8" name="Rechteck 7"/>
          <p:cNvSpPr/>
          <p:nvPr/>
        </p:nvSpPr>
        <p:spPr>
          <a:xfrm>
            <a:off x="1973264" y="2582828"/>
            <a:ext cx="2322258" cy="5940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500" b="1" dirty="0" err="1">
                <a:solidFill>
                  <a:srgbClr val="FFFFFF"/>
                </a:solidFill>
                <a:latin typeface="Calibri"/>
              </a:rPr>
              <a:t>Association</a:t>
            </a:r>
            <a:endParaRPr lang="de-DE" sz="1500" b="1" dirty="0">
              <a:solidFill>
                <a:srgbClr val="FFFFFF"/>
              </a:solidFill>
              <a:latin typeface="Calibri"/>
            </a:endParaRPr>
          </a:p>
          <a:p>
            <a:pPr algn="ctr" defTabSz="685800"/>
            <a:r>
              <a:rPr lang="de-DE" sz="1500" b="1" dirty="0" err="1">
                <a:solidFill>
                  <a:srgbClr val="FFFFFF"/>
                </a:solidFill>
                <a:latin typeface="Calibri"/>
              </a:rPr>
              <a:t>Starting</a:t>
            </a:r>
            <a:r>
              <a:rPr lang="de-DE" sz="1500" b="1" dirty="0">
                <a:solidFill>
                  <a:srgbClr val="FFFFFF"/>
                </a:solidFill>
                <a:latin typeface="Calibri"/>
              </a:rPr>
              <a:t> in </a:t>
            </a:r>
            <a:r>
              <a:rPr lang="de-DE" sz="1500" b="1" dirty="0" err="1">
                <a:solidFill>
                  <a:srgbClr val="FFFFFF"/>
                </a:solidFill>
                <a:latin typeface="Calibri"/>
              </a:rPr>
              <a:t>January</a:t>
            </a:r>
            <a:r>
              <a:rPr lang="de-DE" sz="1500" b="1" dirty="0">
                <a:solidFill>
                  <a:srgbClr val="FFFFFF"/>
                </a:solidFill>
                <a:latin typeface="Calibri"/>
              </a:rPr>
              <a:t> 2021</a:t>
            </a:r>
          </a:p>
        </p:txBody>
      </p:sp>
      <p:sp>
        <p:nvSpPr>
          <p:cNvPr id="9" name="Rechteck 8"/>
          <p:cNvSpPr/>
          <p:nvPr/>
        </p:nvSpPr>
        <p:spPr>
          <a:xfrm>
            <a:off x="3134394" y="3512009"/>
            <a:ext cx="1761643" cy="594066"/>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500" b="1" dirty="0" err="1">
                <a:solidFill>
                  <a:srgbClr val="FFFFFF"/>
                </a:solidFill>
                <a:latin typeface="Calibri"/>
              </a:rPr>
              <a:t>Self-Commitment</a:t>
            </a:r>
            <a:endParaRPr lang="de-DE" sz="1500" b="1" dirty="0">
              <a:solidFill>
                <a:srgbClr val="FFFFFF"/>
              </a:solidFill>
              <a:latin typeface="Calibri"/>
            </a:endParaRPr>
          </a:p>
        </p:txBody>
      </p:sp>
      <p:sp>
        <p:nvSpPr>
          <p:cNvPr id="10" name="Textfeld 9"/>
          <p:cNvSpPr txBox="1"/>
          <p:nvPr/>
        </p:nvSpPr>
        <p:spPr>
          <a:xfrm>
            <a:off x="5112060" y="1329612"/>
            <a:ext cx="2808312" cy="3624069"/>
          </a:xfrm>
          <a:prstGeom prst="rect">
            <a:avLst/>
          </a:prstGeom>
          <a:noFill/>
        </p:spPr>
        <p:txBody>
          <a:bodyPr wrap="square" rtlCol="0">
            <a:spAutoFit/>
          </a:bodyPr>
          <a:lstStyle/>
          <a:p>
            <a:pPr marL="214313" indent="-214313" defTabSz="685800">
              <a:buFont typeface="Wingdings" panose="05000000000000000000" pitchFamily="2" charset="2"/>
              <a:buChar char="§"/>
            </a:pPr>
            <a:r>
              <a:rPr lang="de-DE" sz="1350" b="1" dirty="0">
                <a:solidFill>
                  <a:srgbClr val="56731D"/>
                </a:solidFill>
                <a:latin typeface="Calibri"/>
              </a:rPr>
              <a:t>Motivation </a:t>
            </a:r>
            <a:r>
              <a:rPr lang="de-DE" sz="1350" b="1" dirty="0" err="1">
                <a:solidFill>
                  <a:srgbClr val="56731D"/>
                </a:solidFill>
                <a:latin typeface="Calibri"/>
              </a:rPr>
              <a:t>to</a:t>
            </a:r>
            <a:r>
              <a:rPr lang="de-DE" sz="1350" b="1" dirty="0">
                <a:solidFill>
                  <a:srgbClr val="56731D"/>
                </a:solidFill>
                <a:latin typeface="Calibri"/>
              </a:rPr>
              <a:t> </a:t>
            </a:r>
            <a:r>
              <a:rPr lang="de-DE" sz="1350" b="1" dirty="0" err="1">
                <a:solidFill>
                  <a:srgbClr val="56731D"/>
                </a:solidFill>
                <a:latin typeface="Calibri"/>
              </a:rPr>
              <a:t>take</a:t>
            </a:r>
            <a:r>
              <a:rPr lang="de-DE" sz="1350" b="1" dirty="0">
                <a:solidFill>
                  <a:srgbClr val="56731D"/>
                </a:solidFill>
                <a:latin typeface="Calibri"/>
              </a:rPr>
              <a:t> </a:t>
            </a:r>
            <a:r>
              <a:rPr lang="de-DE" sz="1350" b="1" dirty="0" err="1">
                <a:solidFill>
                  <a:srgbClr val="56731D"/>
                </a:solidFill>
                <a:latin typeface="Calibri"/>
              </a:rPr>
              <a:t>biodiversity</a:t>
            </a:r>
            <a:r>
              <a:rPr lang="de-DE" sz="1350" b="1" dirty="0">
                <a:solidFill>
                  <a:srgbClr val="56731D"/>
                </a:solidFill>
                <a:latin typeface="Calibri"/>
              </a:rPr>
              <a:t> </a:t>
            </a:r>
            <a:r>
              <a:rPr lang="de-DE" sz="1350" b="1" dirty="0" err="1">
                <a:solidFill>
                  <a:srgbClr val="56731D"/>
                </a:solidFill>
                <a:latin typeface="Calibri"/>
              </a:rPr>
              <a:t>protection</a:t>
            </a:r>
            <a:r>
              <a:rPr lang="de-DE" sz="1350" b="1" dirty="0">
                <a:solidFill>
                  <a:srgbClr val="56731D"/>
                </a:solidFill>
                <a:latin typeface="Calibri"/>
              </a:rPr>
              <a:t> </a:t>
            </a:r>
            <a:r>
              <a:rPr lang="de-DE" sz="1350" b="1" dirty="0" err="1">
                <a:solidFill>
                  <a:srgbClr val="56731D"/>
                </a:solidFill>
                <a:latin typeface="Calibri"/>
              </a:rPr>
              <a:t>serious</a:t>
            </a:r>
            <a:endParaRPr lang="de-DE" sz="1350" b="1" dirty="0">
              <a:solidFill>
                <a:srgbClr val="56731D"/>
              </a:solidFill>
              <a:latin typeface="Calibri"/>
            </a:endParaRPr>
          </a:p>
          <a:p>
            <a:pPr marL="214313" indent="-214313" defTabSz="685800">
              <a:buFont typeface="Wingdings" panose="05000000000000000000" pitchFamily="2" charset="2"/>
              <a:buChar char="§"/>
            </a:pPr>
            <a:r>
              <a:rPr lang="de-DE" sz="1350" b="1" dirty="0">
                <a:solidFill>
                  <a:srgbClr val="56731D"/>
                </a:solidFill>
                <a:latin typeface="Calibri"/>
              </a:rPr>
              <a:t>Implementation </a:t>
            </a:r>
            <a:r>
              <a:rPr lang="de-DE" sz="1350" b="1" dirty="0" err="1">
                <a:solidFill>
                  <a:srgbClr val="56731D"/>
                </a:solidFill>
                <a:latin typeface="Calibri"/>
              </a:rPr>
              <a:t>of</a:t>
            </a:r>
            <a:r>
              <a:rPr lang="de-DE" sz="1350" b="1" dirty="0">
                <a:solidFill>
                  <a:srgbClr val="56731D"/>
                </a:solidFill>
                <a:latin typeface="Calibri"/>
              </a:rPr>
              <a:t> a basis-set </a:t>
            </a:r>
            <a:r>
              <a:rPr lang="de-DE" sz="1350" b="1" dirty="0" err="1">
                <a:solidFill>
                  <a:srgbClr val="56731D"/>
                </a:solidFill>
                <a:latin typeface="Calibri"/>
              </a:rPr>
              <a:t>of</a:t>
            </a:r>
            <a:r>
              <a:rPr lang="de-DE" sz="1350" b="1" dirty="0">
                <a:solidFill>
                  <a:srgbClr val="56731D"/>
                </a:solidFill>
                <a:latin typeface="Calibri"/>
              </a:rPr>
              <a:t> </a:t>
            </a:r>
            <a:r>
              <a:rPr lang="de-DE" sz="1350" b="1" dirty="0" err="1">
                <a:solidFill>
                  <a:srgbClr val="56731D"/>
                </a:solidFill>
                <a:latin typeface="Calibri"/>
              </a:rPr>
              <a:t>biodiversity</a:t>
            </a:r>
            <a:r>
              <a:rPr lang="de-DE" sz="1350" b="1" dirty="0">
                <a:solidFill>
                  <a:srgbClr val="56731D"/>
                </a:solidFill>
                <a:latin typeface="Calibri"/>
              </a:rPr>
              <a:t> </a:t>
            </a:r>
            <a:r>
              <a:rPr lang="de-DE" sz="1350" b="1" dirty="0" err="1">
                <a:solidFill>
                  <a:srgbClr val="56731D"/>
                </a:solidFill>
                <a:latin typeface="Calibri"/>
              </a:rPr>
              <a:t>criteria</a:t>
            </a:r>
            <a:r>
              <a:rPr lang="de-DE" sz="1350" b="1" dirty="0">
                <a:solidFill>
                  <a:srgbClr val="56731D"/>
                </a:solidFill>
                <a:latin typeface="Calibri"/>
              </a:rPr>
              <a:t> </a:t>
            </a:r>
            <a:r>
              <a:rPr lang="de-DE" sz="1350" b="1" dirty="0" err="1">
                <a:solidFill>
                  <a:srgbClr val="56731D"/>
                </a:solidFill>
                <a:latin typeface="Calibri"/>
              </a:rPr>
              <a:t>and</a:t>
            </a:r>
            <a:r>
              <a:rPr lang="de-DE" sz="1350" b="1" dirty="0">
                <a:solidFill>
                  <a:srgbClr val="56731D"/>
                </a:solidFill>
                <a:latin typeface="Calibri"/>
              </a:rPr>
              <a:t> </a:t>
            </a:r>
            <a:r>
              <a:rPr lang="de-DE" sz="1350" b="1" dirty="0" err="1">
                <a:solidFill>
                  <a:srgbClr val="56731D"/>
                </a:solidFill>
                <a:latin typeface="Calibri"/>
              </a:rPr>
              <a:t>appropiate</a:t>
            </a:r>
            <a:r>
              <a:rPr lang="de-DE" sz="1350" b="1" dirty="0">
                <a:solidFill>
                  <a:srgbClr val="56731D"/>
                </a:solidFill>
                <a:latin typeface="Calibri"/>
              </a:rPr>
              <a:t> </a:t>
            </a:r>
            <a:r>
              <a:rPr lang="de-DE" sz="1350" b="1" dirty="0" err="1">
                <a:solidFill>
                  <a:srgbClr val="56731D"/>
                </a:solidFill>
                <a:latin typeface="Calibri"/>
              </a:rPr>
              <a:t>share</a:t>
            </a:r>
            <a:r>
              <a:rPr lang="de-DE" sz="1350" b="1" dirty="0">
                <a:solidFill>
                  <a:srgbClr val="56731D"/>
                </a:solidFill>
                <a:latin typeface="Calibri"/>
              </a:rPr>
              <a:t> </a:t>
            </a:r>
            <a:r>
              <a:rPr lang="de-DE" sz="1350" b="1" dirty="0" err="1">
                <a:solidFill>
                  <a:srgbClr val="56731D"/>
                </a:solidFill>
                <a:latin typeface="Calibri"/>
              </a:rPr>
              <a:t>of</a:t>
            </a:r>
            <a:r>
              <a:rPr lang="de-DE" sz="1350" b="1" dirty="0">
                <a:solidFill>
                  <a:srgbClr val="56731D"/>
                </a:solidFill>
                <a:latin typeface="Calibri"/>
              </a:rPr>
              <a:t> </a:t>
            </a:r>
            <a:r>
              <a:rPr lang="de-DE" sz="1350" b="1" dirty="0" err="1">
                <a:solidFill>
                  <a:srgbClr val="56731D"/>
                </a:solidFill>
                <a:latin typeface="Calibri"/>
              </a:rPr>
              <a:t>costs</a:t>
            </a:r>
            <a:r>
              <a:rPr lang="de-DE" sz="1350" b="1" dirty="0">
                <a:solidFill>
                  <a:srgbClr val="56731D"/>
                </a:solidFill>
                <a:latin typeface="Calibri"/>
              </a:rPr>
              <a:t> </a:t>
            </a:r>
            <a:r>
              <a:rPr lang="de-DE" sz="1350" b="1" dirty="0" err="1">
                <a:solidFill>
                  <a:srgbClr val="56731D"/>
                </a:solidFill>
                <a:latin typeface="Calibri"/>
              </a:rPr>
              <a:t>for</a:t>
            </a:r>
            <a:r>
              <a:rPr lang="de-DE" sz="1350" b="1" dirty="0">
                <a:solidFill>
                  <a:srgbClr val="56731D"/>
                </a:solidFill>
                <a:latin typeface="Calibri"/>
              </a:rPr>
              <a:t> </a:t>
            </a:r>
            <a:r>
              <a:rPr lang="de-DE" sz="1350" b="1" dirty="0" err="1">
                <a:solidFill>
                  <a:srgbClr val="56731D"/>
                </a:solidFill>
                <a:latin typeface="Calibri"/>
              </a:rPr>
              <a:t>the</a:t>
            </a:r>
            <a:r>
              <a:rPr lang="de-DE" sz="1350" b="1" dirty="0">
                <a:solidFill>
                  <a:srgbClr val="56731D"/>
                </a:solidFill>
                <a:latin typeface="Calibri"/>
              </a:rPr>
              <a:t> </a:t>
            </a:r>
            <a:r>
              <a:rPr lang="de-DE" sz="1350" b="1" dirty="0" err="1">
                <a:solidFill>
                  <a:srgbClr val="56731D"/>
                </a:solidFill>
                <a:latin typeface="Calibri"/>
              </a:rPr>
              <a:t>implementation</a:t>
            </a:r>
            <a:r>
              <a:rPr lang="de-DE" sz="1350" b="1" dirty="0">
                <a:solidFill>
                  <a:srgbClr val="56731D"/>
                </a:solidFill>
                <a:latin typeface="Calibri"/>
              </a:rPr>
              <a:t> </a:t>
            </a:r>
            <a:r>
              <a:rPr lang="de-DE" sz="1350" b="1" dirty="0" err="1">
                <a:solidFill>
                  <a:srgbClr val="56731D"/>
                </a:solidFill>
                <a:latin typeface="Calibri"/>
              </a:rPr>
              <a:t>of</a:t>
            </a:r>
            <a:r>
              <a:rPr lang="de-DE" sz="1350" b="1" dirty="0">
                <a:solidFill>
                  <a:srgbClr val="56731D"/>
                </a:solidFill>
                <a:latin typeface="Calibri"/>
              </a:rPr>
              <a:t> </a:t>
            </a:r>
            <a:r>
              <a:rPr lang="de-DE" sz="1350" b="1" dirty="0" err="1">
                <a:solidFill>
                  <a:srgbClr val="56731D"/>
                </a:solidFill>
                <a:latin typeface="Calibri"/>
              </a:rPr>
              <a:t>measures</a:t>
            </a:r>
            <a:endParaRPr lang="de-DE" sz="1350" b="1" dirty="0">
              <a:solidFill>
                <a:srgbClr val="56731D"/>
              </a:solidFill>
              <a:latin typeface="Calibri"/>
            </a:endParaRPr>
          </a:p>
          <a:p>
            <a:pPr marL="214313" indent="-214313" defTabSz="685800">
              <a:buFont typeface="Wingdings" panose="05000000000000000000" pitchFamily="2" charset="2"/>
              <a:buChar char="§"/>
            </a:pPr>
            <a:r>
              <a:rPr lang="de-DE" sz="1350" b="1" dirty="0" err="1">
                <a:solidFill>
                  <a:srgbClr val="56731D"/>
                </a:solidFill>
                <a:latin typeface="Calibri"/>
              </a:rPr>
              <a:t>Biodiversity</a:t>
            </a:r>
            <a:r>
              <a:rPr lang="de-DE" sz="1350" b="1" dirty="0">
                <a:solidFill>
                  <a:srgbClr val="56731D"/>
                </a:solidFill>
                <a:latin typeface="Calibri"/>
              </a:rPr>
              <a:t> </a:t>
            </a:r>
            <a:r>
              <a:rPr lang="de-DE" sz="1350" b="1" dirty="0" err="1">
                <a:solidFill>
                  <a:srgbClr val="56731D"/>
                </a:solidFill>
                <a:latin typeface="Calibri"/>
              </a:rPr>
              <a:t>monitoring</a:t>
            </a:r>
            <a:r>
              <a:rPr lang="de-DE" sz="1350" b="1" dirty="0">
                <a:solidFill>
                  <a:srgbClr val="56731D"/>
                </a:solidFill>
                <a:latin typeface="Calibri"/>
              </a:rPr>
              <a:t> </a:t>
            </a:r>
            <a:r>
              <a:rPr lang="de-DE" sz="1350" b="1" dirty="0" err="1">
                <a:solidFill>
                  <a:srgbClr val="56731D"/>
                </a:solidFill>
                <a:latin typeface="Calibri"/>
              </a:rPr>
              <a:t>system</a:t>
            </a:r>
            <a:endParaRPr lang="de-DE" sz="1350" b="1" dirty="0">
              <a:solidFill>
                <a:srgbClr val="56731D"/>
              </a:solidFill>
              <a:latin typeface="Calibri"/>
            </a:endParaRPr>
          </a:p>
          <a:p>
            <a:pPr marL="214313" indent="-214313" defTabSz="685800">
              <a:buFont typeface="Wingdings" panose="05000000000000000000" pitchFamily="2" charset="2"/>
              <a:buChar char="§"/>
            </a:pPr>
            <a:r>
              <a:rPr lang="de-DE" sz="1350" b="1" dirty="0">
                <a:solidFill>
                  <a:srgbClr val="56731D"/>
                </a:solidFill>
                <a:latin typeface="Calibri"/>
              </a:rPr>
              <a:t>Training </a:t>
            </a:r>
            <a:r>
              <a:rPr lang="de-DE" sz="1350" b="1" dirty="0" err="1">
                <a:solidFill>
                  <a:srgbClr val="56731D"/>
                </a:solidFill>
                <a:latin typeface="Calibri"/>
              </a:rPr>
              <a:t>of</a:t>
            </a:r>
            <a:r>
              <a:rPr lang="de-DE" sz="1350" b="1" dirty="0">
                <a:solidFill>
                  <a:srgbClr val="56731D"/>
                </a:solidFill>
                <a:latin typeface="Calibri"/>
              </a:rPr>
              <a:t> </a:t>
            </a:r>
            <a:r>
              <a:rPr lang="de-DE" sz="1350" b="1" dirty="0" err="1">
                <a:solidFill>
                  <a:srgbClr val="56731D"/>
                </a:solidFill>
                <a:latin typeface="Calibri"/>
              </a:rPr>
              <a:t>farmers</a:t>
            </a:r>
            <a:r>
              <a:rPr lang="de-DE" sz="1350" b="1" dirty="0">
                <a:solidFill>
                  <a:srgbClr val="56731D"/>
                </a:solidFill>
                <a:latin typeface="Calibri"/>
              </a:rPr>
              <a:t>, </a:t>
            </a:r>
            <a:r>
              <a:rPr lang="de-DE" sz="1350" b="1" dirty="0" err="1">
                <a:solidFill>
                  <a:srgbClr val="56731D"/>
                </a:solidFill>
                <a:latin typeface="Calibri"/>
              </a:rPr>
              <a:t>assessors</a:t>
            </a:r>
            <a:r>
              <a:rPr lang="de-DE" sz="1350" b="1" dirty="0">
                <a:solidFill>
                  <a:srgbClr val="56731D"/>
                </a:solidFill>
                <a:latin typeface="Calibri"/>
              </a:rPr>
              <a:t>, </a:t>
            </a:r>
            <a:r>
              <a:rPr lang="de-DE" sz="1350" b="1" dirty="0" err="1">
                <a:solidFill>
                  <a:srgbClr val="56731D"/>
                </a:solidFill>
                <a:latin typeface="Calibri"/>
              </a:rPr>
              <a:t>certifiers</a:t>
            </a:r>
            <a:r>
              <a:rPr lang="de-DE" sz="1350" b="1" dirty="0">
                <a:solidFill>
                  <a:srgbClr val="56731D"/>
                </a:solidFill>
                <a:latin typeface="Calibri"/>
              </a:rPr>
              <a:t>, </a:t>
            </a:r>
            <a:r>
              <a:rPr lang="de-DE" sz="1350" b="1" dirty="0" err="1">
                <a:solidFill>
                  <a:srgbClr val="56731D"/>
                </a:solidFill>
                <a:latin typeface="Calibri"/>
              </a:rPr>
              <a:t>managers</a:t>
            </a:r>
            <a:r>
              <a:rPr lang="de-DE" sz="1350" b="1" dirty="0">
                <a:solidFill>
                  <a:srgbClr val="56731D"/>
                </a:solidFill>
                <a:latin typeface="Calibri"/>
              </a:rPr>
              <a:t> ….</a:t>
            </a:r>
          </a:p>
          <a:p>
            <a:pPr marL="214313" indent="-214313" defTabSz="685800">
              <a:buFont typeface="Wingdings" panose="05000000000000000000" pitchFamily="2" charset="2"/>
              <a:buChar char="§"/>
            </a:pPr>
            <a:r>
              <a:rPr lang="de-DE" sz="1350" b="1" dirty="0">
                <a:solidFill>
                  <a:srgbClr val="56731D"/>
                </a:solidFill>
                <a:latin typeface="Calibri"/>
              </a:rPr>
              <a:t>Awareness </a:t>
            </a:r>
            <a:r>
              <a:rPr lang="de-DE" sz="1350" b="1" dirty="0" err="1">
                <a:solidFill>
                  <a:srgbClr val="56731D"/>
                </a:solidFill>
                <a:latin typeface="Calibri"/>
              </a:rPr>
              <a:t>raising</a:t>
            </a:r>
            <a:r>
              <a:rPr lang="de-DE" sz="1350" b="1" dirty="0">
                <a:solidFill>
                  <a:srgbClr val="56731D"/>
                </a:solidFill>
                <a:latin typeface="Calibri"/>
              </a:rPr>
              <a:t> final </a:t>
            </a:r>
            <a:r>
              <a:rPr lang="de-DE" sz="1350" b="1" dirty="0" err="1">
                <a:solidFill>
                  <a:srgbClr val="56731D"/>
                </a:solidFill>
                <a:latin typeface="Calibri"/>
              </a:rPr>
              <a:t>consumers</a:t>
            </a:r>
            <a:endParaRPr lang="de-DE" sz="1350" b="1" dirty="0">
              <a:solidFill>
                <a:srgbClr val="56731D"/>
              </a:solidFill>
              <a:latin typeface="Calibri"/>
            </a:endParaRPr>
          </a:p>
          <a:p>
            <a:pPr marL="214313" indent="-214313" defTabSz="685800">
              <a:buFont typeface="Wingdings" panose="05000000000000000000" pitchFamily="2" charset="2"/>
              <a:buChar char="§"/>
            </a:pPr>
            <a:r>
              <a:rPr lang="de-DE" sz="1350" b="1" dirty="0">
                <a:solidFill>
                  <a:srgbClr val="56731D"/>
                </a:solidFill>
                <a:latin typeface="Calibri"/>
              </a:rPr>
              <a:t>Joint </a:t>
            </a:r>
            <a:r>
              <a:rPr lang="de-DE" sz="1350" b="1" dirty="0" err="1">
                <a:solidFill>
                  <a:srgbClr val="56731D"/>
                </a:solidFill>
                <a:latin typeface="Calibri"/>
              </a:rPr>
              <a:t>research</a:t>
            </a:r>
            <a:r>
              <a:rPr lang="de-DE" sz="1350" b="1" dirty="0">
                <a:solidFill>
                  <a:srgbClr val="56731D"/>
                </a:solidFill>
                <a:latin typeface="Calibri"/>
              </a:rPr>
              <a:t> </a:t>
            </a:r>
            <a:r>
              <a:rPr lang="de-DE" sz="1350" b="1" dirty="0" err="1">
                <a:solidFill>
                  <a:srgbClr val="56731D"/>
                </a:solidFill>
                <a:latin typeface="Calibri"/>
              </a:rPr>
              <a:t>and</a:t>
            </a:r>
            <a:r>
              <a:rPr lang="de-DE" sz="1350" b="1" dirty="0">
                <a:solidFill>
                  <a:srgbClr val="56731D"/>
                </a:solidFill>
                <a:latin typeface="Calibri"/>
              </a:rPr>
              <a:t> </a:t>
            </a:r>
            <a:r>
              <a:rPr lang="de-DE" sz="1350" b="1" dirty="0" err="1">
                <a:solidFill>
                  <a:srgbClr val="56731D"/>
                </a:solidFill>
                <a:latin typeface="Calibri"/>
              </a:rPr>
              <a:t>pilot</a:t>
            </a:r>
            <a:r>
              <a:rPr lang="de-DE" sz="1350" b="1" dirty="0">
                <a:solidFill>
                  <a:srgbClr val="56731D"/>
                </a:solidFill>
                <a:latin typeface="Calibri"/>
              </a:rPr>
              <a:t> </a:t>
            </a:r>
            <a:r>
              <a:rPr lang="de-DE" sz="1350" b="1" dirty="0" err="1">
                <a:solidFill>
                  <a:srgbClr val="56731D"/>
                </a:solidFill>
                <a:latin typeface="Calibri"/>
              </a:rPr>
              <a:t>projects</a:t>
            </a:r>
            <a:endParaRPr lang="de-DE" sz="1350" b="1" dirty="0">
              <a:solidFill>
                <a:srgbClr val="56731D"/>
              </a:solidFill>
              <a:latin typeface="Calibri"/>
            </a:endParaRPr>
          </a:p>
          <a:p>
            <a:pPr marL="214313" indent="-214313" defTabSz="685800">
              <a:buFont typeface="Wingdings" panose="05000000000000000000" pitchFamily="2" charset="2"/>
              <a:buChar char="§"/>
            </a:pPr>
            <a:r>
              <a:rPr lang="de-DE" sz="1350" b="1" dirty="0" err="1">
                <a:solidFill>
                  <a:srgbClr val="56731D"/>
                </a:solidFill>
                <a:latin typeface="Calibri"/>
              </a:rPr>
              <a:t>Influencing</a:t>
            </a:r>
            <a:r>
              <a:rPr lang="de-DE" sz="1350" b="1" dirty="0">
                <a:solidFill>
                  <a:srgbClr val="56731D"/>
                </a:solidFill>
                <a:latin typeface="Calibri"/>
              </a:rPr>
              <a:t> </a:t>
            </a:r>
            <a:r>
              <a:rPr lang="de-DE" sz="1350" b="1" dirty="0" err="1">
                <a:solidFill>
                  <a:srgbClr val="56731D"/>
                </a:solidFill>
                <a:latin typeface="Calibri"/>
              </a:rPr>
              <a:t>the</a:t>
            </a:r>
            <a:r>
              <a:rPr lang="de-DE" sz="1350" b="1" dirty="0">
                <a:solidFill>
                  <a:srgbClr val="56731D"/>
                </a:solidFill>
                <a:latin typeface="Calibri"/>
              </a:rPr>
              <a:t> legal /</a:t>
            </a:r>
            <a:r>
              <a:rPr lang="de-DE" sz="1350" b="1" dirty="0" err="1">
                <a:solidFill>
                  <a:srgbClr val="56731D"/>
                </a:solidFill>
                <a:latin typeface="Calibri"/>
              </a:rPr>
              <a:t>political</a:t>
            </a:r>
            <a:r>
              <a:rPr lang="de-DE" sz="1350" b="1" dirty="0">
                <a:solidFill>
                  <a:srgbClr val="56731D"/>
                </a:solidFill>
                <a:latin typeface="Calibri"/>
              </a:rPr>
              <a:t> </a:t>
            </a:r>
            <a:r>
              <a:rPr lang="de-DE" sz="1350" b="1" dirty="0" err="1">
                <a:solidFill>
                  <a:srgbClr val="56731D"/>
                </a:solidFill>
                <a:latin typeface="Calibri"/>
              </a:rPr>
              <a:t>framework</a:t>
            </a:r>
            <a:r>
              <a:rPr lang="de-DE" sz="1350" b="1" dirty="0">
                <a:solidFill>
                  <a:srgbClr val="56731D"/>
                </a:solidFill>
                <a:latin typeface="Calibri"/>
              </a:rPr>
              <a:t> </a:t>
            </a:r>
            <a:r>
              <a:rPr lang="de-DE" sz="1350" b="1" dirty="0" err="1">
                <a:solidFill>
                  <a:srgbClr val="56731D"/>
                </a:solidFill>
                <a:latin typeface="Calibri"/>
              </a:rPr>
              <a:t>towards</a:t>
            </a:r>
            <a:r>
              <a:rPr lang="de-DE" sz="1350" b="1" dirty="0">
                <a:solidFill>
                  <a:srgbClr val="56731D"/>
                </a:solidFill>
                <a:latin typeface="Calibri"/>
              </a:rPr>
              <a:t> </a:t>
            </a:r>
            <a:r>
              <a:rPr lang="de-DE" sz="1350" b="1" dirty="0" err="1">
                <a:solidFill>
                  <a:srgbClr val="56731D"/>
                </a:solidFill>
                <a:latin typeface="Calibri"/>
              </a:rPr>
              <a:t>effective</a:t>
            </a:r>
            <a:r>
              <a:rPr lang="de-DE" sz="1350" b="1" dirty="0">
                <a:solidFill>
                  <a:srgbClr val="56731D"/>
                </a:solidFill>
                <a:latin typeface="Calibri"/>
              </a:rPr>
              <a:t> </a:t>
            </a:r>
            <a:r>
              <a:rPr lang="de-DE" sz="1350" b="1" dirty="0" err="1">
                <a:solidFill>
                  <a:srgbClr val="56731D"/>
                </a:solidFill>
                <a:latin typeface="Calibri"/>
              </a:rPr>
              <a:t>biodiversity</a:t>
            </a:r>
            <a:r>
              <a:rPr lang="de-DE" sz="1350" b="1" dirty="0">
                <a:solidFill>
                  <a:srgbClr val="56731D"/>
                </a:solidFill>
                <a:latin typeface="Calibri"/>
              </a:rPr>
              <a:t> </a:t>
            </a:r>
            <a:r>
              <a:rPr lang="de-DE" sz="1350" b="1" dirty="0" err="1">
                <a:solidFill>
                  <a:srgbClr val="56731D"/>
                </a:solidFill>
                <a:latin typeface="Calibri"/>
              </a:rPr>
              <a:t>protection</a:t>
            </a:r>
            <a:endParaRPr lang="de-DE" sz="1350" b="1" dirty="0">
              <a:solidFill>
                <a:srgbClr val="56731D"/>
              </a:solidFill>
              <a:latin typeface="Calibri"/>
            </a:endParaRPr>
          </a:p>
          <a:p>
            <a:pPr defTabSz="685800"/>
            <a:endParaRPr lang="de-DE" sz="1350" dirty="0">
              <a:solidFill>
                <a:srgbClr val="56731D"/>
              </a:solidFill>
              <a:latin typeface="Calibri"/>
            </a:endParaRPr>
          </a:p>
          <a:p>
            <a:pPr defTabSz="685800"/>
            <a:endParaRPr lang="de-DE" sz="1350" dirty="0">
              <a:solidFill>
                <a:srgbClr val="56731D"/>
              </a:solidFill>
              <a:latin typeface="Calibri"/>
            </a:endParaRPr>
          </a:p>
        </p:txBody>
      </p:sp>
      <p:cxnSp>
        <p:nvCxnSpPr>
          <p:cNvPr id="12" name="Gerade Verbindung mit Pfeil 11"/>
          <p:cNvCxnSpPr/>
          <p:nvPr/>
        </p:nvCxnSpPr>
        <p:spPr>
          <a:xfrm flipV="1">
            <a:off x="2195736" y="3273828"/>
            <a:ext cx="324036" cy="16201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3" name="Gerade Verbindung mit Pfeil 12"/>
          <p:cNvCxnSpPr/>
          <p:nvPr/>
        </p:nvCxnSpPr>
        <p:spPr>
          <a:xfrm flipH="1" flipV="1">
            <a:off x="3660346" y="3241978"/>
            <a:ext cx="239622" cy="19386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383758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2033718" y="1230162"/>
            <a:ext cx="5022558" cy="747522"/>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 b="1" dirty="0">
                <a:solidFill>
                  <a:srgbClr val="FFFFFF"/>
                </a:solidFill>
                <a:latin typeface="Calibri"/>
              </a:rPr>
              <a:t>Biodiversity Responsible Agriculture</a:t>
            </a:r>
          </a:p>
        </p:txBody>
      </p:sp>
      <p:sp>
        <p:nvSpPr>
          <p:cNvPr id="7" name="Ellipse 6"/>
          <p:cNvSpPr/>
          <p:nvPr/>
        </p:nvSpPr>
        <p:spPr>
          <a:xfrm>
            <a:off x="4363974" y="2324595"/>
            <a:ext cx="3188970" cy="2250537"/>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 sz="1350" b="1" dirty="0">
                <a:solidFill>
                  <a:srgbClr val="C00000"/>
                </a:solidFill>
                <a:latin typeface="Calibri"/>
              </a:rPr>
              <a:t>VERY GOOD agricultural practices: </a:t>
            </a:r>
          </a:p>
          <a:p>
            <a:pPr algn="ctr" defTabSz="685800"/>
            <a:r>
              <a:rPr lang="en" sz="1350" dirty="0">
                <a:solidFill>
                  <a:srgbClr val="C00000"/>
                </a:solidFill>
                <a:latin typeface="Calibri"/>
              </a:rPr>
              <a:t>To avoid or reduce negative impacts on biodiversity: reduced use of pesticides, sustainable fertilization, soil protection, sustainable use of water </a:t>
            </a:r>
          </a:p>
        </p:txBody>
      </p:sp>
      <p:sp>
        <p:nvSpPr>
          <p:cNvPr id="8" name="Pfeil nach rechts 7"/>
          <p:cNvSpPr/>
          <p:nvPr/>
        </p:nvSpPr>
        <p:spPr>
          <a:xfrm rot="16200000">
            <a:off x="2854071" y="2023928"/>
            <a:ext cx="329184" cy="249174"/>
          </a:xfrm>
          <a:prstGeom prst="rightArrow">
            <a:avLst/>
          </a:prstGeom>
          <a:solidFill>
            <a:schemeClr val="accent6">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350" dirty="0">
              <a:solidFill>
                <a:srgbClr val="FFFFFF"/>
              </a:solidFill>
              <a:latin typeface="Calibri"/>
            </a:endParaRPr>
          </a:p>
        </p:txBody>
      </p:sp>
      <p:sp>
        <p:nvSpPr>
          <p:cNvPr id="9" name="Pfeil nach rechts 8"/>
          <p:cNvSpPr/>
          <p:nvPr/>
        </p:nvSpPr>
        <p:spPr>
          <a:xfrm rot="16200000">
            <a:off x="5793867" y="2004555"/>
            <a:ext cx="329184" cy="249174"/>
          </a:xfrm>
          <a:prstGeom prst="rightArrow">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de-DE" sz="1350" dirty="0">
              <a:solidFill>
                <a:srgbClr val="FFFFFF"/>
              </a:solidFill>
              <a:latin typeface="Calibri"/>
            </a:endParaRPr>
          </a:p>
        </p:txBody>
      </p:sp>
      <p:sp>
        <p:nvSpPr>
          <p:cNvPr id="4" name="Textfeld 3"/>
          <p:cNvSpPr txBox="1"/>
          <p:nvPr/>
        </p:nvSpPr>
        <p:spPr>
          <a:xfrm>
            <a:off x="1385646" y="219440"/>
            <a:ext cx="5092038" cy="323165"/>
          </a:xfrm>
          <a:prstGeom prst="rect">
            <a:avLst/>
          </a:prstGeom>
          <a:noFill/>
        </p:spPr>
        <p:txBody>
          <a:bodyPr wrap="square" rtlCol="0">
            <a:spAutoFit/>
          </a:bodyPr>
          <a:lstStyle/>
          <a:p>
            <a:pPr defTabSz="685800"/>
            <a:r>
              <a:rPr lang="en" sz="1500" b="1" dirty="0">
                <a:solidFill>
                  <a:srgbClr val="56731D"/>
                </a:solidFill>
                <a:latin typeface="Calibri"/>
              </a:rPr>
              <a:t>Effective Biodiversity protection requires two lines of action</a:t>
            </a:r>
            <a:endParaRPr lang="es-ES_tradnl" sz="1500" b="1" dirty="0">
              <a:solidFill>
                <a:srgbClr val="56731D"/>
              </a:solidFill>
              <a:latin typeface="Calibri"/>
            </a:endParaRPr>
          </a:p>
        </p:txBody>
      </p:sp>
      <p:sp>
        <p:nvSpPr>
          <p:cNvPr id="6" name="Ellipse 5"/>
          <p:cNvSpPr/>
          <p:nvPr/>
        </p:nvSpPr>
        <p:spPr>
          <a:xfrm>
            <a:off x="1424178" y="2360028"/>
            <a:ext cx="3188970" cy="2215104"/>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 sz="1350" b="1" dirty="0">
                <a:solidFill>
                  <a:srgbClr val="56731D">
                    <a:lumMod val="75000"/>
                  </a:srgbClr>
                </a:solidFill>
                <a:latin typeface="Calibri"/>
              </a:rPr>
              <a:t>Biodiversity Management:</a:t>
            </a:r>
          </a:p>
          <a:p>
            <a:pPr algn="ctr" defTabSz="685800"/>
            <a:r>
              <a:rPr lang="en" sz="1350" dirty="0">
                <a:solidFill>
                  <a:srgbClr val="56731D">
                    <a:lumMod val="75000"/>
                  </a:srgbClr>
                </a:solidFill>
                <a:latin typeface="Calibri"/>
              </a:rPr>
              <a:t>Protection, restoration, creation of natural and semi-natural habitats </a:t>
            </a:r>
          </a:p>
          <a:p>
            <a:pPr algn="ctr" defTabSz="685800"/>
            <a:r>
              <a:rPr lang="en" sz="1350" dirty="0">
                <a:solidFill>
                  <a:srgbClr val="56731D">
                    <a:lumMod val="75000"/>
                  </a:srgbClr>
                </a:solidFill>
                <a:latin typeface="Calibri"/>
              </a:rPr>
              <a:t>maintenance of habitats, biological corridors and species protection...</a:t>
            </a:r>
          </a:p>
        </p:txBody>
      </p:sp>
    </p:spTree>
    <p:extLst>
      <p:ext uri="{BB962C8B-B14F-4D97-AF65-F5344CB8AC3E}">
        <p14:creationId xmlns:p14="http://schemas.microsoft.com/office/powerpoint/2010/main" val="648736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F3230613-C9C6-43C2-A5CB-16D1111EFF22}"/>
              </a:ext>
            </a:extLst>
          </p:cNvPr>
          <p:cNvSpPr>
            <a:spLocks noGrp="1"/>
          </p:cNvSpPr>
          <p:nvPr>
            <p:ph type="title"/>
          </p:nvPr>
        </p:nvSpPr>
        <p:spPr>
          <a:xfrm>
            <a:off x="1385646" y="911584"/>
            <a:ext cx="5388570" cy="1344611"/>
          </a:xfrm>
        </p:spPr>
        <p:txBody>
          <a:bodyPr>
            <a:normAutofit fontScale="90000"/>
          </a:bodyPr>
          <a:lstStyle/>
          <a:p>
            <a:r>
              <a:rPr lang="es-CO" sz="1500" dirty="0"/>
              <a:t>Is not a Biodiversity Standard!!</a:t>
            </a:r>
            <a:br>
              <a:rPr lang="es-CO" sz="1500" dirty="0"/>
            </a:br>
            <a:r>
              <a:rPr lang="es-CO" sz="1500" dirty="0"/>
              <a:t/>
            </a:r>
            <a:br>
              <a:rPr lang="es-CO" sz="1500" dirty="0"/>
            </a:br>
            <a:r>
              <a:rPr lang="es-CO" sz="1500" dirty="0"/>
              <a:t>Criteria should be considered in existing standards, sourcing rules, requirements for members of an cooperative .....</a:t>
            </a:r>
            <a:r>
              <a:rPr lang="es-CO" sz="1350" dirty="0"/>
              <a:t/>
            </a:r>
            <a:br>
              <a:rPr lang="es-CO" sz="1350" dirty="0"/>
            </a:br>
            <a:endParaRPr lang="es-CO" sz="1350" dirty="0"/>
          </a:p>
        </p:txBody>
      </p:sp>
      <p:sp>
        <p:nvSpPr>
          <p:cNvPr id="2" name="Textfeld 1"/>
          <p:cNvSpPr txBox="1"/>
          <p:nvPr/>
        </p:nvSpPr>
        <p:spPr>
          <a:xfrm>
            <a:off x="1385646" y="249492"/>
            <a:ext cx="4260388" cy="369332"/>
          </a:xfrm>
          <a:prstGeom prst="rect">
            <a:avLst/>
          </a:prstGeom>
          <a:noFill/>
        </p:spPr>
        <p:txBody>
          <a:bodyPr wrap="square" rtlCol="0">
            <a:spAutoFit/>
          </a:bodyPr>
          <a:lstStyle/>
          <a:p>
            <a:pPr defTabSz="685800"/>
            <a:r>
              <a:rPr lang="de-DE" b="1" dirty="0">
                <a:solidFill>
                  <a:srgbClr val="56731D"/>
                </a:solidFill>
                <a:latin typeface="Calibri"/>
              </a:rPr>
              <a:t>Basis-Set </a:t>
            </a:r>
            <a:r>
              <a:rPr lang="de-DE" b="1" dirty="0" err="1">
                <a:solidFill>
                  <a:srgbClr val="56731D"/>
                </a:solidFill>
                <a:latin typeface="Calibri"/>
              </a:rPr>
              <a:t>of</a:t>
            </a:r>
            <a:r>
              <a:rPr lang="de-DE" b="1" dirty="0">
                <a:solidFill>
                  <a:srgbClr val="56731D"/>
                </a:solidFill>
                <a:latin typeface="Calibri"/>
              </a:rPr>
              <a:t> </a:t>
            </a:r>
            <a:r>
              <a:rPr lang="de-DE" b="1" dirty="0" err="1">
                <a:solidFill>
                  <a:srgbClr val="56731D"/>
                </a:solidFill>
                <a:latin typeface="Calibri"/>
              </a:rPr>
              <a:t>Biodiversity</a:t>
            </a:r>
            <a:r>
              <a:rPr lang="de-DE" b="1" dirty="0">
                <a:solidFill>
                  <a:srgbClr val="56731D"/>
                </a:solidFill>
                <a:latin typeface="Calibri"/>
              </a:rPr>
              <a:t> </a:t>
            </a:r>
            <a:r>
              <a:rPr lang="de-DE" b="1" dirty="0" err="1">
                <a:solidFill>
                  <a:srgbClr val="56731D"/>
                </a:solidFill>
                <a:latin typeface="Calibri"/>
              </a:rPr>
              <a:t>Criteria</a:t>
            </a:r>
            <a:endParaRPr lang="de-DE" b="1" dirty="0">
              <a:solidFill>
                <a:srgbClr val="56731D"/>
              </a:solidFill>
              <a:latin typeface="Calibri"/>
            </a:endParaRPr>
          </a:p>
        </p:txBody>
      </p:sp>
      <p:sp>
        <p:nvSpPr>
          <p:cNvPr id="8" name="Rechteck 7"/>
          <p:cNvSpPr/>
          <p:nvPr/>
        </p:nvSpPr>
        <p:spPr>
          <a:xfrm>
            <a:off x="1866338" y="3358674"/>
            <a:ext cx="2322258" cy="1761660"/>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de-DE" sz="1200" b="1" dirty="0" err="1">
                <a:solidFill>
                  <a:srgbClr val="56731D"/>
                </a:solidFill>
                <a:latin typeface="Calibri"/>
              </a:rPr>
              <a:t>Biodiversity</a:t>
            </a:r>
            <a:r>
              <a:rPr lang="de-DE" sz="1200" b="1" dirty="0">
                <a:solidFill>
                  <a:srgbClr val="56731D"/>
                </a:solidFill>
                <a:latin typeface="Calibri"/>
              </a:rPr>
              <a:t> </a:t>
            </a:r>
            <a:r>
              <a:rPr lang="de-DE" sz="1200" b="1" dirty="0" err="1">
                <a:solidFill>
                  <a:srgbClr val="56731D"/>
                </a:solidFill>
                <a:latin typeface="Calibri"/>
              </a:rPr>
              <a:t>management</a:t>
            </a:r>
            <a:r>
              <a:rPr lang="de-DE" sz="1200" b="1" dirty="0">
                <a:solidFill>
                  <a:srgbClr val="56731D"/>
                </a:solidFill>
                <a:latin typeface="Calibri"/>
              </a:rPr>
              <a:t>, e.g.</a:t>
            </a:r>
          </a:p>
          <a:p>
            <a:pPr marL="257175" indent="-257175" defTabSz="685800">
              <a:buFontTx/>
              <a:buChar char="-"/>
            </a:pPr>
            <a:r>
              <a:rPr lang="de-DE" sz="1200" b="1" dirty="0">
                <a:solidFill>
                  <a:srgbClr val="56731D"/>
                </a:solidFill>
                <a:latin typeface="Calibri"/>
              </a:rPr>
              <a:t>Baseline </a:t>
            </a:r>
            <a:r>
              <a:rPr lang="de-DE" sz="1200" b="1" dirty="0" err="1">
                <a:solidFill>
                  <a:srgbClr val="56731D"/>
                </a:solidFill>
                <a:latin typeface="Calibri"/>
              </a:rPr>
              <a:t>and</a:t>
            </a:r>
            <a:r>
              <a:rPr lang="de-DE" sz="1200" b="1" dirty="0">
                <a:solidFill>
                  <a:srgbClr val="56731D"/>
                </a:solidFill>
                <a:latin typeface="Calibri"/>
              </a:rPr>
              <a:t> </a:t>
            </a:r>
            <a:r>
              <a:rPr lang="de-DE" sz="1200" b="1" dirty="0" err="1">
                <a:solidFill>
                  <a:srgbClr val="56731D"/>
                </a:solidFill>
                <a:latin typeface="Calibri"/>
              </a:rPr>
              <a:t>Biodiversity</a:t>
            </a:r>
            <a:r>
              <a:rPr lang="de-DE" sz="1200" b="1" dirty="0">
                <a:solidFill>
                  <a:srgbClr val="56731D"/>
                </a:solidFill>
                <a:latin typeface="Calibri"/>
              </a:rPr>
              <a:t> Action Plan</a:t>
            </a:r>
          </a:p>
          <a:p>
            <a:pPr marL="257175" indent="-257175" defTabSz="685800">
              <a:buFontTx/>
              <a:buChar char="-"/>
            </a:pPr>
            <a:r>
              <a:rPr lang="de-DE" sz="1200" b="1" dirty="0">
                <a:solidFill>
                  <a:srgbClr val="56731D"/>
                </a:solidFill>
                <a:latin typeface="Calibri"/>
              </a:rPr>
              <a:t>Minimum % </a:t>
            </a:r>
            <a:r>
              <a:rPr lang="de-DE" sz="1200" b="1" dirty="0" err="1">
                <a:solidFill>
                  <a:srgbClr val="56731D"/>
                </a:solidFill>
                <a:latin typeface="Calibri"/>
              </a:rPr>
              <a:t>of</a:t>
            </a:r>
            <a:r>
              <a:rPr lang="de-DE" sz="1200" b="1" dirty="0">
                <a:solidFill>
                  <a:srgbClr val="56731D"/>
                </a:solidFill>
                <a:latin typeface="Calibri"/>
              </a:rPr>
              <a:t> </a:t>
            </a:r>
            <a:r>
              <a:rPr lang="de-DE" sz="1200" b="1" dirty="0" err="1">
                <a:solidFill>
                  <a:srgbClr val="56731D"/>
                </a:solidFill>
                <a:latin typeface="Calibri"/>
              </a:rPr>
              <a:t>natural</a:t>
            </a:r>
            <a:r>
              <a:rPr lang="de-DE" sz="1200" b="1" dirty="0">
                <a:solidFill>
                  <a:srgbClr val="56731D"/>
                </a:solidFill>
                <a:latin typeface="Calibri"/>
              </a:rPr>
              <a:t> </a:t>
            </a:r>
            <a:r>
              <a:rPr lang="de-DE" sz="1200" b="1" dirty="0" err="1">
                <a:solidFill>
                  <a:srgbClr val="56731D"/>
                </a:solidFill>
                <a:latin typeface="Calibri"/>
              </a:rPr>
              <a:t>vegetation</a:t>
            </a:r>
            <a:endParaRPr lang="de-DE" sz="1200" b="1" dirty="0">
              <a:solidFill>
                <a:srgbClr val="56731D"/>
              </a:solidFill>
              <a:latin typeface="Calibri"/>
            </a:endParaRPr>
          </a:p>
          <a:p>
            <a:pPr marL="257175" indent="-257175" defTabSz="685800">
              <a:buFontTx/>
              <a:buChar char="-"/>
            </a:pPr>
            <a:r>
              <a:rPr lang="de-DE" sz="1200" b="1" dirty="0" err="1">
                <a:solidFill>
                  <a:srgbClr val="56731D"/>
                </a:solidFill>
                <a:latin typeface="Calibri"/>
              </a:rPr>
              <a:t>Protection</a:t>
            </a:r>
            <a:r>
              <a:rPr lang="de-DE" sz="1200" b="1" dirty="0">
                <a:solidFill>
                  <a:srgbClr val="56731D"/>
                </a:solidFill>
                <a:latin typeface="Calibri"/>
              </a:rPr>
              <a:t> </a:t>
            </a:r>
            <a:r>
              <a:rPr lang="de-DE" sz="1200" b="1" dirty="0" err="1">
                <a:solidFill>
                  <a:srgbClr val="56731D"/>
                </a:solidFill>
                <a:latin typeface="Calibri"/>
              </a:rPr>
              <a:t>of</a:t>
            </a:r>
            <a:r>
              <a:rPr lang="de-DE" sz="1200" b="1" dirty="0">
                <a:solidFill>
                  <a:srgbClr val="56731D"/>
                </a:solidFill>
                <a:latin typeface="Calibri"/>
              </a:rPr>
              <a:t> </a:t>
            </a:r>
            <a:r>
              <a:rPr lang="de-DE" sz="1200" b="1" dirty="0" err="1">
                <a:solidFill>
                  <a:srgbClr val="56731D"/>
                </a:solidFill>
                <a:latin typeface="Calibri"/>
              </a:rPr>
              <a:t>habitats</a:t>
            </a:r>
            <a:endParaRPr lang="de-DE" sz="1200" b="1" dirty="0">
              <a:solidFill>
                <a:srgbClr val="56731D"/>
              </a:solidFill>
              <a:latin typeface="Calibri"/>
            </a:endParaRPr>
          </a:p>
          <a:p>
            <a:pPr marL="257175" indent="-257175" defTabSz="685800">
              <a:buFontTx/>
              <a:buChar char="-"/>
            </a:pPr>
            <a:r>
              <a:rPr lang="de-DE" sz="1200" b="1" dirty="0" err="1">
                <a:solidFill>
                  <a:srgbClr val="56731D"/>
                </a:solidFill>
                <a:latin typeface="Calibri"/>
              </a:rPr>
              <a:t>Creation</a:t>
            </a:r>
            <a:r>
              <a:rPr lang="de-DE" sz="1200" b="1" dirty="0">
                <a:solidFill>
                  <a:srgbClr val="56731D"/>
                </a:solidFill>
                <a:latin typeface="Calibri"/>
              </a:rPr>
              <a:t> </a:t>
            </a:r>
            <a:r>
              <a:rPr lang="de-DE" sz="1200" b="1" dirty="0" err="1">
                <a:solidFill>
                  <a:srgbClr val="56731D"/>
                </a:solidFill>
                <a:latin typeface="Calibri"/>
              </a:rPr>
              <a:t>of</a:t>
            </a:r>
            <a:r>
              <a:rPr lang="de-DE" sz="1200" b="1" dirty="0">
                <a:solidFill>
                  <a:srgbClr val="56731D"/>
                </a:solidFill>
                <a:latin typeface="Calibri"/>
              </a:rPr>
              <a:t> </a:t>
            </a:r>
            <a:r>
              <a:rPr lang="de-DE" sz="1200" b="1" dirty="0" err="1">
                <a:solidFill>
                  <a:srgbClr val="56731D"/>
                </a:solidFill>
                <a:latin typeface="Calibri"/>
              </a:rPr>
              <a:t>biotope</a:t>
            </a:r>
            <a:r>
              <a:rPr lang="de-DE" sz="1200" b="1" dirty="0">
                <a:solidFill>
                  <a:srgbClr val="56731D"/>
                </a:solidFill>
                <a:latin typeface="Calibri"/>
              </a:rPr>
              <a:t> </a:t>
            </a:r>
            <a:r>
              <a:rPr lang="de-DE" sz="1200" b="1" dirty="0" err="1">
                <a:solidFill>
                  <a:srgbClr val="56731D"/>
                </a:solidFill>
                <a:latin typeface="Calibri"/>
              </a:rPr>
              <a:t>corridors</a:t>
            </a:r>
            <a:endParaRPr lang="de-DE" sz="1200" b="1" dirty="0">
              <a:solidFill>
                <a:srgbClr val="56731D"/>
              </a:solidFill>
              <a:latin typeface="Calibri"/>
            </a:endParaRPr>
          </a:p>
          <a:p>
            <a:pPr marL="257175" indent="-257175" defTabSz="685800">
              <a:buFontTx/>
              <a:buChar char="-"/>
            </a:pPr>
            <a:r>
              <a:rPr lang="de-DE" sz="1200" b="1" dirty="0" err="1">
                <a:solidFill>
                  <a:srgbClr val="56731D"/>
                </a:solidFill>
                <a:latin typeface="Calibri"/>
              </a:rPr>
              <a:t>Measures</a:t>
            </a:r>
            <a:r>
              <a:rPr lang="de-DE" sz="1200" b="1" dirty="0">
                <a:solidFill>
                  <a:srgbClr val="56731D"/>
                </a:solidFill>
                <a:latin typeface="Calibri"/>
              </a:rPr>
              <a:t> </a:t>
            </a:r>
            <a:r>
              <a:rPr lang="de-DE" sz="1200" b="1" dirty="0" err="1">
                <a:solidFill>
                  <a:srgbClr val="56731D"/>
                </a:solidFill>
                <a:latin typeface="Calibri"/>
              </a:rPr>
              <a:t>against</a:t>
            </a:r>
            <a:r>
              <a:rPr lang="de-DE" sz="1200" b="1" dirty="0">
                <a:solidFill>
                  <a:srgbClr val="56731D"/>
                </a:solidFill>
                <a:latin typeface="Calibri"/>
              </a:rPr>
              <a:t> invasive </a:t>
            </a:r>
            <a:r>
              <a:rPr lang="de-DE" sz="1200" b="1" dirty="0" err="1">
                <a:solidFill>
                  <a:srgbClr val="56731D"/>
                </a:solidFill>
                <a:latin typeface="Calibri"/>
              </a:rPr>
              <a:t>alien</a:t>
            </a:r>
            <a:r>
              <a:rPr lang="de-DE" sz="1200" b="1" dirty="0">
                <a:solidFill>
                  <a:srgbClr val="56731D"/>
                </a:solidFill>
                <a:latin typeface="Calibri"/>
              </a:rPr>
              <a:t> </a:t>
            </a:r>
            <a:r>
              <a:rPr lang="de-DE" sz="1200" b="1" dirty="0" err="1">
                <a:solidFill>
                  <a:srgbClr val="56731D"/>
                </a:solidFill>
                <a:latin typeface="Calibri"/>
              </a:rPr>
              <a:t>species</a:t>
            </a:r>
            <a:endParaRPr lang="de-DE" sz="1350" b="1" dirty="0">
              <a:solidFill>
                <a:srgbClr val="56731D"/>
              </a:solidFill>
              <a:latin typeface="Calibri"/>
            </a:endParaRPr>
          </a:p>
        </p:txBody>
      </p:sp>
      <p:sp>
        <p:nvSpPr>
          <p:cNvPr id="9" name="Rechteck 8"/>
          <p:cNvSpPr/>
          <p:nvPr/>
        </p:nvSpPr>
        <p:spPr>
          <a:xfrm>
            <a:off x="5115727" y="2005034"/>
            <a:ext cx="2392990" cy="594066"/>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500" b="1" dirty="0" err="1">
                <a:solidFill>
                  <a:srgbClr val="C00000"/>
                </a:solidFill>
                <a:latin typeface="Calibri"/>
              </a:rPr>
              <a:t>Very</a:t>
            </a:r>
            <a:r>
              <a:rPr lang="de-DE" sz="1500" b="1" dirty="0">
                <a:solidFill>
                  <a:srgbClr val="C00000"/>
                </a:solidFill>
                <a:latin typeface="Calibri"/>
              </a:rPr>
              <a:t> </a:t>
            </a:r>
            <a:r>
              <a:rPr lang="de-DE" sz="1500" b="1" dirty="0" err="1">
                <a:solidFill>
                  <a:srgbClr val="C00000"/>
                </a:solidFill>
                <a:latin typeface="Calibri"/>
              </a:rPr>
              <a:t>good</a:t>
            </a:r>
            <a:r>
              <a:rPr lang="de-DE" sz="1500" b="1" dirty="0">
                <a:solidFill>
                  <a:srgbClr val="C00000"/>
                </a:solidFill>
                <a:latin typeface="Calibri"/>
              </a:rPr>
              <a:t> </a:t>
            </a:r>
            <a:r>
              <a:rPr lang="de-DE" sz="1500" b="1" dirty="0" err="1">
                <a:solidFill>
                  <a:srgbClr val="C00000"/>
                </a:solidFill>
                <a:latin typeface="Calibri"/>
              </a:rPr>
              <a:t>agricultural</a:t>
            </a:r>
            <a:r>
              <a:rPr lang="de-DE" sz="1500" b="1" dirty="0">
                <a:solidFill>
                  <a:srgbClr val="C00000"/>
                </a:solidFill>
                <a:latin typeface="Calibri"/>
              </a:rPr>
              <a:t> </a:t>
            </a:r>
            <a:r>
              <a:rPr lang="de-DE" sz="1500" b="1" dirty="0" err="1">
                <a:solidFill>
                  <a:srgbClr val="C00000"/>
                </a:solidFill>
                <a:latin typeface="Calibri"/>
              </a:rPr>
              <a:t>practise</a:t>
            </a:r>
            <a:endParaRPr lang="de-DE" sz="1500" b="1" dirty="0">
              <a:solidFill>
                <a:srgbClr val="C00000"/>
              </a:solidFill>
              <a:latin typeface="Calibri"/>
            </a:endParaRPr>
          </a:p>
        </p:txBody>
      </p:sp>
      <p:cxnSp>
        <p:nvCxnSpPr>
          <p:cNvPr id="12" name="Gerade Verbindung mit Pfeil 11"/>
          <p:cNvCxnSpPr/>
          <p:nvPr/>
        </p:nvCxnSpPr>
        <p:spPr>
          <a:xfrm flipH="1">
            <a:off x="4545535" y="2319463"/>
            <a:ext cx="486053" cy="10818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 name="Ellipse 2"/>
          <p:cNvSpPr/>
          <p:nvPr/>
        </p:nvSpPr>
        <p:spPr>
          <a:xfrm>
            <a:off x="1385646" y="2048596"/>
            <a:ext cx="3078342" cy="104688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e-DE" sz="1350" b="1" dirty="0">
                <a:solidFill>
                  <a:srgbClr val="FFFFFF"/>
                </a:solidFill>
                <a:latin typeface="Calibri"/>
              </a:rPr>
              <a:t>60 </a:t>
            </a:r>
            <a:r>
              <a:rPr lang="de-DE" sz="1350" b="1" dirty="0" err="1">
                <a:solidFill>
                  <a:srgbClr val="FFFFFF"/>
                </a:solidFill>
                <a:latin typeface="Calibri"/>
              </a:rPr>
              <a:t>requirements</a:t>
            </a:r>
            <a:r>
              <a:rPr lang="de-DE" sz="1350" b="1" dirty="0">
                <a:solidFill>
                  <a:srgbClr val="FFFFFF"/>
                </a:solidFill>
                <a:latin typeface="Calibri"/>
              </a:rPr>
              <a:t> </a:t>
            </a:r>
            <a:r>
              <a:rPr lang="de-DE" sz="1350" b="1" dirty="0" err="1">
                <a:solidFill>
                  <a:srgbClr val="FFFFFF"/>
                </a:solidFill>
                <a:latin typeface="Calibri"/>
              </a:rPr>
              <a:t>for</a:t>
            </a:r>
            <a:r>
              <a:rPr lang="de-DE" sz="1350" b="1" dirty="0">
                <a:solidFill>
                  <a:srgbClr val="FFFFFF"/>
                </a:solidFill>
                <a:latin typeface="Calibri"/>
              </a:rPr>
              <a:t> </a:t>
            </a:r>
            <a:r>
              <a:rPr lang="de-DE" sz="1350" b="1" dirty="0" err="1">
                <a:solidFill>
                  <a:srgbClr val="FFFFFF"/>
                </a:solidFill>
                <a:latin typeface="Calibri"/>
              </a:rPr>
              <a:t>standards</a:t>
            </a:r>
            <a:r>
              <a:rPr lang="de-DE" sz="1350" b="1" dirty="0">
                <a:solidFill>
                  <a:srgbClr val="FFFFFF"/>
                </a:solidFill>
                <a:latin typeface="Calibri"/>
              </a:rPr>
              <a:t> /</a:t>
            </a:r>
            <a:r>
              <a:rPr lang="de-DE" sz="1350" b="1" dirty="0" err="1">
                <a:solidFill>
                  <a:srgbClr val="FFFFFF"/>
                </a:solidFill>
                <a:latin typeface="Calibri"/>
              </a:rPr>
              <a:t>companies</a:t>
            </a:r>
            <a:r>
              <a:rPr lang="de-DE" sz="1350" b="1" dirty="0">
                <a:solidFill>
                  <a:srgbClr val="FFFFFF"/>
                </a:solidFill>
                <a:latin typeface="Calibri"/>
              </a:rPr>
              <a:t> </a:t>
            </a:r>
            <a:r>
              <a:rPr lang="de-DE" sz="1350" b="1" dirty="0" err="1">
                <a:solidFill>
                  <a:srgbClr val="FFFFFF"/>
                </a:solidFill>
                <a:latin typeface="Calibri"/>
              </a:rPr>
              <a:t>and</a:t>
            </a:r>
            <a:r>
              <a:rPr lang="de-DE" sz="1350" b="1" dirty="0">
                <a:solidFill>
                  <a:srgbClr val="FFFFFF"/>
                </a:solidFill>
                <a:latin typeface="Calibri"/>
              </a:rPr>
              <a:t> </a:t>
            </a:r>
            <a:r>
              <a:rPr lang="de-DE" sz="1350" b="1" dirty="0" err="1">
                <a:solidFill>
                  <a:srgbClr val="FFFFFF"/>
                </a:solidFill>
                <a:latin typeface="Calibri"/>
              </a:rPr>
              <a:t>for</a:t>
            </a:r>
            <a:r>
              <a:rPr lang="de-DE" sz="1350" b="1" dirty="0">
                <a:solidFill>
                  <a:srgbClr val="FFFFFF"/>
                </a:solidFill>
                <a:latin typeface="Calibri"/>
              </a:rPr>
              <a:t> </a:t>
            </a:r>
            <a:r>
              <a:rPr lang="de-DE" sz="1350" b="1" dirty="0" err="1">
                <a:solidFill>
                  <a:srgbClr val="FFFFFF"/>
                </a:solidFill>
                <a:latin typeface="Calibri"/>
              </a:rPr>
              <a:t>farmers</a:t>
            </a:r>
            <a:r>
              <a:rPr lang="de-DE" sz="1350" b="1" dirty="0">
                <a:solidFill>
                  <a:srgbClr val="FFFFFF"/>
                </a:solidFill>
                <a:latin typeface="Calibri"/>
              </a:rPr>
              <a:t> </a:t>
            </a:r>
          </a:p>
        </p:txBody>
      </p:sp>
      <p:sp>
        <p:nvSpPr>
          <p:cNvPr id="11" name="Rechteck 10"/>
          <p:cNvSpPr/>
          <p:nvPr/>
        </p:nvSpPr>
        <p:spPr>
          <a:xfrm>
            <a:off x="5113135" y="2679762"/>
            <a:ext cx="2392990" cy="2160240"/>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defTabSz="685800">
              <a:buFont typeface="Symbol" panose="05050102010706020507" pitchFamily="18" charset="2"/>
              <a:buChar char="-"/>
            </a:pPr>
            <a:r>
              <a:rPr lang="de-DE" sz="1200" b="1" dirty="0" err="1">
                <a:solidFill>
                  <a:srgbClr val="C00000"/>
                </a:solidFill>
                <a:latin typeface="Calibri"/>
              </a:rPr>
              <a:t>Protection</a:t>
            </a:r>
            <a:r>
              <a:rPr lang="de-DE" sz="1200" b="1" dirty="0">
                <a:solidFill>
                  <a:srgbClr val="C00000"/>
                </a:solidFill>
                <a:latin typeface="Calibri"/>
              </a:rPr>
              <a:t> </a:t>
            </a:r>
            <a:r>
              <a:rPr lang="de-DE" sz="1200" b="1" dirty="0" err="1">
                <a:solidFill>
                  <a:srgbClr val="C00000"/>
                </a:solidFill>
                <a:latin typeface="Calibri"/>
              </a:rPr>
              <a:t>of</a:t>
            </a:r>
            <a:r>
              <a:rPr lang="de-DE" sz="1200" b="1" dirty="0">
                <a:solidFill>
                  <a:srgbClr val="C00000"/>
                </a:solidFill>
                <a:latin typeface="Calibri"/>
              </a:rPr>
              <a:t> </a:t>
            </a:r>
            <a:r>
              <a:rPr lang="de-DE" sz="1200" b="1" dirty="0" err="1">
                <a:solidFill>
                  <a:srgbClr val="C00000"/>
                </a:solidFill>
                <a:latin typeface="Calibri"/>
              </a:rPr>
              <a:t>soil</a:t>
            </a:r>
            <a:r>
              <a:rPr lang="de-DE" sz="1200" b="1" dirty="0">
                <a:solidFill>
                  <a:srgbClr val="C00000"/>
                </a:solidFill>
                <a:latin typeface="Calibri"/>
              </a:rPr>
              <a:t> </a:t>
            </a:r>
            <a:r>
              <a:rPr lang="de-DE" sz="1200" b="1" dirty="0" err="1">
                <a:solidFill>
                  <a:srgbClr val="C00000"/>
                </a:solidFill>
                <a:latin typeface="Calibri"/>
              </a:rPr>
              <a:t>and</a:t>
            </a:r>
            <a:r>
              <a:rPr lang="de-DE" sz="1200" b="1" dirty="0">
                <a:solidFill>
                  <a:srgbClr val="C00000"/>
                </a:solidFill>
                <a:latin typeface="Calibri"/>
              </a:rPr>
              <a:t> </a:t>
            </a:r>
            <a:r>
              <a:rPr lang="de-DE" sz="1200" b="1" dirty="0" err="1">
                <a:solidFill>
                  <a:srgbClr val="C00000"/>
                </a:solidFill>
                <a:latin typeface="Calibri"/>
              </a:rPr>
              <a:t>sound</a:t>
            </a:r>
            <a:r>
              <a:rPr lang="de-DE" sz="1200" b="1" dirty="0">
                <a:solidFill>
                  <a:srgbClr val="C00000"/>
                </a:solidFill>
                <a:latin typeface="Calibri"/>
              </a:rPr>
              <a:t> </a:t>
            </a:r>
            <a:r>
              <a:rPr lang="de-DE" sz="1200" b="1" dirty="0" err="1">
                <a:solidFill>
                  <a:srgbClr val="C00000"/>
                </a:solidFill>
                <a:latin typeface="Calibri"/>
              </a:rPr>
              <a:t>fertilization</a:t>
            </a:r>
            <a:r>
              <a:rPr lang="de-DE" sz="1200" b="1" dirty="0">
                <a:solidFill>
                  <a:srgbClr val="C00000"/>
                </a:solidFill>
                <a:latin typeface="Calibri"/>
              </a:rPr>
              <a:t> </a:t>
            </a:r>
            <a:r>
              <a:rPr lang="de-DE" sz="1200" b="1" dirty="0" err="1">
                <a:solidFill>
                  <a:srgbClr val="C00000"/>
                </a:solidFill>
                <a:latin typeface="Calibri"/>
              </a:rPr>
              <a:t>management</a:t>
            </a:r>
            <a:endParaRPr lang="de-DE" sz="1200" b="1" dirty="0">
              <a:solidFill>
                <a:srgbClr val="C00000"/>
              </a:solidFill>
              <a:latin typeface="Calibri"/>
            </a:endParaRPr>
          </a:p>
          <a:p>
            <a:pPr marL="214313" indent="-214313" defTabSz="685800">
              <a:buFont typeface="Symbol" panose="05050102010706020507" pitchFamily="18" charset="2"/>
              <a:buChar char="-"/>
            </a:pPr>
            <a:r>
              <a:rPr lang="de-DE" sz="1200" b="1" dirty="0" err="1">
                <a:solidFill>
                  <a:srgbClr val="C00000"/>
                </a:solidFill>
                <a:latin typeface="Calibri"/>
              </a:rPr>
              <a:t>Variety</a:t>
            </a:r>
            <a:r>
              <a:rPr lang="de-DE" sz="1200" b="1" dirty="0">
                <a:solidFill>
                  <a:srgbClr val="C00000"/>
                </a:solidFill>
                <a:latin typeface="Calibri"/>
              </a:rPr>
              <a:t> of </a:t>
            </a:r>
            <a:r>
              <a:rPr lang="de-DE" sz="1200" b="1" dirty="0" err="1">
                <a:solidFill>
                  <a:srgbClr val="C00000"/>
                </a:solidFill>
                <a:latin typeface="Calibri"/>
              </a:rPr>
              <a:t>crops</a:t>
            </a:r>
            <a:r>
              <a:rPr lang="de-DE" sz="1200" b="1" dirty="0">
                <a:solidFill>
                  <a:srgbClr val="C00000"/>
                </a:solidFill>
                <a:latin typeface="Calibri"/>
              </a:rPr>
              <a:t>; </a:t>
            </a:r>
            <a:r>
              <a:rPr lang="de-DE" sz="1200" b="1" dirty="0" err="1">
                <a:solidFill>
                  <a:srgbClr val="C00000"/>
                </a:solidFill>
                <a:latin typeface="Calibri"/>
              </a:rPr>
              <a:t>crop</a:t>
            </a:r>
            <a:r>
              <a:rPr lang="de-DE" sz="1200" b="1" dirty="0">
                <a:solidFill>
                  <a:srgbClr val="C00000"/>
                </a:solidFill>
                <a:latin typeface="Calibri"/>
              </a:rPr>
              <a:t> </a:t>
            </a:r>
            <a:r>
              <a:rPr lang="de-DE" sz="1200" b="1" dirty="0" err="1">
                <a:solidFill>
                  <a:srgbClr val="C00000"/>
                </a:solidFill>
                <a:latin typeface="Calibri"/>
              </a:rPr>
              <a:t>rotation</a:t>
            </a:r>
            <a:endParaRPr lang="de-DE" sz="1200" b="1" dirty="0">
              <a:solidFill>
                <a:srgbClr val="C00000"/>
              </a:solidFill>
              <a:latin typeface="Calibri"/>
            </a:endParaRPr>
          </a:p>
          <a:p>
            <a:pPr marL="214313" indent="-214313" defTabSz="685800">
              <a:buFont typeface="Symbol" panose="05050102010706020507" pitchFamily="18" charset="2"/>
              <a:buChar char="-"/>
            </a:pPr>
            <a:r>
              <a:rPr lang="de-DE" sz="1200" b="1" dirty="0" err="1">
                <a:solidFill>
                  <a:srgbClr val="C00000"/>
                </a:solidFill>
                <a:latin typeface="Calibri"/>
              </a:rPr>
              <a:t>Complete</a:t>
            </a:r>
            <a:r>
              <a:rPr lang="de-DE" sz="1200" b="1" dirty="0">
                <a:solidFill>
                  <a:srgbClr val="C00000"/>
                </a:solidFill>
                <a:latin typeface="Calibri"/>
              </a:rPr>
              <a:t> </a:t>
            </a:r>
            <a:r>
              <a:rPr lang="de-DE" sz="1200" b="1" dirty="0" err="1">
                <a:solidFill>
                  <a:srgbClr val="C00000"/>
                </a:solidFill>
                <a:latin typeface="Calibri"/>
              </a:rPr>
              <a:t>implementation</a:t>
            </a:r>
            <a:r>
              <a:rPr lang="de-DE" sz="1200" b="1" dirty="0">
                <a:solidFill>
                  <a:srgbClr val="C00000"/>
                </a:solidFill>
                <a:latin typeface="Calibri"/>
              </a:rPr>
              <a:t> </a:t>
            </a:r>
            <a:r>
              <a:rPr lang="de-DE" sz="1200" b="1" dirty="0" err="1">
                <a:solidFill>
                  <a:srgbClr val="C00000"/>
                </a:solidFill>
                <a:latin typeface="Calibri"/>
              </a:rPr>
              <a:t>of</a:t>
            </a:r>
            <a:r>
              <a:rPr lang="de-DE" sz="1200" b="1" dirty="0">
                <a:solidFill>
                  <a:srgbClr val="C00000"/>
                </a:solidFill>
                <a:latin typeface="Calibri"/>
              </a:rPr>
              <a:t> Integrated Pest Management</a:t>
            </a:r>
          </a:p>
          <a:p>
            <a:pPr marL="214313" indent="-214313" defTabSz="685800">
              <a:buFont typeface="Symbol" panose="05050102010706020507" pitchFamily="18" charset="2"/>
              <a:buChar char="-"/>
            </a:pPr>
            <a:r>
              <a:rPr lang="de-DE" sz="1200" b="1" dirty="0" err="1">
                <a:solidFill>
                  <a:srgbClr val="C00000"/>
                </a:solidFill>
                <a:latin typeface="Calibri"/>
              </a:rPr>
              <a:t>Efficient</a:t>
            </a:r>
            <a:r>
              <a:rPr lang="de-DE" sz="1200" b="1" dirty="0">
                <a:solidFill>
                  <a:srgbClr val="C00000"/>
                </a:solidFill>
                <a:latin typeface="Calibri"/>
              </a:rPr>
              <a:t> </a:t>
            </a:r>
            <a:r>
              <a:rPr lang="de-DE" sz="1200" b="1" dirty="0" err="1">
                <a:solidFill>
                  <a:srgbClr val="C00000"/>
                </a:solidFill>
                <a:latin typeface="Calibri"/>
              </a:rPr>
              <a:t>use</a:t>
            </a:r>
            <a:r>
              <a:rPr lang="de-DE" sz="1200" b="1" dirty="0">
                <a:solidFill>
                  <a:srgbClr val="C00000"/>
                </a:solidFill>
                <a:latin typeface="Calibri"/>
              </a:rPr>
              <a:t> </a:t>
            </a:r>
            <a:r>
              <a:rPr lang="de-DE" sz="1200" b="1" dirty="0" err="1">
                <a:solidFill>
                  <a:srgbClr val="C00000"/>
                </a:solidFill>
                <a:latin typeface="Calibri"/>
              </a:rPr>
              <a:t>of</a:t>
            </a:r>
            <a:r>
              <a:rPr lang="de-DE" sz="1200" b="1" dirty="0">
                <a:solidFill>
                  <a:srgbClr val="C00000"/>
                </a:solidFill>
                <a:latin typeface="Calibri"/>
              </a:rPr>
              <a:t> </a:t>
            </a:r>
            <a:r>
              <a:rPr lang="de-DE" sz="1200" b="1" dirty="0" err="1">
                <a:solidFill>
                  <a:srgbClr val="C00000"/>
                </a:solidFill>
                <a:latin typeface="Calibri"/>
              </a:rPr>
              <a:t>water</a:t>
            </a:r>
            <a:r>
              <a:rPr lang="de-DE" sz="1200" b="1" dirty="0">
                <a:solidFill>
                  <a:srgbClr val="C00000"/>
                </a:solidFill>
                <a:latin typeface="Calibri"/>
              </a:rPr>
              <a:t>; </a:t>
            </a:r>
            <a:r>
              <a:rPr lang="de-DE" sz="1200" b="1" dirty="0" err="1">
                <a:solidFill>
                  <a:srgbClr val="C00000"/>
                </a:solidFill>
                <a:latin typeface="Calibri"/>
              </a:rPr>
              <a:t>protection</a:t>
            </a:r>
            <a:r>
              <a:rPr lang="de-DE" sz="1200" b="1" dirty="0">
                <a:solidFill>
                  <a:srgbClr val="C00000"/>
                </a:solidFill>
                <a:latin typeface="Calibri"/>
              </a:rPr>
              <a:t> </a:t>
            </a:r>
            <a:r>
              <a:rPr lang="de-DE" sz="1200" b="1" dirty="0" err="1">
                <a:solidFill>
                  <a:srgbClr val="C00000"/>
                </a:solidFill>
                <a:latin typeface="Calibri"/>
              </a:rPr>
              <a:t>of</a:t>
            </a:r>
            <a:r>
              <a:rPr lang="de-DE" sz="1200" b="1" dirty="0">
                <a:solidFill>
                  <a:srgbClr val="C00000"/>
                </a:solidFill>
                <a:latin typeface="Calibri"/>
              </a:rPr>
              <a:t> </a:t>
            </a:r>
            <a:r>
              <a:rPr lang="de-DE" sz="1200" b="1" dirty="0" err="1">
                <a:solidFill>
                  <a:srgbClr val="C00000"/>
                </a:solidFill>
                <a:latin typeface="Calibri"/>
              </a:rPr>
              <a:t>water</a:t>
            </a:r>
            <a:r>
              <a:rPr lang="de-DE" sz="1200" b="1" dirty="0">
                <a:solidFill>
                  <a:srgbClr val="C00000"/>
                </a:solidFill>
                <a:latin typeface="Calibri"/>
              </a:rPr>
              <a:t> </a:t>
            </a:r>
            <a:r>
              <a:rPr lang="de-DE" sz="1200" b="1" dirty="0" err="1">
                <a:solidFill>
                  <a:srgbClr val="C00000"/>
                </a:solidFill>
                <a:latin typeface="Calibri"/>
              </a:rPr>
              <a:t>sources</a:t>
            </a:r>
            <a:endParaRPr lang="de-DE" sz="1200" b="1" dirty="0">
              <a:solidFill>
                <a:srgbClr val="C00000"/>
              </a:solidFill>
              <a:latin typeface="Calibri"/>
            </a:endParaRPr>
          </a:p>
          <a:p>
            <a:pPr marL="214313" indent="-214313" defTabSz="685800">
              <a:buFont typeface="Symbol" panose="05050102010706020507" pitchFamily="18" charset="2"/>
              <a:buChar char="-"/>
            </a:pPr>
            <a:r>
              <a:rPr lang="de-DE" sz="1200" b="1" dirty="0">
                <a:solidFill>
                  <a:srgbClr val="C00000"/>
                </a:solidFill>
                <a:latin typeface="Calibri"/>
              </a:rPr>
              <a:t>Origen of </a:t>
            </a:r>
            <a:r>
              <a:rPr lang="de-DE" sz="1200" b="1" dirty="0" err="1">
                <a:solidFill>
                  <a:srgbClr val="C00000"/>
                </a:solidFill>
                <a:latin typeface="Calibri"/>
              </a:rPr>
              <a:t>feed</a:t>
            </a:r>
            <a:r>
              <a:rPr lang="de-DE" sz="1200" b="1" dirty="0">
                <a:solidFill>
                  <a:srgbClr val="C00000"/>
                </a:solidFill>
                <a:latin typeface="Calibri"/>
              </a:rPr>
              <a:t> </a:t>
            </a:r>
            <a:r>
              <a:rPr lang="de-DE" sz="1200" b="1" dirty="0" err="1">
                <a:solidFill>
                  <a:srgbClr val="C00000"/>
                </a:solidFill>
                <a:latin typeface="Calibri"/>
              </a:rPr>
              <a:t>and</a:t>
            </a:r>
            <a:r>
              <a:rPr lang="de-DE" sz="1200" b="1" dirty="0">
                <a:solidFill>
                  <a:srgbClr val="C00000"/>
                </a:solidFill>
                <a:latin typeface="Calibri"/>
              </a:rPr>
              <a:t> </a:t>
            </a:r>
            <a:r>
              <a:rPr lang="de-DE" sz="1200" b="1" dirty="0" err="1">
                <a:solidFill>
                  <a:srgbClr val="C00000"/>
                </a:solidFill>
                <a:latin typeface="Calibri"/>
              </a:rPr>
              <a:t>density</a:t>
            </a:r>
            <a:r>
              <a:rPr lang="de-DE" sz="1200" b="1" dirty="0">
                <a:solidFill>
                  <a:srgbClr val="C00000"/>
                </a:solidFill>
                <a:latin typeface="Calibri"/>
              </a:rPr>
              <a:t> of </a:t>
            </a:r>
            <a:r>
              <a:rPr lang="de-DE" sz="1200" b="1" dirty="0" err="1">
                <a:solidFill>
                  <a:srgbClr val="C00000"/>
                </a:solidFill>
                <a:latin typeface="Calibri"/>
              </a:rPr>
              <a:t>animals</a:t>
            </a:r>
            <a:endParaRPr lang="de-DE" sz="1200" b="1" dirty="0">
              <a:solidFill>
                <a:srgbClr val="C00000"/>
              </a:solidFill>
              <a:latin typeface="Calibri"/>
            </a:endParaRPr>
          </a:p>
          <a:p>
            <a:pPr marL="214313" indent="-214313" defTabSz="685800">
              <a:buFont typeface="Symbol" panose="05050102010706020507" pitchFamily="18" charset="2"/>
              <a:buChar char="-"/>
            </a:pPr>
            <a:r>
              <a:rPr lang="de-DE" sz="1200" b="1" dirty="0" err="1">
                <a:solidFill>
                  <a:srgbClr val="C00000"/>
                </a:solidFill>
                <a:latin typeface="Calibri"/>
              </a:rPr>
              <a:t>Agrobiodiversity</a:t>
            </a:r>
            <a:endParaRPr lang="de-DE" sz="1200" b="1" dirty="0">
              <a:solidFill>
                <a:srgbClr val="C00000"/>
              </a:solidFill>
              <a:latin typeface="Calibri"/>
            </a:endParaRPr>
          </a:p>
        </p:txBody>
      </p:sp>
      <p:cxnSp>
        <p:nvCxnSpPr>
          <p:cNvPr id="13" name="Gerade Verbindung mit Pfeil 12"/>
          <p:cNvCxnSpPr/>
          <p:nvPr/>
        </p:nvCxnSpPr>
        <p:spPr>
          <a:xfrm flipV="1">
            <a:off x="2924817" y="3003798"/>
            <a:ext cx="0" cy="354876"/>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28635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Grafik 22">
            <a:extLst>
              <a:ext uri="{FF2B5EF4-FFF2-40B4-BE49-F238E27FC236}">
                <a16:creationId xmlns:a16="http://schemas.microsoft.com/office/drawing/2014/main" id="{6BF1E40E-F235-45EA-8E0F-49BD5E684EA0}"/>
              </a:ext>
            </a:extLst>
          </p:cNvPr>
          <p:cNvPicPr>
            <a:picLocks noChangeAspect="1"/>
          </p:cNvPicPr>
          <p:nvPr/>
        </p:nvPicPr>
        <p:blipFill rotWithShape="1">
          <a:blip r:embed="rId3"/>
          <a:srcRect l="20182" r="19873"/>
          <a:stretch/>
        </p:blipFill>
        <p:spPr>
          <a:xfrm>
            <a:off x="-1" y="-279735"/>
            <a:ext cx="9144001" cy="5575839"/>
          </a:xfrm>
          <a:prstGeom prst="rect">
            <a:avLst/>
          </a:prstGeom>
        </p:spPr>
      </p:pic>
      <p:grpSp>
        <p:nvGrpSpPr>
          <p:cNvPr id="4" name="Gruppieren 3"/>
          <p:cNvGrpSpPr/>
          <p:nvPr/>
        </p:nvGrpSpPr>
        <p:grpSpPr>
          <a:xfrm>
            <a:off x="3459254" y="1081191"/>
            <a:ext cx="2445724" cy="2504972"/>
            <a:chOff x="-3889375" y="0"/>
            <a:chExt cx="3600450" cy="3600450"/>
          </a:xfrm>
        </p:grpSpPr>
        <p:sp>
          <p:nvSpPr>
            <p:cNvPr id="5" name="AutoShape 169"/>
            <p:cNvSpPr>
              <a:spLocks noChangeAspect="1" noChangeArrowheads="1" noTextEdit="1"/>
            </p:cNvSpPr>
            <p:nvPr userDrawn="1"/>
          </p:nvSpPr>
          <p:spPr bwMode="auto">
            <a:xfrm>
              <a:off x="-3889375" y="0"/>
              <a:ext cx="3600450"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 name="Freeform 171"/>
            <p:cNvSpPr>
              <a:spLocks/>
            </p:cNvSpPr>
            <p:nvPr userDrawn="1"/>
          </p:nvSpPr>
          <p:spPr bwMode="auto">
            <a:xfrm>
              <a:off x="-3889375" y="0"/>
              <a:ext cx="3600450" cy="3600450"/>
            </a:xfrm>
            <a:custGeom>
              <a:avLst/>
              <a:gdLst>
                <a:gd name="T0" fmla="*/ 2268 w 2268"/>
                <a:gd name="T1" fmla="*/ 0 h 2268"/>
                <a:gd name="T2" fmla="*/ 0 w 2268"/>
                <a:gd name="T3" fmla="*/ 0 h 2268"/>
                <a:gd name="T4" fmla="*/ 0 w 2268"/>
                <a:gd name="T5" fmla="*/ 2268 h 2268"/>
                <a:gd name="T6" fmla="*/ 2268 w 2268"/>
                <a:gd name="T7" fmla="*/ 2268 h 2268"/>
                <a:gd name="T8" fmla="*/ 2268 w 2268"/>
                <a:gd name="T9" fmla="*/ 0 h 2268"/>
                <a:gd name="T10" fmla="*/ 2268 w 2268"/>
                <a:gd name="T11" fmla="*/ 0 h 2268"/>
              </a:gdLst>
              <a:ahLst/>
              <a:cxnLst>
                <a:cxn ang="0">
                  <a:pos x="T0" y="T1"/>
                </a:cxn>
                <a:cxn ang="0">
                  <a:pos x="T2" y="T3"/>
                </a:cxn>
                <a:cxn ang="0">
                  <a:pos x="T4" y="T5"/>
                </a:cxn>
                <a:cxn ang="0">
                  <a:pos x="T6" y="T7"/>
                </a:cxn>
                <a:cxn ang="0">
                  <a:pos x="T8" y="T9"/>
                </a:cxn>
                <a:cxn ang="0">
                  <a:pos x="T10" y="T11"/>
                </a:cxn>
              </a:cxnLst>
              <a:rect l="0" t="0" r="r" b="b"/>
              <a:pathLst>
                <a:path w="2268" h="2268">
                  <a:moveTo>
                    <a:pt x="2268" y="0"/>
                  </a:moveTo>
                  <a:lnTo>
                    <a:pt x="0" y="0"/>
                  </a:lnTo>
                  <a:lnTo>
                    <a:pt x="0" y="2268"/>
                  </a:lnTo>
                  <a:lnTo>
                    <a:pt x="2268" y="2268"/>
                  </a:lnTo>
                  <a:lnTo>
                    <a:pt x="2268" y="0"/>
                  </a:lnTo>
                  <a:lnTo>
                    <a:pt x="226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7" name="Freeform 172"/>
            <p:cNvSpPr>
              <a:spLocks noEditPoints="1"/>
            </p:cNvSpPr>
            <p:nvPr userDrawn="1"/>
          </p:nvSpPr>
          <p:spPr bwMode="auto">
            <a:xfrm>
              <a:off x="-3752850" y="138113"/>
              <a:ext cx="3327400" cy="3325813"/>
            </a:xfrm>
            <a:custGeom>
              <a:avLst/>
              <a:gdLst>
                <a:gd name="T0" fmla="*/ 0 w 2096"/>
                <a:gd name="T1" fmla="*/ 0 h 2095"/>
                <a:gd name="T2" fmla="*/ 0 w 2096"/>
                <a:gd name="T3" fmla="*/ 2095 h 2095"/>
                <a:gd name="T4" fmla="*/ 2096 w 2096"/>
                <a:gd name="T5" fmla="*/ 2095 h 2095"/>
                <a:gd name="T6" fmla="*/ 2096 w 2096"/>
                <a:gd name="T7" fmla="*/ 0 h 2095"/>
                <a:gd name="T8" fmla="*/ 0 w 2096"/>
                <a:gd name="T9" fmla="*/ 0 h 2095"/>
                <a:gd name="T10" fmla="*/ 2009 w 2096"/>
                <a:gd name="T11" fmla="*/ 2008 h 2095"/>
                <a:gd name="T12" fmla="*/ 87 w 2096"/>
                <a:gd name="T13" fmla="*/ 2008 h 2095"/>
                <a:gd name="T14" fmla="*/ 87 w 2096"/>
                <a:gd name="T15" fmla="*/ 86 h 2095"/>
                <a:gd name="T16" fmla="*/ 2009 w 2096"/>
                <a:gd name="T17" fmla="*/ 86 h 2095"/>
                <a:gd name="T18" fmla="*/ 2009 w 2096"/>
                <a:gd name="T19" fmla="*/ 2008 h 2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96" h="2095">
                  <a:moveTo>
                    <a:pt x="0" y="0"/>
                  </a:moveTo>
                  <a:lnTo>
                    <a:pt x="0" y="2095"/>
                  </a:lnTo>
                  <a:lnTo>
                    <a:pt x="2096" y="2095"/>
                  </a:lnTo>
                  <a:lnTo>
                    <a:pt x="2096" y="0"/>
                  </a:lnTo>
                  <a:lnTo>
                    <a:pt x="0" y="0"/>
                  </a:lnTo>
                  <a:close/>
                  <a:moveTo>
                    <a:pt x="2009" y="2008"/>
                  </a:moveTo>
                  <a:lnTo>
                    <a:pt x="87" y="2008"/>
                  </a:lnTo>
                  <a:lnTo>
                    <a:pt x="87" y="86"/>
                  </a:lnTo>
                  <a:lnTo>
                    <a:pt x="2009" y="86"/>
                  </a:lnTo>
                  <a:lnTo>
                    <a:pt x="2009" y="200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8" name="Rectangle 173"/>
            <p:cNvSpPr>
              <a:spLocks noChangeArrowheads="1"/>
            </p:cNvSpPr>
            <p:nvPr userDrawn="1"/>
          </p:nvSpPr>
          <p:spPr bwMode="auto">
            <a:xfrm>
              <a:off x="-2705100" y="1443038"/>
              <a:ext cx="608013" cy="60801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9" name="Freeform 174"/>
            <p:cNvSpPr>
              <a:spLocks/>
            </p:cNvSpPr>
            <p:nvPr userDrawn="1"/>
          </p:nvSpPr>
          <p:spPr bwMode="auto">
            <a:xfrm>
              <a:off x="-2005013" y="1441450"/>
              <a:ext cx="608013" cy="609600"/>
            </a:xfrm>
            <a:custGeom>
              <a:avLst/>
              <a:gdLst>
                <a:gd name="T0" fmla="*/ 0 w 383"/>
                <a:gd name="T1" fmla="*/ 0 h 384"/>
                <a:gd name="T2" fmla="*/ 0 w 383"/>
                <a:gd name="T3" fmla="*/ 384 h 384"/>
                <a:gd name="T4" fmla="*/ 383 w 383"/>
                <a:gd name="T5" fmla="*/ 384 h 384"/>
                <a:gd name="T6" fmla="*/ 0 w 383"/>
                <a:gd name="T7" fmla="*/ 0 h 384"/>
              </a:gdLst>
              <a:ahLst/>
              <a:cxnLst>
                <a:cxn ang="0">
                  <a:pos x="T0" y="T1"/>
                </a:cxn>
                <a:cxn ang="0">
                  <a:pos x="T2" y="T3"/>
                </a:cxn>
                <a:cxn ang="0">
                  <a:pos x="T4" y="T5"/>
                </a:cxn>
                <a:cxn ang="0">
                  <a:pos x="T6" y="T7"/>
                </a:cxn>
              </a:cxnLst>
              <a:rect l="0" t="0" r="r" b="b"/>
              <a:pathLst>
                <a:path w="383" h="384">
                  <a:moveTo>
                    <a:pt x="0" y="0"/>
                  </a:moveTo>
                  <a:lnTo>
                    <a:pt x="0" y="384"/>
                  </a:lnTo>
                  <a:lnTo>
                    <a:pt x="383" y="384"/>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0" name="Rectangle 175"/>
            <p:cNvSpPr>
              <a:spLocks noChangeArrowheads="1"/>
            </p:cNvSpPr>
            <p:nvPr userDrawn="1"/>
          </p:nvSpPr>
          <p:spPr bwMode="auto">
            <a:xfrm>
              <a:off x="-2705100" y="742950"/>
              <a:ext cx="608013" cy="608013"/>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1" name="Freeform 176"/>
            <p:cNvSpPr>
              <a:spLocks/>
            </p:cNvSpPr>
            <p:nvPr userDrawn="1"/>
          </p:nvSpPr>
          <p:spPr bwMode="auto">
            <a:xfrm>
              <a:off x="-2005013" y="742950"/>
              <a:ext cx="608013" cy="608013"/>
            </a:xfrm>
            <a:custGeom>
              <a:avLst/>
              <a:gdLst>
                <a:gd name="T0" fmla="*/ 0 w 383"/>
                <a:gd name="T1" fmla="*/ 0 h 383"/>
                <a:gd name="T2" fmla="*/ 0 w 383"/>
                <a:gd name="T3" fmla="*/ 383 h 383"/>
                <a:gd name="T4" fmla="*/ 383 w 383"/>
                <a:gd name="T5" fmla="*/ 0 h 383"/>
                <a:gd name="T6" fmla="*/ 0 w 383"/>
                <a:gd name="T7" fmla="*/ 0 h 383"/>
              </a:gdLst>
              <a:ahLst/>
              <a:cxnLst>
                <a:cxn ang="0">
                  <a:pos x="T0" y="T1"/>
                </a:cxn>
                <a:cxn ang="0">
                  <a:pos x="T2" y="T3"/>
                </a:cxn>
                <a:cxn ang="0">
                  <a:pos x="T4" y="T5"/>
                </a:cxn>
                <a:cxn ang="0">
                  <a:pos x="T6" y="T7"/>
                </a:cxn>
              </a:cxnLst>
              <a:rect l="0" t="0" r="r" b="b"/>
              <a:pathLst>
                <a:path w="383" h="383">
                  <a:moveTo>
                    <a:pt x="0" y="0"/>
                  </a:moveTo>
                  <a:lnTo>
                    <a:pt x="0" y="383"/>
                  </a:lnTo>
                  <a:lnTo>
                    <a:pt x="383" y="0"/>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2" name="Freeform 177"/>
            <p:cNvSpPr>
              <a:spLocks/>
            </p:cNvSpPr>
            <p:nvPr userDrawn="1"/>
          </p:nvSpPr>
          <p:spPr bwMode="auto">
            <a:xfrm>
              <a:off x="-3346450" y="2409825"/>
              <a:ext cx="358775" cy="441325"/>
            </a:xfrm>
            <a:custGeom>
              <a:avLst/>
              <a:gdLst>
                <a:gd name="T0" fmla="*/ 224 w 226"/>
                <a:gd name="T1" fmla="*/ 0 h 278"/>
                <a:gd name="T2" fmla="*/ 154 w 226"/>
                <a:gd name="T3" fmla="*/ 0 h 278"/>
                <a:gd name="T4" fmla="*/ 62 w 226"/>
                <a:gd name="T5" fmla="*/ 128 h 278"/>
                <a:gd name="T6" fmla="*/ 62 w 226"/>
                <a:gd name="T7" fmla="*/ 0 h 278"/>
                <a:gd name="T8" fmla="*/ 0 w 226"/>
                <a:gd name="T9" fmla="*/ 0 h 278"/>
                <a:gd name="T10" fmla="*/ 0 w 226"/>
                <a:gd name="T11" fmla="*/ 278 h 278"/>
                <a:gd name="T12" fmla="*/ 62 w 226"/>
                <a:gd name="T13" fmla="*/ 278 h 278"/>
                <a:gd name="T14" fmla="*/ 62 w 226"/>
                <a:gd name="T15" fmla="*/ 153 h 278"/>
                <a:gd name="T16" fmla="*/ 154 w 226"/>
                <a:gd name="T17" fmla="*/ 278 h 278"/>
                <a:gd name="T18" fmla="*/ 226 w 226"/>
                <a:gd name="T19" fmla="*/ 278 h 278"/>
                <a:gd name="T20" fmla="*/ 119 w 226"/>
                <a:gd name="T21" fmla="*/ 136 h 278"/>
                <a:gd name="T22" fmla="*/ 224 w 226"/>
                <a:gd name="T23"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6" h="278">
                  <a:moveTo>
                    <a:pt x="224" y="0"/>
                  </a:moveTo>
                  <a:lnTo>
                    <a:pt x="154" y="0"/>
                  </a:lnTo>
                  <a:lnTo>
                    <a:pt x="62" y="128"/>
                  </a:lnTo>
                  <a:lnTo>
                    <a:pt x="62" y="0"/>
                  </a:lnTo>
                  <a:lnTo>
                    <a:pt x="0" y="0"/>
                  </a:lnTo>
                  <a:lnTo>
                    <a:pt x="0" y="278"/>
                  </a:lnTo>
                  <a:lnTo>
                    <a:pt x="62" y="278"/>
                  </a:lnTo>
                  <a:lnTo>
                    <a:pt x="62" y="153"/>
                  </a:lnTo>
                  <a:lnTo>
                    <a:pt x="154" y="278"/>
                  </a:lnTo>
                  <a:lnTo>
                    <a:pt x="226" y="278"/>
                  </a:lnTo>
                  <a:lnTo>
                    <a:pt x="119" y="136"/>
                  </a:lnTo>
                  <a:lnTo>
                    <a:pt x="224"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3" name="Freeform 178"/>
            <p:cNvSpPr>
              <a:spLocks/>
            </p:cNvSpPr>
            <p:nvPr userDrawn="1"/>
          </p:nvSpPr>
          <p:spPr bwMode="auto">
            <a:xfrm>
              <a:off x="-2625725" y="2557463"/>
              <a:ext cx="292100" cy="300038"/>
            </a:xfrm>
            <a:custGeom>
              <a:avLst/>
              <a:gdLst>
                <a:gd name="T0" fmla="*/ 1303 w 1839"/>
                <a:gd name="T1" fmla="*/ 1215 h 1890"/>
                <a:gd name="T2" fmla="*/ 906 w 1839"/>
                <a:gd name="T3" fmla="*/ 1425 h 1890"/>
                <a:gd name="T4" fmla="*/ 544 w 1839"/>
                <a:gd name="T5" fmla="*/ 1036 h 1890"/>
                <a:gd name="T6" fmla="*/ 544 w 1839"/>
                <a:gd name="T7" fmla="*/ 0 h 1890"/>
                <a:gd name="T8" fmla="*/ 0 w 1839"/>
                <a:gd name="T9" fmla="*/ 0 h 1890"/>
                <a:gd name="T10" fmla="*/ 0 w 1839"/>
                <a:gd name="T11" fmla="*/ 1143 h 1890"/>
                <a:gd name="T12" fmla="*/ 711 w 1839"/>
                <a:gd name="T13" fmla="*/ 1890 h 1890"/>
                <a:gd name="T14" fmla="*/ 1303 w 1839"/>
                <a:gd name="T15" fmla="*/ 1627 h 1890"/>
                <a:gd name="T16" fmla="*/ 1303 w 1839"/>
                <a:gd name="T17" fmla="*/ 1850 h 1890"/>
                <a:gd name="T18" fmla="*/ 1839 w 1839"/>
                <a:gd name="T19" fmla="*/ 1850 h 1890"/>
                <a:gd name="T20" fmla="*/ 1839 w 1839"/>
                <a:gd name="T21" fmla="*/ 0 h 1890"/>
                <a:gd name="T22" fmla="*/ 1303 w 1839"/>
                <a:gd name="T23" fmla="*/ 0 h 1890"/>
                <a:gd name="T24" fmla="*/ 1303 w 1839"/>
                <a:gd name="T25" fmla="*/ 1215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9" h="1890">
                  <a:moveTo>
                    <a:pt x="1303" y="1215"/>
                  </a:moveTo>
                  <a:cubicBezTo>
                    <a:pt x="1231" y="1306"/>
                    <a:pt x="1104" y="1425"/>
                    <a:pt x="906" y="1425"/>
                  </a:cubicBezTo>
                  <a:cubicBezTo>
                    <a:pt x="679" y="1425"/>
                    <a:pt x="544" y="1278"/>
                    <a:pt x="544" y="1036"/>
                  </a:cubicBezTo>
                  <a:cubicBezTo>
                    <a:pt x="544" y="0"/>
                    <a:pt x="544" y="0"/>
                    <a:pt x="544" y="0"/>
                  </a:cubicBezTo>
                  <a:cubicBezTo>
                    <a:pt x="0" y="0"/>
                    <a:pt x="0" y="0"/>
                    <a:pt x="0" y="0"/>
                  </a:cubicBezTo>
                  <a:cubicBezTo>
                    <a:pt x="0" y="1143"/>
                    <a:pt x="0" y="1143"/>
                    <a:pt x="0" y="1143"/>
                  </a:cubicBezTo>
                  <a:cubicBezTo>
                    <a:pt x="0" y="1580"/>
                    <a:pt x="251" y="1890"/>
                    <a:pt x="711" y="1890"/>
                  </a:cubicBezTo>
                  <a:cubicBezTo>
                    <a:pt x="1017" y="1890"/>
                    <a:pt x="1207" y="1731"/>
                    <a:pt x="1303" y="1627"/>
                  </a:cubicBezTo>
                  <a:cubicBezTo>
                    <a:pt x="1303" y="1850"/>
                    <a:pt x="1303" y="1850"/>
                    <a:pt x="1303" y="1850"/>
                  </a:cubicBezTo>
                  <a:cubicBezTo>
                    <a:pt x="1839" y="1850"/>
                    <a:pt x="1839" y="1850"/>
                    <a:pt x="1839" y="1850"/>
                  </a:cubicBezTo>
                  <a:cubicBezTo>
                    <a:pt x="1839" y="0"/>
                    <a:pt x="1839" y="0"/>
                    <a:pt x="1839" y="0"/>
                  </a:cubicBezTo>
                  <a:cubicBezTo>
                    <a:pt x="1303" y="0"/>
                    <a:pt x="1303" y="0"/>
                    <a:pt x="1303" y="0"/>
                  </a:cubicBezTo>
                  <a:lnTo>
                    <a:pt x="1303" y="121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4" name="Freeform 179"/>
            <p:cNvSpPr>
              <a:spLocks noEditPoints="1"/>
            </p:cNvSpPr>
            <p:nvPr userDrawn="1"/>
          </p:nvSpPr>
          <p:spPr bwMode="auto">
            <a:xfrm>
              <a:off x="-1865313" y="2551113"/>
              <a:ext cx="314325" cy="306388"/>
            </a:xfrm>
            <a:custGeom>
              <a:avLst/>
              <a:gdLst>
                <a:gd name="T0" fmla="*/ 1441 w 1977"/>
                <a:gd name="T1" fmla="*/ 234 h 1930"/>
                <a:gd name="T2" fmla="*/ 874 w 1977"/>
                <a:gd name="T3" fmla="*/ 0 h 1930"/>
                <a:gd name="T4" fmla="*/ 0 w 1977"/>
                <a:gd name="T5" fmla="*/ 973 h 1930"/>
                <a:gd name="T6" fmla="*/ 874 w 1977"/>
                <a:gd name="T7" fmla="*/ 1930 h 1930"/>
                <a:gd name="T8" fmla="*/ 1441 w 1977"/>
                <a:gd name="T9" fmla="*/ 1699 h 1930"/>
                <a:gd name="T10" fmla="*/ 1441 w 1977"/>
                <a:gd name="T11" fmla="*/ 1890 h 1930"/>
                <a:gd name="T12" fmla="*/ 1977 w 1977"/>
                <a:gd name="T13" fmla="*/ 1890 h 1930"/>
                <a:gd name="T14" fmla="*/ 1977 w 1977"/>
                <a:gd name="T15" fmla="*/ 40 h 1930"/>
                <a:gd name="T16" fmla="*/ 1441 w 1977"/>
                <a:gd name="T17" fmla="*/ 40 h 1930"/>
                <a:gd name="T18" fmla="*/ 1441 w 1977"/>
                <a:gd name="T19" fmla="*/ 234 h 1930"/>
                <a:gd name="T20" fmla="*/ 1441 w 1977"/>
                <a:gd name="T21" fmla="*/ 1298 h 1930"/>
                <a:gd name="T22" fmla="*/ 1048 w 1977"/>
                <a:gd name="T23" fmla="*/ 1473 h 1930"/>
                <a:gd name="T24" fmla="*/ 560 w 1977"/>
                <a:gd name="T25" fmla="*/ 965 h 1930"/>
                <a:gd name="T26" fmla="*/ 1048 w 1977"/>
                <a:gd name="T27" fmla="*/ 457 h 1930"/>
                <a:gd name="T28" fmla="*/ 1441 w 1977"/>
                <a:gd name="T29" fmla="*/ 631 h 1930"/>
                <a:gd name="T30" fmla="*/ 1441 w 1977"/>
                <a:gd name="T31" fmla="*/ 1298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7" h="1930">
                  <a:moveTo>
                    <a:pt x="1441" y="234"/>
                  </a:moveTo>
                  <a:cubicBezTo>
                    <a:pt x="1330" y="127"/>
                    <a:pt x="1140" y="0"/>
                    <a:pt x="874" y="0"/>
                  </a:cubicBezTo>
                  <a:cubicBezTo>
                    <a:pt x="358" y="0"/>
                    <a:pt x="0" y="429"/>
                    <a:pt x="0" y="973"/>
                  </a:cubicBezTo>
                  <a:cubicBezTo>
                    <a:pt x="0" y="1509"/>
                    <a:pt x="354" y="1930"/>
                    <a:pt x="874" y="1930"/>
                  </a:cubicBezTo>
                  <a:cubicBezTo>
                    <a:pt x="1156" y="1930"/>
                    <a:pt x="1342" y="1799"/>
                    <a:pt x="1441" y="1699"/>
                  </a:cubicBezTo>
                  <a:cubicBezTo>
                    <a:pt x="1441" y="1890"/>
                    <a:pt x="1441" y="1890"/>
                    <a:pt x="1441" y="1890"/>
                  </a:cubicBezTo>
                  <a:cubicBezTo>
                    <a:pt x="1977" y="1890"/>
                    <a:pt x="1977" y="1890"/>
                    <a:pt x="1977" y="1890"/>
                  </a:cubicBezTo>
                  <a:cubicBezTo>
                    <a:pt x="1977" y="40"/>
                    <a:pt x="1977" y="40"/>
                    <a:pt x="1977" y="40"/>
                  </a:cubicBezTo>
                  <a:cubicBezTo>
                    <a:pt x="1441" y="40"/>
                    <a:pt x="1441" y="40"/>
                    <a:pt x="1441" y="40"/>
                  </a:cubicBezTo>
                  <a:lnTo>
                    <a:pt x="1441" y="234"/>
                  </a:lnTo>
                  <a:close/>
                  <a:moveTo>
                    <a:pt x="1441" y="1298"/>
                  </a:moveTo>
                  <a:cubicBezTo>
                    <a:pt x="1366" y="1382"/>
                    <a:pt x="1239" y="1473"/>
                    <a:pt x="1048" y="1473"/>
                  </a:cubicBezTo>
                  <a:cubicBezTo>
                    <a:pt x="762" y="1473"/>
                    <a:pt x="560" y="1266"/>
                    <a:pt x="560" y="965"/>
                  </a:cubicBezTo>
                  <a:cubicBezTo>
                    <a:pt x="560" y="663"/>
                    <a:pt x="762" y="457"/>
                    <a:pt x="1048" y="457"/>
                  </a:cubicBezTo>
                  <a:cubicBezTo>
                    <a:pt x="1239" y="457"/>
                    <a:pt x="1366" y="548"/>
                    <a:pt x="1441" y="631"/>
                  </a:cubicBezTo>
                  <a:lnTo>
                    <a:pt x="1441" y="129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5" name="Freeform 180"/>
            <p:cNvSpPr>
              <a:spLocks noEditPoints="1"/>
            </p:cNvSpPr>
            <p:nvPr userDrawn="1"/>
          </p:nvSpPr>
          <p:spPr bwMode="auto">
            <a:xfrm>
              <a:off x="-3000375" y="2551113"/>
              <a:ext cx="314325" cy="306388"/>
            </a:xfrm>
            <a:custGeom>
              <a:avLst/>
              <a:gdLst>
                <a:gd name="T0" fmla="*/ 1441 w 1977"/>
                <a:gd name="T1" fmla="*/ 234 h 1930"/>
                <a:gd name="T2" fmla="*/ 873 w 1977"/>
                <a:gd name="T3" fmla="*/ 0 h 1930"/>
                <a:gd name="T4" fmla="*/ 0 w 1977"/>
                <a:gd name="T5" fmla="*/ 973 h 1930"/>
                <a:gd name="T6" fmla="*/ 873 w 1977"/>
                <a:gd name="T7" fmla="*/ 1930 h 1930"/>
                <a:gd name="T8" fmla="*/ 1441 w 1977"/>
                <a:gd name="T9" fmla="*/ 1699 h 1930"/>
                <a:gd name="T10" fmla="*/ 1441 w 1977"/>
                <a:gd name="T11" fmla="*/ 1890 h 1930"/>
                <a:gd name="T12" fmla="*/ 1977 w 1977"/>
                <a:gd name="T13" fmla="*/ 1890 h 1930"/>
                <a:gd name="T14" fmla="*/ 1977 w 1977"/>
                <a:gd name="T15" fmla="*/ 40 h 1930"/>
                <a:gd name="T16" fmla="*/ 1441 w 1977"/>
                <a:gd name="T17" fmla="*/ 40 h 1930"/>
                <a:gd name="T18" fmla="*/ 1441 w 1977"/>
                <a:gd name="T19" fmla="*/ 234 h 1930"/>
                <a:gd name="T20" fmla="*/ 1441 w 1977"/>
                <a:gd name="T21" fmla="*/ 1298 h 1930"/>
                <a:gd name="T22" fmla="*/ 1048 w 1977"/>
                <a:gd name="T23" fmla="*/ 1473 h 1930"/>
                <a:gd name="T24" fmla="*/ 560 w 1977"/>
                <a:gd name="T25" fmla="*/ 965 h 1930"/>
                <a:gd name="T26" fmla="*/ 1048 w 1977"/>
                <a:gd name="T27" fmla="*/ 457 h 1930"/>
                <a:gd name="T28" fmla="*/ 1441 w 1977"/>
                <a:gd name="T29" fmla="*/ 631 h 1930"/>
                <a:gd name="T30" fmla="*/ 1441 w 1977"/>
                <a:gd name="T31" fmla="*/ 1298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7" h="1930">
                  <a:moveTo>
                    <a:pt x="1441" y="234"/>
                  </a:moveTo>
                  <a:cubicBezTo>
                    <a:pt x="1330" y="127"/>
                    <a:pt x="1139" y="0"/>
                    <a:pt x="873" y="0"/>
                  </a:cubicBezTo>
                  <a:cubicBezTo>
                    <a:pt x="357" y="0"/>
                    <a:pt x="0" y="429"/>
                    <a:pt x="0" y="973"/>
                  </a:cubicBezTo>
                  <a:cubicBezTo>
                    <a:pt x="0" y="1509"/>
                    <a:pt x="353" y="1930"/>
                    <a:pt x="873" y="1930"/>
                  </a:cubicBezTo>
                  <a:cubicBezTo>
                    <a:pt x="1155" y="1930"/>
                    <a:pt x="1342" y="1799"/>
                    <a:pt x="1441" y="1699"/>
                  </a:cubicBezTo>
                  <a:cubicBezTo>
                    <a:pt x="1441" y="1890"/>
                    <a:pt x="1441" y="1890"/>
                    <a:pt x="1441" y="1890"/>
                  </a:cubicBezTo>
                  <a:cubicBezTo>
                    <a:pt x="1977" y="1890"/>
                    <a:pt x="1977" y="1890"/>
                    <a:pt x="1977" y="1890"/>
                  </a:cubicBezTo>
                  <a:cubicBezTo>
                    <a:pt x="1977" y="40"/>
                    <a:pt x="1977" y="40"/>
                    <a:pt x="1977" y="40"/>
                  </a:cubicBezTo>
                  <a:cubicBezTo>
                    <a:pt x="1441" y="40"/>
                    <a:pt x="1441" y="40"/>
                    <a:pt x="1441" y="40"/>
                  </a:cubicBezTo>
                  <a:lnTo>
                    <a:pt x="1441" y="234"/>
                  </a:lnTo>
                  <a:close/>
                  <a:moveTo>
                    <a:pt x="1441" y="1298"/>
                  </a:moveTo>
                  <a:cubicBezTo>
                    <a:pt x="1366" y="1382"/>
                    <a:pt x="1239" y="1473"/>
                    <a:pt x="1048" y="1473"/>
                  </a:cubicBezTo>
                  <a:cubicBezTo>
                    <a:pt x="762" y="1473"/>
                    <a:pt x="560" y="1266"/>
                    <a:pt x="560" y="965"/>
                  </a:cubicBezTo>
                  <a:cubicBezTo>
                    <a:pt x="560" y="663"/>
                    <a:pt x="762" y="457"/>
                    <a:pt x="1048" y="457"/>
                  </a:cubicBezTo>
                  <a:cubicBezTo>
                    <a:pt x="1239" y="457"/>
                    <a:pt x="1366" y="548"/>
                    <a:pt x="1441" y="631"/>
                  </a:cubicBezTo>
                  <a:lnTo>
                    <a:pt x="1441" y="129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6" name="Freeform 181"/>
            <p:cNvSpPr>
              <a:spLocks noEditPoints="1"/>
            </p:cNvSpPr>
            <p:nvPr userDrawn="1"/>
          </p:nvSpPr>
          <p:spPr bwMode="auto">
            <a:xfrm>
              <a:off x="-1149350" y="2409825"/>
              <a:ext cx="317500" cy="447675"/>
            </a:xfrm>
            <a:custGeom>
              <a:avLst/>
              <a:gdLst>
                <a:gd name="T0" fmla="*/ 1461 w 1997"/>
                <a:gd name="T1" fmla="*/ 0 h 2819"/>
                <a:gd name="T2" fmla="*/ 1461 w 1997"/>
                <a:gd name="T3" fmla="*/ 1139 h 2819"/>
                <a:gd name="T4" fmla="*/ 873 w 1997"/>
                <a:gd name="T5" fmla="*/ 889 h 2819"/>
                <a:gd name="T6" fmla="*/ 0 w 1997"/>
                <a:gd name="T7" fmla="*/ 1862 h 2819"/>
                <a:gd name="T8" fmla="*/ 873 w 1997"/>
                <a:gd name="T9" fmla="*/ 2819 h 2819"/>
                <a:gd name="T10" fmla="*/ 1461 w 1997"/>
                <a:gd name="T11" fmla="*/ 2568 h 2819"/>
                <a:gd name="T12" fmla="*/ 1461 w 1997"/>
                <a:gd name="T13" fmla="*/ 2779 h 2819"/>
                <a:gd name="T14" fmla="*/ 1997 w 1997"/>
                <a:gd name="T15" fmla="*/ 2779 h 2819"/>
                <a:gd name="T16" fmla="*/ 1997 w 1997"/>
                <a:gd name="T17" fmla="*/ 0 h 2819"/>
                <a:gd name="T18" fmla="*/ 1461 w 1997"/>
                <a:gd name="T19" fmla="*/ 0 h 2819"/>
                <a:gd name="T20" fmla="*/ 1461 w 1997"/>
                <a:gd name="T21" fmla="*/ 2163 h 2819"/>
                <a:gd name="T22" fmla="*/ 1048 w 1997"/>
                <a:gd name="T23" fmla="*/ 2362 h 2819"/>
                <a:gd name="T24" fmla="*/ 560 w 1997"/>
                <a:gd name="T25" fmla="*/ 1854 h 2819"/>
                <a:gd name="T26" fmla="*/ 1048 w 1997"/>
                <a:gd name="T27" fmla="*/ 1346 h 2819"/>
                <a:gd name="T28" fmla="*/ 1461 w 1997"/>
                <a:gd name="T29" fmla="*/ 1544 h 2819"/>
                <a:gd name="T30" fmla="*/ 1461 w 1997"/>
                <a:gd name="T31" fmla="*/ 2163 h 2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97" h="2819">
                  <a:moveTo>
                    <a:pt x="1461" y="0"/>
                  </a:moveTo>
                  <a:cubicBezTo>
                    <a:pt x="1461" y="1139"/>
                    <a:pt x="1461" y="1139"/>
                    <a:pt x="1461" y="1139"/>
                  </a:cubicBezTo>
                  <a:cubicBezTo>
                    <a:pt x="1366" y="1040"/>
                    <a:pt x="1171" y="889"/>
                    <a:pt x="873" y="889"/>
                  </a:cubicBezTo>
                  <a:cubicBezTo>
                    <a:pt x="353" y="889"/>
                    <a:pt x="0" y="1318"/>
                    <a:pt x="0" y="1862"/>
                  </a:cubicBezTo>
                  <a:cubicBezTo>
                    <a:pt x="0" y="2406"/>
                    <a:pt x="361" y="2819"/>
                    <a:pt x="873" y="2819"/>
                  </a:cubicBezTo>
                  <a:cubicBezTo>
                    <a:pt x="1171" y="2819"/>
                    <a:pt x="1366" y="2672"/>
                    <a:pt x="1461" y="2568"/>
                  </a:cubicBezTo>
                  <a:cubicBezTo>
                    <a:pt x="1461" y="2779"/>
                    <a:pt x="1461" y="2779"/>
                    <a:pt x="1461" y="2779"/>
                  </a:cubicBezTo>
                  <a:cubicBezTo>
                    <a:pt x="1997" y="2779"/>
                    <a:pt x="1997" y="2779"/>
                    <a:pt x="1997" y="2779"/>
                  </a:cubicBezTo>
                  <a:cubicBezTo>
                    <a:pt x="1997" y="0"/>
                    <a:pt x="1997" y="0"/>
                    <a:pt x="1997" y="0"/>
                  </a:cubicBezTo>
                  <a:lnTo>
                    <a:pt x="1461" y="0"/>
                  </a:lnTo>
                  <a:close/>
                  <a:moveTo>
                    <a:pt x="1461" y="2163"/>
                  </a:moveTo>
                  <a:cubicBezTo>
                    <a:pt x="1389" y="2255"/>
                    <a:pt x="1254" y="2362"/>
                    <a:pt x="1048" y="2362"/>
                  </a:cubicBezTo>
                  <a:cubicBezTo>
                    <a:pt x="762" y="2362"/>
                    <a:pt x="560" y="2155"/>
                    <a:pt x="560" y="1854"/>
                  </a:cubicBezTo>
                  <a:cubicBezTo>
                    <a:pt x="560" y="1552"/>
                    <a:pt x="762" y="1346"/>
                    <a:pt x="1048" y="1346"/>
                  </a:cubicBezTo>
                  <a:cubicBezTo>
                    <a:pt x="1254" y="1346"/>
                    <a:pt x="1389" y="1453"/>
                    <a:pt x="1461" y="1544"/>
                  </a:cubicBezTo>
                  <a:lnTo>
                    <a:pt x="1461" y="216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7" name="Freeform 182"/>
            <p:cNvSpPr>
              <a:spLocks/>
            </p:cNvSpPr>
            <p:nvPr userDrawn="1"/>
          </p:nvSpPr>
          <p:spPr bwMode="auto">
            <a:xfrm>
              <a:off x="-1487488" y="2551113"/>
              <a:ext cx="290513" cy="300038"/>
            </a:xfrm>
            <a:custGeom>
              <a:avLst/>
              <a:gdLst>
                <a:gd name="T0" fmla="*/ 1128 w 1839"/>
                <a:gd name="T1" fmla="*/ 0 h 1890"/>
                <a:gd name="T2" fmla="*/ 540 w 1839"/>
                <a:gd name="T3" fmla="*/ 262 h 1890"/>
                <a:gd name="T4" fmla="*/ 540 w 1839"/>
                <a:gd name="T5" fmla="*/ 40 h 1890"/>
                <a:gd name="T6" fmla="*/ 0 w 1839"/>
                <a:gd name="T7" fmla="*/ 40 h 1890"/>
                <a:gd name="T8" fmla="*/ 0 w 1839"/>
                <a:gd name="T9" fmla="*/ 1890 h 1890"/>
                <a:gd name="T10" fmla="*/ 540 w 1839"/>
                <a:gd name="T11" fmla="*/ 1890 h 1890"/>
                <a:gd name="T12" fmla="*/ 540 w 1839"/>
                <a:gd name="T13" fmla="*/ 675 h 1890"/>
                <a:gd name="T14" fmla="*/ 937 w 1839"/>
                <a:gd name="T15" fmla="*/ 464 h 1890"/>
                <a:gd name="T16" fmla="*/ 1295 w 1839"/>
                <a:gd name="T17" fmla="*/ 854 h 1890"/>
                <a:gd name="T18" fmla="*/ 1295 w 1839"/>
                <a:gd name="T19" fmla="*/ 1890 h 1890"/>
                <a:gd name="T20" fmla="*/ 1839 w 1839"/>
                <a:gd name="T21" fmla="*/ 1890 h 1890"/>
                <a:gd name="T22" fmla="*/ 1839 w 1839"/>
                <a:gd name="T23" fmla="*/ 746 h 1890"/>
                <a:gd name="T24" fmla="*/ 1128 w 1839"/>
                <a:gd name="T25" fmla="*/ 0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9" h="1890">
                  <a:moveTo>
                    <a:pt x="1128" y="0"/>
                  </a:moveTo>
                  <a:cubicBezTo>
                    <a:pt x="826" y="0"/>
                    <a:pt x="632" y="159"/>
                    <a:pt x="540" y="262"/>
                  </a:cubicBezTo>
                  <a:cubicBezTo>
                    <a:pt x="540" y="40"/>
                    <a:pt x="540" y="40"/>
                    <a:pt x="540" y="40"/>
                  </a:cubicBezTo>
                  <a:cubicBezTo>
                    <a:pt x="0" y="40"/>
                    <a:pt x="0" y="40"/>
                    <a:pt x="0" y="40"/>
                  </a:cubicBezTo>
                  <a:cubicBezTo>
                    <a:pt x="0" y="1890"/>
                    <a:pt x="0" y="1890"/>
                    <a:pt x="0" y="1890"/>
                  </a:cubicBezTo>
                  <a:cubicBezTo>
                    <a:pt x="540" y="1890"/>
                    <a:pt x="540" y="1890"/>
                    <a:pt x="540" y="1890"/>
                  </a:cubicBezTo>
                  <a:cubicBezTo>
                    <a:pt x="540" y="675"/>
                    <a:pt x="540" y="675"/>
                    <a:pt x="540" y="675"/>
                  </a:cubicBezTo>
                  <a:cubicBezTo>
                    <a:pt x="608" y="580"/>
                    <a:pt x="735" y="464"/>
                    <a:pt x="937" y="464"/>
                  </a:cubicBezTo>
                  <a:cubicBezTo>
                    <a:pt x="1164" y="464"/>
                    <a:pt x="1295" y="611"/>
                    <a:pt x="1295" y="854"/>
                  </a:cubicBezTo>
                  <a:cubicBezTo>
                    <a:pt x="1295" y="1890"/>
                    <a:pt x="1295" y="1890"/>
                    <a:pt x="1295" y="1890"/>
                  </a:cubicBezTo>
                  <a:cubicBezTo>
                    <a:pt x="1839" y="1890"/>
                    <a:pt x="1839" y="1890"/>
                    <a:pt x="1839" y="1890"/>
                  </a:cubicBezTo>
                  <a:cubicBezTo>
                    <a:pt x="1839" y="746"/>
                    <a:pt x="1839" y="746"/>
                    <a:pt x="1839" y="746"/>
                  </a:cubicBezTo>
                  <a:cubicBezTo>
                    <a:pt x="1839" y="310"/>
                    <a:pt x="1588" y="0"/>
                    <a:pt x="1128"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8" name="Freeform 183"/>
            <p:cNvSpPr>
              <a:spLocks/>
            </p:cNvSpPr>
            <p:nvPr userDrawn="1"/>
          </p:nvSpPr>
          <p:spPr bwMode="auto">
            <a:xfrm>
              <a:off x="-2286000" y="2403475"/>
              <a:ext cx="238125" cy="447675"/>
            </a:xfrm>
            <a:custGeom>
              <a:avLst/>
              <a:gdLst>
                <a:gd name="T0" fmla="*/ 1128 w 1505"/>
                <a:gd name="T1" fmla="*/ 449 h 2819"/>
                <a:gd name="T2" fmla="*/ 1418 w 1505"/>
                <a:gd name="T3" fmla="*/ 528 h 2819"/>
                <a:gd name="T4" fmla="*/ 1505 w 1505"/>
                <a:gd name="T5" fmla="*/ 115 h 2819"/>
                <a:gd name="T6" fmla="*/ 1009 w 1505"/>
                <a:gd name="T7" fmla="*/ 0 h 2819"/>
                <a:gd name="T8" fmla="*/ 274 w 1505"/>
                <a:gd name="T9" fmla="*/ 750 h 2819"/>
                <a:gd name="T10" fmla="*/ 274 w 1505"/>
                <a:gd name="T11" fmla="*/ 969 h 2819"/>
                <a:gd name="T12" fmla="*/ 0 w 1505"/>
                <a:gd name="T13" fmla="*/ 969 h 2819"/>
                <a:gd name="T14" fmla="*/ 0 w 1505"/>
                <a:gd name="T15" fmla="*/ 1413 h 2819"/>
                <a:gd name="T16" fmla="*/ 274 w 1505"/>
                <a:gd name="T17" fmla="*/ 1413 h 2819"/>
                <a:gd name="T18" fmla="*/ 274 w 1505"/>
                <a:gd name="T19" fmla="*/ 2819 h 2819"/>
                <a:gd name="T20" fmla="*/ 826 w 1505"/>
                <a:gd name="T21" fmla="*/ 2819 h 2819"/>
                <a:gd name="T22" fmla="*/ 826 w 1505"/>
                <a:gd name="T23" fmla="*/ 1413 h 2819"/>
                <a:gd name="T24" fmla="*/ 1453 w 1505"/>
                <a:gd name="T25" fmla="*/ 1413 h 2819"/>
                <a:gd name="T26" fmla="*/ 1453 w 1505"/>
                <a:gd name="T27" fmla="*/ 969 h 2819"/>
                <a:gd name="T28" fmla="*/ 826 w 1505"/>
                <a:gd name="T29" fmla="*/ 969 h 2819"/>
                <a:gd name="T30" fmla="*/ 826 w 1505"/>
                <a:gd name="T31" fmla="*/ 798 h 2819"/>
                <a:gd name="T32" fmla="*/ 1128 w 1505"/>
                <a:gd name="T33" fmla="*/ 449 h 2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5" h="2819">
                  <a:moveTo>
                    <a:pt x="1128" y="449"/>
                  </a:moveTo>
                  <a:cubicBezTo>
                    <a:pt x="1310" y="449"/>
                    <a:pt x="1418" y="528"/>
                    <a:pt x="1418" y="528"/>
                  </a:cubicBezTo>
                  <a:cubicBezTo>
                    <a:pt x="1505" y="115"/>
                    <a:pt x="1505" y="115"/>
                    <a:pt x="1505" y="115"/>
                  </a:cubicBezTo>
                  <a:cubicBezTo>
                    <a:pt x="1505" y="115"/>
                    <a:pt x="1358" y="0"/>
                    <a:pt x="1009" y="0"/>
                  </a:cubicBezTo>
                  <a:cubicBezTo>
                    <a:pt x="556" y="0"/>
                    <a:pt x="274" y="262"/>
                    <a:pt x="274" y="750"/>
                  </a:cubicBezTo>
                  <a:cubicBezTo>
                    <a:pt x="274" y="969"/>
                    <a:pt x="274" y="969"/>
                    <a:pt x="274" y="969"/>
                  </a:cubicBezTo>
                  <a:cubicBezTo>
                    <a:pt x="0" y="969"/>
                    <a:pt x="0" y="969"/>
                    <a:pt x="0" y="969"/>
                  </a:cubicBezTo>
                  <a:cubicBezTo>
                    <a:pt x="0" y="1413"/>
                    <a:pt x="0" y="1413"/>
                    <a:pt x="0" y="1413"/>
                  </a:cubicBezTo>
                  <a:cubicBezTo>
                    <a:pt x="274" y="1413"/>
                    <a:pt x="274" y="1413"/>
                    <a:pt x="274" y="1413"/>
                  </a:cubicBezTo>
                  <a:cubicBezTo>
                    <a:pt x="274" y="2819"/>
                    <a:pt x="274" y="2819"/>
                    <a:pt x="274" y="2819"/>
                  </a:cubicBezTo>
                  <a:cubicBezTo>
                    <a:pt x="826" y="2819"/>
                    <a:pt x="826" y="2819"/>
                    <a:pt x="826" y="2819"/>
                  </a:cubicBezTo>
                  <a:cubicBezTo>
                    <a:pt x="826" y="1413"/>
                    <a:pt x="826" y="1413"/>
                    <a:pt x="826" y="1413"/>
                  </a:cubicBezTo>
                  <a:cubicBezTo>
                    <a:pt x="1453" y="1413"/>
                    <a:pt x="1453" y="1413"/>
                    <a:pt x="1453" y="1413"/>
                  </a:cubicBezTo>
                  <a:cubicBezTo>
                    <a:pt x="1453" y="969"/>
                    <a:pt x="1453" y="969"/>
                    <a:pt x="1453" y="969"/>
                  </a:cubicBezTo>
                  <a:cubicBezTo>
                    <a:pt x="826" y="969"/>
                    <a:pt x="826" y="969"/>
                    <a:pt x="826" y="969"/>
                  </a:cubicBezTo>
                  <a:cubicBezTo>
                    <a:pt x="826" y="798"/>
                    <a:pt x="826" y="798"/>
                    <a:pt x="826" y="798"/>
                  </a:cubicBezTo>
                  <a:cubicBezTo>
                    <a:pt x="826" y="564"/>
                    <a:pt x="933" y="449"/>
                    <a:pt x="1128" y="44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9" name="Rectangle 184"/>
            <p:cNvSpPr>
              <a:spLocks noChangeArrowheads="1"/>
            </p:cNvSpPr>
            <p:nvPr userDrawn="1"/>
          </p:nvSpPr>
          <p:spPr bwMode="auto">
            <a:xfrm>
              <a:off x="-2006600" y="2409825"/>
              <a:ext cx="87313" cy="441325"/>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de-DE" dirty="0"/>
            </a:p>
          </p:txBody>
        </p:sp>
      </p:grpSp>
      <p:sp>
        <p:nvSpPr>
          <p:cNvPr id="2" name="Foliennummernplatzhalter 1"/>
          <p:cNvSpPr>
            <a:spLocks noGrp="1"/>
          </p:cNvSpPr>
          <p:nvPr>
            <p:ph type="sldNum" sz="quarter" idx="12"/>
          </p:nvPr>
        </p:nvSpPr>
        <p:spPr>
          <a:xfrm>
            <a:off x="8568444" y="4836160"/>
            <a:ext cx="575557" cy="136050"/>
          </a:xfrm>
        </p:spPr>
        <p:txBody>
          <a:bodyPr/>
          <a:lstStyle/>
          <a:p>
            <a:r>
              <a:rPr lang="cs-CZ" noProof="0">
                <a:sym typeface="Wingdings"/>
              </a:rPr>
              <a:t>  </a:t>
            </a:r>
            <a:fld id="{443B15C8-972D-49F6-9B7C-5A2154A8C95F}" type="slidenum">
              <a:rPr lang="cs-CZ" noProof="0" smtClean="0"/>
              <a:pPr/>
              <a:t>6</a:t>
            </a:fld>
            <a:endParaRPr lang="cs-CZ" noProof="0" dirty="0"/>
          </a:p>
        </p:txBody>
      </p:sp>
    </p:spTree>
    <p:extLst>
      <p:ext uri="{BB962C8B-B14F-4D97-AF65-F5344CB8AC3E}">
        <p14:creationId xmlns:p14="http://schemas.microsoft.com/office/powerpoint/2010/main" val="2733883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20"/>
          </p:nvPr>
        </p:nvSpPr>
        <p:spPr>
          <a:xfrm>
            <a:off x="395287" y="347468"/>
            <a:ext cx="4176713" cy="136050"/>
          </a:xfrm>
        </p:spPr>
        <p:txBody>
          <a:bodyPr/>
          <a:lstStyle/>
          <a:p>
            <a:endParaRPr lang="de-DE" dirty="0"/>
          </a:p>
        </p:txBody>
      </p:sp>
      <p:grpSp>
        <p:nvGrpSpPr>
          <p:cNvPr id="17" name="Gruppieren 16"/>
          <p:cNvGrpSpPr/>
          <p:nvPr/>
        </p:nvGrpSpPr>
        <p:grpSpPr>
          <a:xfrm>
            <a:off x="4662571" y="728461"/>
            <a:ext cx="7528814" cy="4588340"/>
            <a:chOff x="4679167" y="1866719"/>
            <a:chExt cx="6286310" cy="3831112"/>
          </a:xfrm>
        </p:grpSpPr>
        <p:pic>
          <p:nvPicPr>
            <p:cNvPr id="71" name="Picture 9" descr="G:\07-PRO\OMW\_KAUFLAND_Material\Product-range-donnerschlag-food-smaller.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068042" y="2449030"/>
              <a:ext cx="4838875" cy="3248801"/>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230"/>
            <p:cNvGrpSpPr>
              <a:grpSpLocks noChangeAspect="1"/>
            </p:cNvGrpSpPr>
            <p:nvPr/>
          </p:nvGrpSpPr>
          <p:grpSpPr bwMode="auto">
            <a:xfrm>
              <a:off x="9171111" y="3220120"/>
              <a:ext cx="453648" cy="453648"/>
              <a:chOff x="1552" y="3933"/>
              <a:chExt cx="223" cy="223"/>
            </a:xfrm>
          </p:grpSpPr>
          <p:sp>
            <p:nvSpPr>
              <p:cNvPr id="73" name="Rectangle 231"/>
              <p:cNvSpPr>
                <a:spLocks noChangeArrowheads="1"/>
              </p:cNvSpPr>
              <p:nvPr/>
            </p:nvSpPr>
            <p:spPr bwMode="auto">
              <a:xfrm>
                <a:off x="1552" y="3933"/>
                <a:ext cx="223" cy="223"/>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74" name="Rectangle 232"/>
              <p:cNvSpPr>
                <a:spLocks noChangeArrowheads="1"/>
              </p:cNvSpPr>
              <p:nvPr/>
            </p:nvSpPr>
            <p:spPr bwMode="auto">
              <a:xfrm>
                <a:off x="1552" y="3933"/>
                <a:ext cx="223" cy="223"/>
              </a:xfrm>
              <a:prstGeom prst="rect">
                <a:avLst/>
              </a:prstGeom>
              <a:solidFill>
                <a:srgbClr val="99D0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5" name="Freeform 233"/>
              <p:cNvSpPr>
                <a:spLocks noEditPoints="1"/>
              </p:cNvSpPr>
              <p:nvPr/>
            </p:nvSpPr>
            <p:spPr bwMode="auto">
              <a:xfrm>
                <a:off x="1584" y="4000"/>
                <a:ext cx="159" cy="89"/>
              </a:xfrm>
              <a:custGeom>
                <a:avLst/>
                <a:gdLst>
                  <a:gd name="T0" fmla="*/ 373 w 2392"/>
                  <a:gd name="T1" fmla="*/ 837 h 1334"/>
                  <a:gd name="T2" fmla="*/ 533 w 2392"/>
                  <a:gd name="T3" fmla="*/ 960 h 1334"/>
                  <a:gd name="T4" fmla="*/ 735 w 2392"/>
                  <a:gd name="T5" fmla="*/ 1072 h 1334"/>
                  <a:gd name="T6" fmla="*/ 983 w 2392"/>
                  <a:gd name="T7" fmla="*/ 1148 h 1334"/>
                  <a:gd name="T8" fmla="*/ 1269 w 2392"/>
                  <a:gd name="T9" fmla="*/ 1165 h 1334"/>
                  <a:gd name="T10" fmla="*/ 1539 w 2392"/>
                  <a:gd name="T11" fmla="*/ 1117 h 1334"/>
                  <a:gd name="T12" fmla="*/ 1765 w 2392"/>
                  <a:gd name="T13" fmla="*/ 1019 h 1334"/>
                  <a:gd name="T14" fmla="*/ 1946 w 2392"/>
                  <a:gd name="T15" fmla="*/ 899 h 1334"/>
                  <a:gd name="T16" fmla="*/ 2081 w 2392"/>
                  <a:gd name="T17" fmla="*/ 777 h 1334"/>
                  <a:gd name="T18" fmla="*/ 922 w 2392"/>
                  <a:gd name="T19" fmla="*/ 166 h 1334"/>
                  <a:gd name="T20" fmla="*/ 829 w 2392"/>
                  <a:gd name="T21" fmla="*/ 210 h 1334"/>
                  <a:gd name="T22" fmla="*/ 770 w 2392"/>
                  <a:gd name="T23" fmla="*/ 257 h 1334"/>
                  <a:gd name="T24" fmla="*/ 660 w 2392"/>
                  <a:gd name="T25" fmla="*/ 342 h 1334"/>
                  <a:gd name="T26" fmla="*/ 523 w 2392"/>
                  <a:gd name="T27" fmla="*/ 449 h 1334"/>
                  <a:gd name="T28" fmla="*/ 383 w 2392"/>
                  <a:gd name="T29" fmla="*/ 558 h 1334"/>
                  <a:gd name="T30" fmla="*/ 1975 w 2392"/>
                  <a:gd name="T31" fmla="*/ 532 h 1334"/>
                  <a:gd name="T32" fmla="*/ 1833 w 2392"/>
                  <a:gd name="T33" fmla="*/ 421 h 1334"/>
                  <a:gd name="T34" fmla="*/ 1701 w 2392"/>
                  <a:gd name="T35" fmla="*/ 319 h 1334"/>
                  <a:gd name="T36" fmla="*/ 1602 w 2392"/>
                  <a:gd name="T37" fmla="*/ 241 h 1334"/>
                  <a:gd name="T38" fmla="*/ 1538 w 2392"/>
                  <a:gd name="T39" fmla="*/ 193 h 1334"/>
                  <a:gd name="T40" fmla="*/ 1447 w 2392"/>
                  <a:gd name="T41" fmla="*/ 165 h 1334"/>
                  <a:gd name="T42" fmla="*/ 1338 w 2392"/>
                  <a:gd name="T43" fmla="*/ 204 h 1334"/>
                  <a:gd name="T44" fmla="*/ 1282 w 2392"/>
                  <a:gd name="T45" fmla="*/ 302 h 1334"/>
                  <a:gd name="T46" fmla="*/ 1103 w 2392"/>
                  <a:gd name="T47" fmla="*/ 273 h 1334"/>
                  <a:gd name="T48" fmla="*/ 1030 w 2392"/>
                  <a:gd name="T49" fmla="*/ 187 h 1334"/>
                  <a:gd name="T50" fmla="*/ 945 w 2392"/>
                  <a:gd name="T51" fmla="*/ 0 h 1334"/>
                  <a:gd name="T52" fmla="*/ 1103 w 2392"/>
                  <a:gd name="T53" fmla="*/ 39 h 1334"/>
                  <a:gd name="T54" fmla="*/ 1224 w 2392"/>
                  <a:gd name="T55" fmla="*/ 85 h 1334"/>
                  <a:gd name="T56" fmla="*/ 1364 w 2392"/>
                  <a:gd name="T57" fmla="*/ 10 h 1334"/>
                  <a:gd name="T58" fmla="*/ 1522 w 2392"/>
                  <a:gd name="T59" fmla="*/ 8 h 1334"/>
                  <a:gd name="T60" fmla="*/ 1665 w 2392"/>
                  <a:gd name="T61" fmla="*/ 81 h 1334"/>
                  <a:gd name="T62" fmla="*/ 1717 w 2392"/>
                  <a:gd name="T63" fmla="*/ 122 h 1334"/>
                  <a:gd name="T64" fmla="*/ 1815 w 2392"/>
                  <a:gd name="T65" fmla="*/ 198 h 1334"/>
                  <a:gd name="T66" fmla="*/ 1938 w 2392"/>
                  <a:gd name="T67" fmla="*/ 295 h 1334"/>
                  <a:gd name="T68" fmla="*/ 2070 w 2392"/>
                  <a:gd name="T69" fmla="*/ 397 h 1334"/>
                  <a:gd name="T70" fmla="*/ 2191 w 2392"/>
                  <a:gd name="T71" fmla="*/ 491 h 1334"/>
                  <a:gd name="T72" fmla="*/ 2284 w 2392"/>
                  <a:gd name="T73" fmla="*/ 563 h 1334"/>
                  <a:gd name="T74" fmla="*/ 2330 w 2392"/>
                  <a:gd name="T75" fmla="*/ 600 h 1334"/>
                  <a:gd name="T76" fmla="*/ 2347 w 2392"/>
                  <a:gd name="T77" fmla="*/ 716 h 1334"/>
                  <a:gd name="T78" fmla="*/ 2302 w 2392"/>
                  <a:gd name="T79" fmla="*/ 777 h 1334"/>
                  <a:gd name="T80" fmla="*/ 2209 w 2392"/>
                  <a:gd name="T81" fmla="*/ 883 h 1334"/>
                  <a:gd name="T82" fmla="*/ 2067 w 2392"/>
                  <a:gd name="T83" fmla="*/ 1015 h 1334"/>
                  <a:gd name="T84" fmla="*/ 1878 w 2392"/>
                  <a:gd name="T85" fmla="*/ 1147 h 1334"/>
                  <a:gd name="T86" fmla="*/ 1639 w 2392"/>
                  <a:gd name="T87" fmla="*/ 1257 h 1334"/>
                  <a:gd name="T88" fmla="*/ 1356 w 2392"/>
                  <a:gd name="T89" fmla="*/ 1324 h 1334"/>
                  <a:gd name="T90" fmla="*/ 1036 w 2392"/>
                  <a:gd name="T91" fmla="*/ 1324 h 1334"/>
                  <a:gd name="T92" fmla="*/ 751 w 2392"/>
                  <a:gd name="T93" fmla="*/ 1257 h 1334"/>
                  <a:gd name="T94" fmla="*/ 514 w 2392"/>
                  <a:gd name="T95" fmla="*/ 1147 h 1334"/>
                  <a:gd name="T96" fmla="*/ 325 w 2392"/>
                  <a:gd name="T97" fmla="*/ 1015 h 1334"/>
                  <a:gd name="T98" fmla="*/ 183 w 2392"/>
                  <a:gd name="T99" fmla="*/ 883 h 1334"/>
                  <a:gd name="T100" fmla="*/ 89 w 2392"/>
                  <a:gd name="T101" fmla="*/ 777 h 1334"/>
                  <a:gd name="T102" fmla="*/ 44 w 2392"/>
                  <a:gd name="T103" fmla="*/ 716 h 1334"/>
                  <a:gd name="T104" fmla="*/ 62 w 2392"/>
                  <a:gd name="T105" fmla="*/ 600 h 1334"/>
                  <a:gd name="T106" fmla="*/ 108 w 2392"/>
                  <a:gd name="T107" fmla="*/ 563 h 1334"/>
                  <a:gd name="T108" fmla="*/ 200 w 2392"/>
                  <a:gd name="T109" fmla="*/ 491 h 1334"/>
                  <a:gd name="T110" fmla="*/ 322 w 2392"/>
                  <a:gd name="T111" fmla="*/ 397 h 1334"/>
                  <a:gd name="T112" fmla="*/ 453 w 2392"/>
                  <a:gd name="T113" fmla="*/ 295 h 1334"/>
                  <a:gd name="T114" fmla="*/ 576 w 2392"/>
                  <a:gd name="T115" fmla="*/ 198 h 1334"/>
                  <a:gd name="T116" fmla="*/ 673 w 2392"/>
                  <a:gd name="T117" fmla="*/ 122 h 1334"/>
                  <a:gd name="T118" fmla="*/ 727 w 2392"/>
                  <a:gd name="T119" fmla="*/ 81 h 1334"/>
                  <a:gd name="T120" fmla="*/ 870 w 2392"/>
                  <a:gd name="T121" fmla="*/ 8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92" h="1334">
                    <a:moveTo>
                      <a:pt x="285" y="750"/>
                    </a:moveTo>
                    <a:lnTo>
                      <a:pt x="312" y="777"/>
                    </a:lnTo>
                    <a:lnTo>
                      <a:pt x="341" y="806"/>
                    </a:lnTo>
                    <a:lnTo>
                      <a:pt x="373" y="837"/>
                    </a:lnTo>
                    <a:lnTo>
                      <a:pt x="409" y="867"/>
                    </a:lnTo>
                    <a:lnTo>
                      <a:pt x="447" y="899"/>
                    </a:lnTo>
                    <a:lnTo>
                      <a:pt x="488" y="930"/>
                    </a:lnTo>
                    <a:lnTo>
                      <a:pt x="533" y="960"/>
                    </a:lnTo>
                    <a:lnTo>
                      <a:pt x="579" y="991"/>
                    </a:lnTo>
                    <a:lnTo>
                      <a:pt x="629" y="1019"/>
                    </a:lnTo>
                    <a:lnTo>
                      <a:pt x="681" y="1047"/>
                    </a:lnTo>
                    <a:lnTo>
                      <a:pt x="735" y="1072"/>
                    </a:lnTo>
                    <a:lnTo>
                      <a:pt x="793" y="1095"/>
                    </a:lnTo>
                    <a:lnTo>
                      <a:pt x="854" y="1117"/>
                    </a:lnTo>
                    <a:lnTo>
                      <a:pt x="917" y="1134"/>
                    </a:lnTo>
                    <a:lnTo>
                      <a:pt x="983" y="1148"/>
                    </a:lnTo>
                    <a:lnTo>
                      <a:pt x="1052" y="1159"/>
                    </a:lnTo>
                    <a:lnTo>
                      <a:pt x="1122" y="1165"/>
                    </a:lnTo>
                    <a:lnTo>
                      <a:pt x="1195" y="1168"/>
                    </a:lnTo>
                    <a:lnTo>
                      <a:pt x="1269" y="1165"/>
                    </a:lnTo>
                    <a:lnTo>
                      <a:pt x="1341" y="1159"/>
                    </a:lnTo>
                    <a:lnTo>
                      <a:pt x="1409" y="1148"/>
                    </a:lnTo>
                    <a:lnTo>
                      <a:pt x="1476" y="1134"/>
                    </a:lnTo>
                    <a:lnTo>
                      <a:pt x="1539" y="1117"/>
                    </a:lnTo>
                    <a:lnTo>
                      <a:pt x="1600" y="1095"/>
                    </a:lnTo>
                    <a:lnTo>
                      <a:pt x="1658" y="1072"/>
                    </a:lnTo>
                    <a:lnTo>
                      <a:pt x="1712" y="1047"/>
                    </a:lnTo>
                    <a:lnTo>
                      <a:pt x="1765" y="1019"/>
                    </a:lnTo>
                    <a:lnTo>
                      <a:pt x="1814" y="991"/>
                    </a:lnTo>
                    <a:lnTo>
                      <a:pt x="1860" y="960"/>
                    </a:lnTo>
                    <a:lnTo>
                      <a:pt x="1905" y="930"/>
                    </a:lnTo>
                    <a:lnTo>
                      <a:pt x="1946" y="899"/>
                    </a:lnTo>
                    <a:lnTo>
                      <a:pt x="1984" y="867"/>
                    </a:lnTo>
                    <a:lnTo>
                      <a:pt x="2020" y="837"/>
                    </a:lnTo>
                    <a:lnTo>
                      <a:pt x="2052" y="806"/>
                    </a:lnTo>
                    <a:lnTo>
                      <a:pt x="2081" y="777"/>
                    </a:lnTo>
                    <a:lnTo>
                      <a:pt x="2108" y="750"/>
                    </a:lnTo>
                    <a:lnTo>
                      <a:pt x="285" y="750"/>
                    </a:lnTo>
                    <a:close/>
                    <a:moveTo>
                      <a:pt x="945" y="165"/>
                    </a:moveTo>
                    <a:lnTo>
                      <a:pt x="922" y="166"/>
                    </a:lnTo>
                    <a:lnTo>
                      <a:pt x="898" y="171"/>
                    </a:lnTo>
                    <a:lnTo>
                      <a:pt x="876" y="180"/>
                    </a:lnTo>
                    <a:lnTo>
                      <a:pt x="854" y="193"/>
                    </a:lnTo>
                    <a:lnTo>
                      <a:pt x="829" y="210"/>
                    </a:lnTo>
                    <a:lnTo>
                      <a:pt x="820" y="218"/>
                    </a:lnTo>
                    <a:lnTo>
                      <a:pt x="807" y="228"/>
                    </a:lnTo>
                    <a:lnTo>
                      <a:pt x="790" y="241"/>
                    </a:lnTo>
                    <a:lnTo>
                      <a:pt x="770" y="257"/>
                    </a:lnTo>
                    <a:lnTo>
                      <a:pt x="745" y="275"/>
                    </a:lnTo>
                    <a:lnTo>
                      <a:pt x="719" y="297"/>
                    </a:lnTo>
                    <a:lnTo>
                      <a:pt x="691" y="319"/>
                    </a:lnTo>
                    <a:lnTo>
                      <a:pt x="660" y="342"/>
                    </a:lnTo>
                    <a:lnTo>
                      <a:pt x="628" y="368"/>
                    </a:lnTo>
                    <a:lnTo>
                      <a:pt x="593" y="394"/>
                    </a:lnTo>
                    <a:lnTo>
                      <a:pt x="559" y="421"/>
                    </a:lnTo>
                    <a:lnTo>
                      <a:pt x="523" y="449"/>
                    </a:lnTo>
                    <a:lnTo>
                      <a:pt x="488" y="477"/>
                    </a:lnTo>
                    <a:lnTo>
                      <a:pt x="452" y="504"/>
                    </a:lnTo>
                    <a:lnTo>
                      <a:pt x="417" y="532"/>
                    </a:lnTo>
                    <a:lnTo>
                      <a:pt x="383" y="558"/>
                    </a:lnTo>
                    <a:lnTo>
                      <a:pt x="350" y="584"/>
                    </a:lnTo>
                    <a:lnTo>
                      <a:pt x="2042" y="584"/>
                    </a:lnTo>
                    <a:lnTo>
                      <a:pt x="2008" y="558"/>
                    </a:lnTo>
                    <a:lnTo>
                      <a:pt x="1975" y="532"/>
                    </a:lnTo>
                    <a:lnTo>
                      <a:pt x="1939" y="504"/>
                    </a:lnTo>
                    <a:lnTo>
                      <a:pt x="1904" y="477"/>
                    </a:lnTo>
                    <a:lnTo>
                      <a:pt x="1869" y="449"/>
                    </a:lnTo>
                    <a:lnTo>
                      <a:pt x="1833" y="421"/>
                    </a:lnTo>
                    <a:lnTo>
                      <a:pt x="1798" y="394"/>
                    </a:lnTo>
                    <a:lnTo>
                      <a:pt x="1764" y="368"/>
                    </a:lnTo>
                    <a:lnTo>
                      <a:pt x="1732" y="342"/>
                    </a:lnTo>
                    <a:lnTo>
                      <a:pt x="1701" y="319"/>
                    </a:lnTo>
                    <a:lnTo>
                      <a:pt x="1672" y="297"/>
                    </a:lnTo>
                    <a:lnTo>
                      <a:pt x="1646" y="275"/>
                    </a:lnTo>
                    <a:lnTo>
                      <a:pt x="1622" y="257"/>
                    </a:lnTo>
                    <a:lnTo>
                      <a:pt x="1602" y="241"/>
                    </a:lnTo>
                    <a:lnTo>
                      <a:pt x="1585" y="228"/>
                    </a:lnTo>
                    <a:lnTo>
                      <a:pt x="1572" y="218"/>
                    </a:lnTo>
                    <a:lnTo>
                      <a:pt x="1562" y="210"/>
                    </a:lnTo>
                    <a:lnTo>
                      <a:pt x="1538" y="193"/>
                    </a:lnTo>
                    <a:lnTo>
                      <a:pt x="1515" y="180"/>
                    </a:lnTo>
                    <a:lnTo>
                      <a:pt x="1493" y="171"/>
                    </a:lnTo>
                    <a:lnTo>
                      <a:pt x="1470" y="166"/>
                    </a:lnTo>
                    <a:lnTo>
                      <a:pt x="1447" y="165"/>
                    </a:lnTo>
                    <a:lnTo>
                      <a:pt x="1416" y="167"/>
                    </a:lnTo>
                    <a:lnTo>
                      <a:pt x="1388" y="175"/>
                    </a:lnTo>
                    <a:lnTo>
                      <a:pt x="1362" y="187"/>
                    </a:lnTo>
                    <a:lnTo>
                      <a:pt x="1338" y="204"/>
                    </a:lnTo>
                    <a:lnTo>
                      <a:pt x="1318" y="225"/>
                    </a:lnTo>
                    <a:lnTo>
                      <a:pt x="1302" y="248"/>
                    </a:lnTo>
                    <a:lnTo>
                      <a:pt x="1289" y="273"/>
                    </a:lnTo>
                    <a:lnTo>
                      <a:pt x="1282" y="302"/>
                    </a:lnTo>
                    <a:lnTo>
                      <a:pt x="1279" y="332"/>
                    </a:lnTo>
                    <a:lnTo>
                      <a:pt x="1113" y="332"/>
                    </a:lnTo>
                    <a:lnTo>
                      <a:pt x="1110" y="302"/>
                    </a:lnTo>
                    <a:lnTo>
                      <a:pt x="1103" y="273"/>
                    </a:lnTo>
                    <a:lnTo>
                      <a:pt x="1090" y="248"/>
                    </a:lnTo>
                    <a:lnTo>
                      <a:pt x="1074" y="225"/>
                    </a:lnTo>
                    <a:lnTo>
                      <a:pt x="1054" y="204"/>
                    </a:lnTo>
                    <a:lnTo>
                      <a:pt x="1030" y="187"/>
                    </a:lnTo>
                    <a:lnTo>
                      <a:pt x="1004" y="175"/>
                    </a:lnTo>
                    <a:lnTo>
                      <a:pt x="976" y="167"/>
                    </a:lnTo>
                    <a:lnTo>
                      <a:pt x="945" y="165"/>
                    </a:lnTo>
                    <a:close/>
                    <a:moveTo>
                      <a:pt x="945" y="0"/>
                    </a:moveTo>
                    <a:lnTo>
                      <a:pt x="988" y="2"/>
                    </a:lnTo>
                    <a:lnTo>
                      <a:pt x="1028" y="10"/>
                    </a:lnTo>
                    <a:lnTo>
                      <a:pt x="1067" y="22"/>
                    </a:lnTo>
                    <a:lnTo>
                      <a:pt x="1103" y="39"/>
                    </a:lnTo>
                    <a:lnTo>
                      <a:pt x="1137" y="59"/>
                    </a:lnTo>
                    <a:lnTo>
                      <a:pt x="1168" y="85"/>
                    </a:lnTo>
                    <a:lnTo>
                      <a:pt x="1195" y="113"/>
                    </a:lnTo>
                    <a:lnTo>
                      <a:pt x="1224" y="85"/>
                    </a:lnTo>
                    <a:lnTo>
                      <a:pt x="1255" y="59"/>
                    </a:lnTo>
                    <a:lnTo>
                      <a:pt x="1289" y="39"/>
                    </a:lnTo>
                    <a:lnTo>
                      <a:pt x="1325" y="22"/>
                    </a:lnTo>
                    <a:lnTo>
                      <a:pt x="1364" y="10"/>
                    </a:lnTo>
                    <a:lnTo>
                      <a:pt x="1404" y="2"/>
                    </a:lnTo>
                    <a:lnTo>
                      <a:pt x="1447" y="0"/>
                    </a:lnTo>
                    <a:lnTo>
                      <a:pt x="1485" y="2"/>
                    </a:lnTo>
                    <a:lnTo>
                      <a:pt x="1522" y="8"/>
                    </a:lnTo>
                    <a:lnTo>
                      <a:pt x="1558" y="19"/>
                    </a:lnTo>
                    <a:lnTo>
                      <a:pt x="1594" y="34"/>
                    </a:lnTo>
                    <a:lnTo>
                      <a:pt x="1629" y="55"/>
                    </a:lnTo>
                    <a:lnTo>
                      <a:pt x="1665" y="81"/>
                    </a:lnTo>
                    <a:lnTo>
                      <a:pt x="1673" y="87"/>
                    </a:lnTo>
                    <a:lnTo>
                      <a:pt x="1685" y="96"/>
                    </a:lnTo>
                    <a:lnTo>
                      <a:pt x="1699" y="108"/>
                    </a:lnTo>
                    <a:lnTo>
                      <a:pt x="1717" y="122"/>
                    </a:lnTo>
                    <a:lnTo>
                      <a:pt x="1739" y="138"/>
                    </a:lnTo>
                    <a:lnTo>
                      <a:pt x="1762" y="157"/>
                    </a:lnTo>
                    <a:lnTo>
                      <a:pt x="1787" y="177"/>
                    </a:lnTo>
                    <a:lnTo>
                      <a:pt x="1815" y="198"/>
                    </a:lnTo>
                    <a:lnTo>
                      <a:pt x="1844" y="221"/>
                    </a:lnTo>
                    <a:lnTo>
                      <a:pt x="1875" y="245"/>
                    </a:lnTo>
                    <a:lnTo>
                      <a:pt x="1906" y="269"/>
                    </a:lnTo>
                    <a:lnTo>
                      <a:pt x="1938" y="295"/>
                    </a:lnTo>
                    <a:lnTo>
                      <a:pt x="1972" y="320"/>
                    </a:lnTo>
                    <a:lnTo>
                      <a:pt x="2004" y="346"/>
                    </a:lnTo>
                    <a:lnTo>
                      <a:pt x="2038" y="372"/>
                    </a:lnTo>
                    <a:lnTo>
                      <a:pt x="2070" y="397"/>
                    </a:lnTo>
                    <a:lnTo>
                      <a:pt x="2102" y="422"/>
                    </a:lnTo>
                    <a:lnTo>
                      <a:pt x="2133" y="446"/>
                    </a:lnTo>
                    <a:lnTo>
                      <a:pt x="2162" y="469"/>
                    </a:lnTo>
                    <a:lnTo>
                      <a:pt x="2191" y="491"/>
                    </a:lnTo>
                    <a:lnTo>
                      <a:pt x="2218" y="511"/>
                    </a:lnTo>
                    <a:lnTo>
                      <a:pt x="2243" y="531"/>
                    </a:lnTo>
                    <a:lnTo>
                      <a:pt x="2264" y="548"/>
                    </a:lnTo>
                    <a:lnTo>
                      <a:pt x="2284" y="563"/>
                    </a:lnTo>
                    <a:lnTo>
                      <a:pt x="2300" y="576"/>
                    </a:lnTo>
                    <a:lnTo>
                      <a:pt x="2314" y="586"/>
                    </a:lnTo>
                    <a:lnTo>
                      <a:pt x="2324" y="595"/>
                    </a:lnTo>
                    <a:lnTo>
                      <a:pt x="2330" y="600"/>
                    </a:lnTo>
                    <a:lnTo>
                      <a:pt x="2332" y="601"/>
                    </a:lnTo>
                    <a:lnTo>
                      <a:pt x="2392" y="647"/>
                    </a:lnTo>
                    <a:lnTo>
                      <a:pt x="2351" y="711"/>
                    </a:lnTo>
                    <a:lnTo>
                      <a:pt x="2347" y="716"/>
                    </a:lnTo>
                    <a:lnTo>
                      <a:pt x="2341" y="725"/>
                    </a:lnTo>
                    <a:lnTo>
                      <a:pt x="2331" y="740"/>
                    </a:lnTo>
                    <a:lnTo>
                      <a:pt x="2319" y="756"/>
                    </a:lnTo>
                    <a:lnTo>
                      <a:pt x="2302" y="777"/>
                    </a:lnTo>
                    <a:lnTo>
                      <a:pt x="2284" y="799"/>
                    </a:lnTo>
                    <a:lnTo>
                      <a:pt x="2262" y="826"/>
                    </a:lnTo>
                    <a:lnTo>
                      <a:pt x="2237" y="854"/>
                    </a:lnTo>
                    <a:lnTo>
                      <a:pt x="2209" y="883"/>
                    </a:lnTo>
                    <a:lnTo>
                      <a:pt x="2179" y="915"/>
                    </a:lnTo>
                    <a:lnTo>
                      <a:pt x="2144" y="947"/>
                    </a:lnTo>
                    <a:lnTo>
                      <a:pt x="2108" y="981"/>
                    </a:lnTo>
                    <a:lnTo>
                      <a:pt x="2067" y="1015"/>
                    </a:lnTo>
                    <a:lnTo>
                      <a:pt x="2025" y="1049"/>
                    </a:lnTo>
                    <a:lnTo>
                      <a:pt x="1978" y="1082"/>
                    </a:lnTo>
                    <a:lnTo>
                      <a:pt x="1929" y="1116"/>
                    </a:lnTo>
                    <a:lnTo>
                      <a:pt x="1878" y="1147"/>
                    </a:lnTo>
                    <a:lnTo>
                      <a:pt x="1823" y="1177"/>
                    </a:lnTo>
                    <a:lnTo>
                      <a:pt x="1764" y="1207"/>
                    </a:lnTo>
                    <a:lnTo>
                      <a:pt x="1703" y="1233"/>
                    </a:lnTo>
                    <a:lnTo>
                      <a:pt x="1639" y="1257"/>
                    </a:lnTo>
                    <a:lnTo>
                      <a:pt x="1574" y="1279"/>
                    </a:lnTo>
                    <a:lnTo>
                      <a:pt x="1504" y="1298"/>
                    </a:lnTo>
                    <a:lnTo>
                      <a:pt x="1431" y="1313"/>
                    </a:lnTo>
                    <a:lnTo>
                      <a:pt x="1356" y="1324"/>
                    </a:lnTo>
                    <a:lnTo>
                      <a:pt x="1278" y="1330"/>
                    </a:lnTo>
                    <a:lnTo>
                      <a:pt x="1195" y="1334"/>
                    </a:lnTo>
                    <a:lnTo>
                      <a:pt x="1114" y="1330"/>
                    </a:lnTo>
                    <a:lnTo>
                      <a:pt x="1036" y="1324"/>
                    </a:lnTo>
                    <a:lnTo>
                      <a:pt x="961" y="1313"/>
                    </a:lnTo>
                    <a:lnTo>
                      <a:pt x="888" y="1298"/>
                    </a:lnTo>
                    <a:lnTo>
                      <a:pt x="818" y="1279"/>
                    </a:lnTo>
                    <a:lnTo>
                      <a:pt x="751" y="1257"/>
                    </a:lnTo>
                    <a:lnTo>
                      <a:pt x="688" y="1233"/>
                    </a:lnTo>
                    <a:lnTo>
                      <a:pt x="627" y="1207"/>
                    </a:lnTo>
                    <a:lnTo>
                      <a:pt x="569" y="1177"/>
                    </a:lnTo>
                    <a:lnTo>
                      <a:pt x="514" y="1147"/>
                    </a:lnTo>
                    <a:lnTo>
                      <a:pt x="463" y="1116"/>
                    </a:lnTo>
                    <a:lnTo>
                      <a:pt x="414" y="1082"/>
                    </a:lnTo>
                    <a:lnTo>
                      <a:pt x="367" y="1049"/>
                    </a:lnTo>
                    <a:lnTo>
                      <a:pt x="325" y="1015"/>
                    </a:lnTo>
                    <a:lnTo>
                      <a:pt x="284" y="981"/>
                    </a:lnTo>
                    <a:lnTo>
                      <a:pt x="248" y="947"/>
                    </a:lnTo>
                    <a:lnTo>
                      <a:pt x="213" y="915"/>
                    </a:lnTo>
                    <a:lnTo>
                      <a:pt x="183" y="883"/>
                    </a:lnTo>
                    <a:lnTo>
                      <a:pt x="154" y="854"/>
                    </a:lnTo>
                    <a:lnTo>
                      <a:pt x="129" y="826"/>
                    </a:lnTo>
                    <a:lnTo>
                      <a:pt x="108" y="799"/>
                    </a:lnTo>
                    <a:lnTo>
                      <a:pt x="89" y="777"/>
                    </a:lnTo>
                    <a:lnTo>
                      <a:pt x="73" y="756"/>
                    </a:lnTo>
                    <a:lnTo>
                      <a:pt x="60" y="740"/>
                    </a:lnTo>
                    <a:lnTo>
                      <a:pt x="51" y="725"/>
                    </a:lnTo>
                    <a:lnTo>
                      <a:pt x="44" y="716"/>
                    </a:lnTo>
                    <a:lnTo>
                      <a:pt x="41" y="711"/>
                    </a:lnTo>
                    <a:lnTo>
                      <a:pt x="0" y="647"/>
                    </a:lnTo>
                    <a:lnTo>
                      <a:pt x="59" y="601"/>
                    </a:lnTo>
                    <a:lnTo>
                      <a:pt x="62" y="600"/>
                    </a:lnTo>
                    <a:lnTo>
                      <a:pt x="68" y="595"/>
                    </a:lnTo>
                    <a:lnTo>
                      <a:pt x="77" y="586"/>
                    </a:lnTo>
                    <a:lnTo>
                      <a:pt x="92" y="576"/>
                    </a:lnTo>
                    <a:lnTo>
                      <a:pt x="108" y="563"/>
                    </a:lnTo>
                    <a:lnTo>
                      <a:pt x="127" y="548"/>
                    </a:lnTo>
                    <a:lnTo>
                      <a:pt x="149" y="531"/>
                    </a:lnTo>
                    <a:lnTo>
                      <a:pt x="174" y="511"/>
                    </a:lnTo>
                    <a:lnTo>
                      <a:pt x="200" y="491"/>
                    </a:lnTo>
                    <a:lnTo>
                      <a:pt x="228" y="469"/>
                    </a:lnTo>
                    <a:lnTo>
                      <a:pt x="259" y="446"/>
                    </a:lnTo>
                    <a:lnTo>
                      <a:pt x="289" y="422"/>
                    </a:lnTo>
                    <a:lnTo>
                      <a:pt x="322" y="397"/>
                    </a:lnTo>
                    <a:lnTo>
                      <a:pt x="354" y="372"/>
                    </a:lnTo>
                    <a:lnTo>
                      <a:pt x="388" y="346"/>
                    </a:lnTo>
                    <a:lnTo>
                      <a:pt x="420" y="320"/>
                    </a:lnTo>
                    <a:lnTo>
                      <a:pt x="453" y="295"/>
                    </a:lnTo>
                    <a:lnTo>
                      <a:pt x="485" y="269"/>
                    </a:lnTo>
                    <a:lnTo>
                      <a:pt x="517" y="245"/>
                    </a:lnTo>
                    <a:lnTo>
                      <a:pt x="548" y="221"/>
                    </a:lnTo>
                    <a:lnTo>
                      <a:pt x="576" y="198"/>
                    </a:lnTo>
                    <a:lnTo>
                      <a:pt x="603" y="177"/>
                    </a:lnTo>
                    <a:lnTo>
                      <a:pt x="630" y="157"/>
                    </a:lnTo>
                    <a:lnTo>
                      <a:pt x="653" y="138"/>
                    </a:lnTo>
                    <a:lnTo>
                      <a:pt x="673" y="122"/>
                    </a:lnTo>
                    <a:lnTo>
                      <a:pt x="692" y="108"/>
                    </a:lnTo>
                    <a:lnTo>
                      <a:pt x="707" y="96"/>
                    </a:lnTo>
                    <a:lnTo>
                      <a:pt x="719" y="87"/>
                    </a:lnTo>
                    <a:lnTo>
                      <a:pt x="727" y="81"/>
                    </a:lnTo>
                    <a:lnTo>
                      <a:pt x="763" y="55"/>
                    </a:lnTo>
                    <a:lnTo>
                      <a:pt x="798" y="34"/>
                    </a:lnTo>
                    <a:lnTo>
                      <a:pt x="834" y="19"/>
                    </a:lnTo>
                    <a:lnTo>
                      <a:pt x="870" y="8"/>
                    </a:lnTo>
                    <a:lnTo>
                      <a:pt x="907" y="2"/>
                    </a:lnTo>
                    <a:lnTo>
                      <a:pt x="94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76" name="Group 199"/>
            <p:cNvGrpSpPr>
              <a:grpSpLocks noChangeAspect="1"/>
            </p:cNvGrpSpPr>
            <p:nvPr/>
          </p:nvGrpSpPr>
          <p:grpSpPr bwMode="auto">
            <a:xfrm>
              <a:off x="5831851" y="4265121"/>
              <a:ext cx="451619" cy="453648"/>
              <a:chOff x="14" y="3933"/>
              <a:chExt cx="222" cy="223"/>
            </a:xfrm>
          </p:grpSpPr>
          <p:sp>
            <p:nvSpPr>
              <p:cNvPr id="77" name="Rectangle 200"/>
              <p:cNvSpPr>
                <a:spLocks noChangeArrowheads="1"/>
              </p:cNvSpPr>
              <p:nvPr/>
            </p:nvSpPr>
            <p:spPr bwMode="auto">
              <a:xfrm>
                <a:off x="14" y="3933"/>
                <a:ext cx="222" cy="223"/>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78" name="Rectangle 201"/>
              <p:cNvSpPr>
                <a:spLocks noChangeArrowheads="1"/>
              </p:cNvSpPr>
              <p:nvPr/>
            </p:nvSpPr>
            <p:spPr bwMode="auto">
              <a:xfrm>
                <a:off x="14" y="3933"/>
                <a:ext cx="222" cy="223"/>
              </a:xfrm>
              <a:prstGeom prst="rect">
                <a:avLst/>
              </a:prstGeom>
              <a:solidFill>
                <a:srgbClr val="00B1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9" name="Freeform 202"/>
              <p:cNvSpPr>
                <a:spLocks/>
              </p:cNvSpPr>
              <p:nvPr/>
            </p:nvSpPr>
            <p:spPr bwMode="auto">
              <a:xfrm>
                <a:off x="53" y="3972"/>
                <a:ext cx="143" cy="137"/>
              </a:xfrm>
              <a:custGeom>
                <a:avLst/>
                <a:gdLst>
                  <a:gd name="T0" fmla="*/ 992 w 2149"/>
                  <a:gd name="T1" fmla="*/ 0 h 2053"/>
                  <a:gd name="T2" fmla="*/ 1157 w 2149"/>
                  <a:gd name="T3" fmla="*/ 0 h 2053"/>
                  <a:gd name="T4" fmla="*/ 1157 w 2149"/>
                  <a:gd name="T5" fmla="*/ 422 h 2053"/>
                  <a:gd name="T6" fmla="*/ 1399 w 2149"/>
                  <a:gd name="T7" fmla="*/ 213 h 2053"/>
                  <a:gd name="T8" fmla="*/ 1506 w 2149"/>
                  <a:gd name="T9" fmla="*/ 338 h 2053"/>
                  <a:gd name="T10" fmla="*/ 1157 w 2149"/>
                  <a:gd name="T11" fmla="*/ 639 h 2053"/>
                  <a:gd name="T12" fmla="*/ 1157 w 2149"/>
                  <a:gd name="T13" fmla="*/ 993 h 2053"/>
                  <a:gd name="T14" fmla="*/ 1493 w 2149"/>
                  <a:gd name="T15" fmla="*/ 884 h 2053"/>
                  <a:gd name="T16" fmla="*/ 1668 w 2149"/>
                  <a:gd name="T17" fmla="*/ 458 h 2053"/>
                  <a:gd name="T18" fmla="*/ 1821 w 2149"/>
                  <a:gd name="T19" fmla="*/ 521 h 2053"/>
                  <a:gd name="T20" fmla="*/ 1699 w 2149"/>
                  <a:gd name="T21" fmla="*/ 817 h 2053"/>
                  <a:gd name="T22" fmla="*/ 2098 w 2149"/>
                  <a:gd name="T23" fmla="*/ 686 h 2053"/>
                  <a:gd name="T24" fmla="*/ 2149 w 2149"/>
                  <a:gd name="T25" fmla="*/ 844 h 2053"/>
                  <a:gd name="T26" fmla="*/ 1750 w 2149"/>
                  <a:gd name="T27" fmla="*/ 974 h 2053"/>
                  <a:gd name="T28" fmla="*/ 2022 w 2149"/>
                  <a:gd name="T29" fmla="*/ 1141 h 2053"/>
                  <a:gd name="T30" fmla="*/ 1936 w 2149"/>
                  <a:gd name="T31" fmla="*/ 1282 h 2053"/>
                  <a:gd name="T32" fmla="*/ 1544 w 2149"/>
                  <a:gd name="T33" fmla="*/ 1041 h 2053"/>
                  <a:gd name="T34" fmla="*/ 1207 w 2149"/>
                  <a:gd name="T35" fmla="*/ 1150 h 2053"/>
                  <a:gd name="T36" fmla="*/ 1415 w 2149"/>
                  <a:gd name="T37" fmla="*/ 1438 h 2053"/>
                  <a:gd name="T38" fmla="*/ 1873 w 2149"/>
                  <a:gd name="T39" fmla="*/ 1475 h 2053"/>
                  <a:gd name="T40" fmla="*/ 1860 w 2149"/>
                  <a:gd name="T41" fmla="*/ 1639 h 2053"/>
                  <a:gd name="T42" fmla="*/ 1542 w 2149"/>
                  <a:gd name="T43" fmla="*/ 1615 h 2053"/>
                  <a:gd name="T44" fmla="*/ 1789 w 2149"/>
                  <a:gd name="T45" fmla="*/ 1955 h 2053"/>
                  <a:gd name="T46" fmla="*/ 1656 w 2149"/>
                  <a:gd name="T47" fmla="*/ 2053 h 2053"/>
                  <a:gd name="T48" fmla="*/ 1410 w 2149"/>
                  <a:gd name="T49" fmla="*/ 1711 h 2053"/>
                  <a:gd name="T50" fmla="*/ 1335 w 2149"/>
                  <a:gd name="T51" fmla="*/ 2022 h 2053"/>
                  <a:gd name="T52" fmla="*/ 1175 w 2149"/>
                  <a:gd name="T53" fmla="*/ 1984 h 2053"/>
                  <a:gd name="T54" fmla="*/ 1282 w 2149"/>
                  <a:gd name="T55" fmla="*/ 1536 h 2053"/>
                  <a:gd name="T56" fmla="*/ 1074 w 2149"/>
                  <a:gd name="T57" fmla="*/ 1248 h 2053"/>
                  <a:gd name="T58" fmla="*/ 866 w 2149"/>
                  <a:gd name="T59" fmla="*/ 1536 h 2053"/>
                  <a:gd name="T60" fmla="*/ 974 w 2149"/>
                  <a:gd name="T61" fmla="*/ 1984 h 2053"/>
                  <a:gd name="T62" fmla="*/ 814 w 2149"/>
                  <a:gd name="T63" fmla="*/ 2022 h 2053"/>
                  <a:gd name="T64" fmla="*/ 739 w 2149"/>
                  <a:gd name="T65" fmla="*/ 1711 h 2053"/>
                  <a:gd name="T66" fmla="*/ 493 w 2149"/>
                  <a:gd name="T67" fmla="*/ 2053 h 2053"/>
                  <a:gd name="T68" fmla="*/ 360 w 2149"/>
                  <a:gd name="T69" fmla="*/ 1955 h 2053"/>
                  <a:gd name="T70" fmla="*/ 606 w 2149"/>
                  <a:gd name="T71" fmla="*/ 1615 h 2053"/>
                  <a:gd name="T72" fmla="*/ 289 w 2149"/>
                  <a:gd name="T73" fmla="*/ 1639 h 2053"/>
                  <a:gd name="T74" fmla="*/ 276 w 2149"/>
                  <a:gd name="T75" fmla="*/ 1475 h 2053"/>
                  <a:gd name="T76" fmla="*/ 733 w 2149"/>
                  <a:gd name="T77" fmla="*/ 1438 h 2053"/>
                  <a:gd name="T78" fmla="*/ 942 w 2149"/>
                  <a:gd name="T79" fmla="*/ 1150 h 2053"/>
                  <a:gd name="T80" fmla="*/ 605 w 2149"/>
                  <a:gd name="T81" fmla="*/ 1041 h 2053"/>
                  <a:gd name="T82" fmla="*/ 213 w 2149"/>
                  <a:gd name="T83" fmla="*/ 1282 h 2053"/>
                  <a:gd name="T84" fmla="*/ 127 w 2149"/>
                  <a:gd name="T85" fmla="*/ 1141 h 2053"/>
                  <a:gd name="T86" fmla="*/ 399 w 2149"/>
                  <a:gd name="T87" fmla="*/ 974 h 2053"/>
                  <a:gd name="T88" fmla="*/ 0 w 2149"/>
                  <a:gd name="T89" fmla="*/ 843 h 2053"/>
                  <a:gd name="T90" fmla="*/ 51 w 2149"/>
                  <a:gd name="T91" fmla="*/ 686 h 2053"/>
                  <a:gd name="T92" fmla="*/ 450 w 2149"/>
                  <a:gd name="T93" fmla="*/ 817 h 2053"/>
                  <a:gd name="T94" fmla="*/ 328 w 2149"/>
                  <a:gd name="T95" fmla="*/ 521 h 2053"/>
                  <a:gd name="T96" fmla="*/ 480 w 2149"/>
                  <a:gd name="T97" fmla="*/ 458 h 2053"/>
                  <a:gd name="T98" fmla="*/ 655 w 2149"/>
                  <a:gd name="T99" fmla="*/ 884 h 2053"/>
                  <a:gd name="T100" fmla="*/ 992 w 2149"/>
                  <a:gd name="T101" fmla="*/ 993 h 2053"/>
                  <a:gd name="T102" fmla="*/ 992 w 2149"/>
                  <a:gd name="T103" fmla="*/ 639 h 2053"/>
                  <a:gd name="T104" fmla="*/ 643 w 2149"/>
                  <a:gd name="T105" fmla="*/ 338 h 2053"/>
                  <a:gd name="T106" fmla="*/ 750 w 2149"/>
                  <a:gd name="T107" fmla="*/ 213 h 2053"/>
                  <a:gd name="T108" fmla="*/ 992 w 2149"/>
                  <a:gd name="T109" fmla="*/ 422 h 2053"/>
                  <a:gd name="T110" fmla="*/ 992 w 2149"/>
                  <a:gd name="T111" fmla="*/ 0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49" h="2053">
                    <a:moveTo>
                      <a:pt x="992" y="0"/>
                    </a:moveTo>
                    <a:lnTo>
                      <a:pt x="1157" y="0"/>
                    </a:lnTo>
                    <a:lnTo>
                      <a:pt x="1157" y="422"/>
                    </a:lnTo>
                    <a:lnTo>
                      <a:pt x="1399" y="213"/>
                    </a:lnTo>
                    <a:lnTo>
                      <a:pt x="1506" y="338"/>
                    </a:lnTo>
                    <a:lnTo>
                      <a:pt x="1157" y="639"/>
                    </a:lnTo>
                    <a:lnTo>
                      <a:pt x="1157" y="993"/>
                    </a:lnTo>
                    <a:lnTo>
                      <a:pt x="1493" y="884"/>
                    </a:lnTo>
                    <a:lnTo>
                      <a:pt x="1668" y="458"/>
                    </a:lnTo>
                    <a:lnTo>
                      <a:pt x="1821" y="521"/>
                    </a:lnTo>
                    <a:lnTo>
                      <a:pt x="1699" y="817"/>
                    </a:lnTo>
                    <a:lnTo>
                      <a:pt x="2098" y="686"/>
                    </a:lnTo>
                    <a:lnTo>
                      <a:pt x="2149" y="844"/>
                    </a:lnTo>
                    <a:lnTo>
                      <a:pt x="1750" y="974"/>
                    </a:lnTo>
                    <a:lnTo>
                      <a:pt x="2022" y="1141"/>
                    </a:lnTo>
                    <a:lnTo>
                      <a:pt x="1936" y="1282"/>
                    </a:lnTo>
                    <a:lnTo>
                      <a:pt x="1544" y="1041"/>
                    </a:lnTo>
                    <a:lnTo>
                      <a:pt x="1207" y="1150"/>
                    </a:lnTo>
                    <a:lnTo>
                      <a:pt x="1415" y="1438"/>
                    </a:lnTo>
                    <a:lnTo>
                      <a:pt x="1873" y="1475"/>
                    </a:lnTo>
                    <a:lnTo>
                      <a:pt x="1860" y="1639"/>
                    </a:lnTo>
                    <a:lnTo>
                      <a:pt x="1542" y="1615"/>
                    </a:lnTo>
                    <a:lnTo>
                      <a:pt x="1789" y="1955"/>
                    </a:lnTo>
                    <a:lnTo>
                      <a:pt x="1656" y="2053"/>
                    </a:lnTo>
                    <a:lnTo>
                      <a:pt x="1410" y="1711"/>
                    </a:lnTo>
                    <a:lnTo>
                      <a:pt x="1335" y="2022"/>
                    </a:lnTo>
                    <a:lnTo>
                      <a:pt x="1175" y="1984"/>
                    </a:lnTo>
                    <a:lnTo>
                      <a:pt x="1282" y="1536"/>
                    </a:lnTo>
                    <a:lnTo>
                      <a:pt x="1074" y="1248"/>
                    </a:lnTo>
                    <a:lnTo>
                      <a:pt x="866" y="1536"/>
                    </a:lnTo>
                    <a:lnTo>
                      <a:pt x="974" y="1984"/>
                    </a:lnTo>
                    <a:lnTo>
                      <a:pt x="814" y="2022"/>
                    </a:lnTo>
                    <a:lnTo>
                      <a:pt x="739" y="1711"/>
                    </a:lnTo>
                    <a:lnTo>
                      <a:pt x="493" y="2053"/>
                    </a:lnTo>
                    <a:lnTo>
                      <a:pt x="360" y="1955"/>
                    </a:lnTo>
                    <a:lnTo>
                      <a:pt x="606" y="1615"/>
                    </a:lnTo>
                    <a:lnTo>
                      <a:pt x="289" y="1639"/>
                    </a:lnTo>
                    <a:lnTo>
                      <a:pt x="276" y="1475"/>
                    </a:lnTo>
                    <a:lnTo>
                      <a:pt x="733" y="1438"/>
                    </a:lnTo>
                    <a:lnTo>
                      <a:pt x="942" y="1150"/>
                    </a:lnTo>
                    <a:lnTo>
                      <a:pt x="605" y="1041"/>
                    </a:lnTo>
                    <a:lnTo>
                      <a:pt x="213" y="1282"/>
                    </a:lnTo>
                    <a:lnTo>
                      <a:pt x="127" y="1141"/>
                    </a:lnTo>
                    <a:lnTo>
                      <a:pt x="399" y="974"/>
                    </a:lnTo>
                    <a:lnTo>
                      <a:pt x="0" y="843"/>
                    </a:lnTo>
                    <a:lnTo>
                      <a:pt x="51" y="686"/>
                    </a:lnTo>
                    <a:lnTo>
                      <a:pt x="450" y="817"/>
                    </a:lnTo>
                    <a:lnTo>
                      <a:pt x="328" y="521"/>
                    </a:lnTo>
                    <a:lnTo>
                      <a:pt x="480" y="458"/>
                    </a:lnTo>
                    <a:lnTo>
                      <a:pt x="655" y="884"/>
                    </a:lnTo>
                    <a:lnTo>
                      <a:pt x="992" y="993"/>
                    </a:lnTo>
                    <a:lnTo>
                      <a:pt x="992" y="639"/>
                    </a:lnTo>
                    <a:lnTo>
                      <a:pt x="643" y="338"/>
                    </a:lnTo>
                    <a:lnTo>
                      <a:pt x="750" y="213"/>
                    </a:lnTo>
                    <a:lnTo>
                      <a:pt x="992" y="422"/>
                    </a:lnTo>
                    <a:lnTo>
                      <a:pt x="99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80" name="Gruppieren 79"/>
            <p:cNvGrpSpPr>
              <a:grpSpLocks noChangeAspect="1"/>
            </p:cNvGrpSpPr>
            <p:nvPr/>
          </p:nvGrpSpPr>
          <p:grpSpPr>
            <a:xfrm>
              <a:off x="7163010" y="4024314"/>
              <a:ext cx="453648" cy="453648"/>
              <a:chOff x="9310939" y="6450760"/>
              <a:chExt cx="348117" cy="348117"/>
            </a:xfrm>
          </p:grpSpPr>
          <p:sp>
            <p:nvSpPr>
              <p:cNvPr id="81" name="Rectangle 102"/>
              <p:cNvSpPr>
                <a:spLocks noChangeArrowheads="1"/>
              </p:cNvSpPr>
              <p:nvPr/>
            </p:nvSpPr>
            <p:spPr bwMode="auto">
              <a:xfrm>
                <a:off x="9310939" y="6450760"/>
                <a:ext cx="348117" cy="348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2" name="Rectangle 103"/>
              <p:cNvSpPr>
                <a:spLocks noChangeArrowheads="1"/>
              </p:cNvSpPr>
              <p:nvPr/>
            </p:nvSpPr>
            <p:spPr bwMode="auto">
              <a:xfrm>
                <a:off x="9310939" y="6450760"/>
                <a:ext cx="348117" cy="348117"/>
              </a:xfrm>
              <a:prstGeom prst="rect">
                <a:avLst/>
              </a:prstGeom>
              <a:solidFill>
                <a:srgbClr val="EF7B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3" name="Freeform 104"/>
              <p:cNvSpPr>
                <a:spLocks noEditPoints="1"/>
              </p:cNvSpPr>
              <p:nvPr/>
            </p:nvSpPr>
            <p:spPr bwMode="auto">
              <a:xfrm>
                <a:off x="9406164" y="6511641"/>
                <a:ext cx="156106" cy="226354"/>
              </a:xfrm>
              <a:custGeom>
                <a:avLst/>
                <a:gdLst>
                  <a:gd name="T0" fmla="*/ 499 w 1502"/>
                  <a:gd name="T1" fmla="*/ 918 h 2170"/>
                  <a:gd name="T2" fmla="*/ 334 w 1502"/>
                  <a:gd name="T3" fmla="*/ 1837 h 2170"/>
                  <a:gd name="T4" fmla="*/ 375 w 1502"/>
                  <a:gd name="T5" fmla="*/ 500 h 2170"/>
                  <a:gd name="T6" fmla="*/ 338 w 1502"/>
                  <a:gd name="T7" fmla="*/ 557 h 2170"/>
                  <a:gd name="T8" fmla="*/ 295 w 1502"/>
                  <a:gd name="T9" fmla="*/ 628 h 2170"/>
                  <a:gd name="T10" fmla="*/ 253 w 1502"/>
                  <a:gd name="T11" fmla="*/ 709 h 2170"/>
                  <a:gd name="T12" fmla="*/ 214 w 1502"/>
                  <a:gd name="T13" fmla="*/ 795 h 2170"/>
                  <a:gd name="T14" fmla="*/ 185 w 1502"/>
                  <a:gd name="T15" fmla="*/ 880 h 2170"/>
                  <a:gd name="T16" fmla="*/ 168 w 1502"/>
                  <a:gd name="T17" fmla="*/ 963 h 2170"/>
                  <a:gd name="T18" fmla="*/ 166 w 1502"/>
                  <a:gd name="T19" fmla="*/ 1837 h 2170"/>
                  <a:gd name="T20" fmla="*/ 176 w 1502"/>
                  <a:gd name="T21" fmla="*/ 1895 h 2170"/>
                  <a:gd name="T22" fmla="*/ 205 w 1502"/>
                  <a:gd name="T23" fmla="*/ 1945 h 2170"/>
                  <a:gd name="T24" fmla="*/ 249 w 1502"/>
                  <a:gd name="T25" fmla="*/ 1982 h 2170"/>
                  <a:gd name="T26" fmla="*/ 303 w 1502"/>
                  <a:gd name="T27" fmla="*/ 2002 h 2170"/>
                  <a:gd name="T28" fmla="*/ 1168 w 1502"/>
                  <a:gd name="T29" fmla="*/ 2005 h 2170"/>
                  <a:gd name="T30" fmla="*/ 1227 w 1502"/>
                  <a:gd name="T31" fmla="*/ 1995 h 2170"/>
                  <a:gd name="T32" fmla="*/ 1277 w 1502"/>
                  <a:gd name="T33" fmla="*/ 1965 h 2170"/>
                  <a:gd name="T34" fmla="*/ 1314 w 1502"/>
                  <a:gd name="T35" fmla="*/ 1922 h 2170"/>
                  <a:gd name="T36" fmla="*/ 1334 w 1502"/>
                  <a:gd name="T37" fmla="*/ 1867 h 2170"/>
                  <a:gd name="T38" fmla="*/ 1336 w 1502"/>
                  <a:gd name="T39" fmla="*/ 1001 h 2170"/>
                  <a:gd name="T40" fmla="*/ 1327 w 1502"/>
                  <a:gd name="T41" fmla="*/ 922 h 2170"/>
                  <a:gd name="T42" fmla="*/ 1304 w 1502"/>
                  <a:gd name="T43" fmla="*/ 837 h 2170"/>
                  <a:gd name="T44" fmla="*/ 1269 w 1502"/>
                  <a:gd name="T45" fmla="*/ 751 h 2170"/>
                  <a:gd name="T46" fmla="*/ 1229 w 1502"/>
                  <a:gd name="T47" fmla="*/ 668 h 2170"/>
                  <a:gd name="T48" fmla="*/ 1185 w 1502"/>
                  <a:gd name="T49" fmla="*/ 592 h 2170"/>
                  <a:gd name="T50" fmla="*/ 1145 w 1502"/>
                  <a:gd name="T51" fmla="*/ 527 h 2170"/>
                  <a:gd name="T52" fmla="*/ 375 w 1502"/>
                  <a:gd name="T53" fmla="*/ 500 h 2170"/>
                  <a:gd name="T54" fmla="*/ 166 w 1502"/>
                  <a:gd name="T55" fmla="*/ 334 h 2170"/>
                  <a:gd name="T56" fmla="*/ 1336 w 1502"/>
                  <a:gd name="T57" fmla="*/ 165 h 2170"/>
                  <a:gd name="T58" fmla="*/ 0 w 1502"/>
                  <a:gd name="T59" fmla="*/ 0 h 2170"/>
                  <a:gd name="T60" fmla="*/ 1502 w 1502"/>
                  <a:gd name="T61" fmla="*/ 500 h 2170"/>
                  <a:gd name="T62" fmla="*/ 1346 w 1502"/>
                  <a:gd name="T63" fmla="*/ 540 h 2170"/>
                  <a:gd name="T64" fmla="*/ 1396 w 1502"/>
                  <a:gd name="T65" fmla="*/ 632 h 2170"/>
                  <a:gd name="T66" fmla="*/ 1442 w 1502"/>
                  <a:gd name="T67" fmla="*/ 734 h 2170"/>
                  <a:gd name="T68" fmla="*/ 1478 w 1502"/>
                  <a:gd name="T69" fmla="*/ 841 h 2170"/>
                  <a:gd name="T70" fmla="*/ 1499 w 1502"/>
                  <a:gd name="T71" fmla="*/ 949 h 2170"/>
                  <a:gd name="T72" fmla="*/ 1502 w 1502"/>
                  <a:gd name="T73" fmla="*/ 1837 h 2170"/>
                  <a:gd name="T74" fmla="*/ 1489 w 1502"/>
                  <a:gd name="T75" fmla="*/ 1926 h 2170"/>
                  <a:gd name="T76" fmla="*/ 1456 w 1502"/>
                  <a:gd name="T77" fmla="*/ 2005 h 2170"/>
                  <a:gd name="T78" fmla="*/ 1404 w 1502"/>
                  <a:gd name="T79" fmla="*/ 2073 h 2170"/>
                  <a:gd name="T80" fmla="*/ 1336 w 1502"/>
                  <a:gd name="T81" fmla="*/ 2125 h 2170"/>
                  <a:gd name="T82" fmla="*/ 1257 w 1502"/>
                  <a:gd name="T83" fmla="*/ 2158 h 2170"/>
                  <a:gd name="T84" fmla="*/ 1168 w 1502"/>
                  <a:gd name="T85" fmla="*/ 2170 h 2170"/>
                  <a:gd name="T86" fmla="*/ 288 w 1502"/>
                  <a:gd name="T87" fmla="*/ 2167 h 2170"/>
                  <a:gd name="T88" fmla="*/ 203 w 1502"/>
                  <a:gd name="T89" fmla="*/ 2144 h 2170"/>
                  <a:gd name="T90" fmla="*/ 130 w 1502"/>
                  <a:gd name="T91" fmla="*/ 2101 h 2170"/>
                  <a:gd name="T92" fmla="*/ 69 w 1502"/>
                  <a:gd name="T93" fmla="*/ 2040 h 2170"/>
                  <a:gd name="T94" fmla="*/ 26 w 1502"/>
                  <a:gd name="T95" fmla="*/ 1966 h 2170"/>
                  <a:gd name="T96" fmla="*/ 3 w 1502"/>
                  <a:gd name="T97" fmla="*/ 1882 h 2170"/>
                  <a:gd name="T98" fmla="*/ 0 w 1502"/>
                  <a:gd name="T99" fmla="*/ 1001 h 2170"/>
                  <a:gd name="T100" fmla="*/ 12 w 1502"/>
                  <a:gd name="T101" fmla="*/ 895 h 2170"/>
                  <a:gd name="T102" fmla="*/ 41 w 1502"/>
                  <a:gd name="T103" fmla="*/ 788 h 2170"/>
                  <a:gd name="T104" fmla="*/ 82 w 1502"/>
                  <a:gd name="T105" fmla="*/ 682 h 2170"/>
                  <a:gd name="T106" fmla="*/ 131 w 1502"/>
                  <a:gd name="T107" fmla="*/ 585 h 2170"/>
                  <a:gd name="T108" fmla="*/ 179 w 1502"/>
                  <a:gd name="T109" fmla="*/ 500 h 2170"/>
                  <a:gd name="T110" fmla="*/ 0 w 1502"/>
                  <a:gd name="T111" fmla="*/ 0 h 2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02" h="2170">
                    <a:moveTo>
                      <a:pt x="334" y="918"/>
                    </a:moveTo>
                    <a:lnTo>
                      <a:pt x="499" y="918"/>
                    </a:lnTo>
                    <a:lnTo>
                      <a:pt x="499" y="1837"/>
                    </a:lnTo>
                    <a:lnTo>
                      <a:pt x="334" y="1837"/>
                    </a:lnTo>
                    <a:lnTo>
                      <a:pt x="334" y="918"/>
                    </a:lnTo>
                    <a:close/>
                    <a:moveTo>
                      <a:pt x="375" y="500"/>
                    </a:moveTo>
                    <a:lnTo>
                      <a:pt x="357" y="527"/>
                    </a:lnTo>
                    <a:lnTo>
                      <a:pt x="338" y="557"/>
                    </a:lnTo>
                    <a:lnTo>
                      <a:pt x="317" y="592"/>
                    </a:lnTo>
                    <a:lnTo>
                      <a:pt x="295" y="628"/>
                    </a:lnTo>
                    <a:lnTo>
                      <a:pt x="273" y="668"/>
                    </a:lnTo>
                    <a:lnTo>
                      <a:pt x="253" y="709"/>
                    </a:lnTo>
                    <a:lnTo>
                      <a:pt x="232" y="751"/>
                    </a:lnTo>
                    <a:lnTo>
                      <a:pt x="214" y="795"/>
                    </a:lnTo>
                    <a:lnTo>
                      <a:pt x="198" y="837"/>
                    </a:lnTo>
                    <a:lnTo>
                      <a:pt x="185" y="880"/>
                    </a:lnTo>
                    <a:lnTo>
                      <a:pt x="174" y="922"/>
                    </a:lnTo>
                    <a:lnTo>
                      <a:pt x="168" y="963"/>
                    </a:lnTo>
                    <a:lnTo>
                      <a:pt x="166" y="1001"/>
                    </a:lnTo>
                    <a:lnTo>
                      <a:pt x="166" y="1837"/>
                    </a:lnTo>
                    <a:lnTo>
                      <a:pt x="168" y="1867"/>
                    </a:lnTo>
                    <a:lnTo>
                      <a:pt x="176" y="1895"/>
                    </a:lnTo>
                    <a:lnTo>
                      <a:pt x="188" y="1922"/>
                    </a:lnTo>
                    <a:lnTo>
                      <a:pt x="205" y="1945"/>
                    </a:lnTo>
                    <a:lnTo>
                      <a:pt x="225" y="1965"/>
                    </a:lnTo>
                    <a:lnTo>
                      <a:pt x="249" y="1982"/>
                    </a:lnTo>
                    <a:lnTo>
                      <a:pt x="275" y="1995"/>
                    </a:lnTo>
                    <a:lnTo>
                      <a:pt x="303" y="2002"/>
                    </a:lnTo>
                    <a:lnTo>
                      <a:pt x="333" y="2005"/>
                    </a:lnTo>
                    <a:lnTo>
                      <a:pt x="1168" y="2005"/>
                    </a:lnTo>
                    <a:lnTo>
                      <a:pt x="1198" y="2002"/>
                    </a:lnTo>
                    <a:lnTo>
                      <a:pt x="1227" y="1995"/>
                    </a:lnTo>
                    <a:lnTo>
                      <a:pt x="1253" y="1982"/>
                    </a:lnTo>
                    <a:lnTo>
                      <a:pt x="1277" y="1965"/>
                    </a:lnTo>
                    <a:lnTo>
                      <a:pt x="1297" y="1945"/>
                    </a:lnTo>
                    <a:lnTo>
                      <a:pt x="1314" y="1922"/>
                    </a:lnTo>
                    <a:lnTo>
                      <a:pt x="1326" y="1895"/>
                    </a:lnTo>
                    <a:lnTo>
                      <a:pt x="1334" y="1867"/>
                    </a:lnTo>
                    <a:lnTo>
                      <a:pt x="1336" y="1837"/>
                    </a:lnTo>
                    <a:lnTo>
                      <a:pt x="1336" y="1001"/>
                    </a:lnTo>
                    <a:lnTo>
                      <a:pt x="1334" y="963"/>
                    </a:lnTo>
                    <a:lnTo>
                      <a:pt x="1327" y="922"/>
                    </a:lnTo>
                    <a:lnTo>
                      <a:pt x="1317" y="880"/>
                    </a:lnTo>
                    <a:lnTo>
                      <a:pt x="1304" y="837"/>
                    </a:lnTo>
                    <a:lnTo>
                      <a:pt x="1288" y="794"/>
                    </a:lnTo>
                    <a:lnTo>
                      <a:pt x="1269" y="751"/>
                    </a:lnTo>
                    <a:lnTo>
                      <a:pt x="1249" y="708"/>
                    </a:lnTo>
                    <a:lnTo>
                      <a:pt x="1229" y="668"/>
                    </a:lnTo>
                    <a:lnTo>
                      <a:pt x="1207" y="628"/>
                    </a:lnTo>
                    <a:lnTo>
                      <a:pt x="1185" y="592"/>
                    </a:lnTo>
                    <a:lnTo>
                      <a:pt x="1164" y="557"/>
                    </a:lnTo>
                    <a:lnTo>
                      <a:pt x="1145" y="527"/>
                    </a:lnTo>
                    <a:lnTo>
                      <a:pt x="1127" y="500"/>
                    </a:lnTo>
                    <a:lnTo>
                      <a:pt x="375" y="500"/>
                    </a:lnTo>
                    <a:close/>
                    <a:moveTo>
                      <a:pt x="166" y="165"/>
                    </a:moveTo>
                    <a:lnTo>
                      <a:pt x="166" y="334"/>
                    </a:lnTo>
                    <a:lnTo>
                      <a:pt x="1336" y="334"/>
                    </a:lnTo>
                    <a:lnTo>
                      <a:pt x="1336" y="165"/>
                    </a:lnTo>
                    <a:lnTo>
                      <a:pt x="166" y="165"/>
                    </a:lnTo>
                    <a:close/>
                    <a:moveTo>
                      <a:pt x="0" y="0"/>
                    </a:moveTo>
                    <a:lnTo>
                      <a:pt x="1502" y="0"/>
                    </a:lnTo>
                    <a:lnTo>
                      <a:pt x="1502" y="500"/>
                    </a:lnTo>
                    <a:lnTo>
                      <a:pt x="1322" y="500"/>
                    </a:lnTo>
                    <a:lnTo>
                      <a:pt x="1346" y="540"/>
                    </a:lnTo>
                    <a:lnTo>
                      <a:pt x="1371" y="585"/>
                    </a:lnTo>
                    <a:lnTo>
                      <a:pt x="1396" y="632"/>
                    </a:lnTo>
                    <a:lnTo>
                      <a:pt x="1419" y="682"/>
                    </a:lnTo>
                    <a:lnTo>
                      <a:pt x="1442" y="734"/>
                    </a:lnTo>
                    <a:lnTo>
                      <a:pt x="1461" y="788"/>
                    </a:lnTo>
                    <a:lnTo>
                      <a:pt x="1478" y="841"/>
                    </a:lnTo>
                    <a:lnTo>
                      <a:pt x="1490" y="895"/>
                    </a:lnTo>
                    <a:lnTo>
                      <a:pt x="1499" y="949"/>
                    </a:lnTo>
                    <a:lnTo>
                      <a:pt x="1502" y="1001"/>
                    </a:lnTo>
                    <a:lnTo>
                      <a:pt x="1502" y="1837"/>
                    </a:lnTo>
                    <a:lnTo>
                      <a:pt x="1499" y="1882"/>
                    </a:lnTo>
                    <a:lnTo>
                      <a:pt x="1489" y="1926"/>
                    </a:lnTo>
                    <a:lnTo>
                      <a:pt x="1475" y="1966"/>
                    </a:lnTo>
                    <a:lnTo>
                      <a:pt x="1456" y="2005"/>
                    </a:lnTo>
                    <a:lnTo>
                      <a:pt x="1433" y="2040"/>
                    </a:lnTo>
                    <a:lnTo>
                      <a:pt x="1404" y="2073"/>
                    </a:lnTo>
                    <a:lnTo>
                      <a:pt x="1372" y="2101"/>
                    </a:lnTo>
                    <a:lnTo>
                      <a:pt x="1336" y="2125"/>
                    </a:lnTo>
                    <a:lnTo>
                      <a:pt x="1298" y="2144"/>
                    </a:lnTo>
                    <a:lnTo>
                      <a:pt x="1257" y="2158"/>
                    </a:lnTo>
                    <a:lnTo>
                      <a:pt x="1214" y="2167"/>
                    </a:lnTo>
                    <a:lnTo>
                      <a:pt x="1168" y="2170"/>
                    </a:lnTo>
                    <a:lnTo>
                      <a:pt x="333" y="2170"/>
                    </a:lnTo>
                    <a:lnTo>
                      <a:pt x="288" y="2167"/>
                    </a:lnTo>
                    <a:lnTo>
                      <a:pt x="245" y="2158"/>
                    </a:lnTo>
                    <a:lnTo>
                      <a:pt x="203" y="2144"/>
                    </a:lnTo>
                    <a:lnTo>
                      <a:pt x="166" y="2125"/>
                    </a:lnTo>
                    <a:lnTo>
                      <a:pt x="130" y="2101"/>
                    </a:lnTo>
                    <a:lnTo>
                      <a:pt x="98" y="2073"/>
                    </a:lnTo>
                    <a:lnTo>
                      <a:pt x="69" y="2040"/>
                    </a:lnTo>
                    <a:lnTo>
                      <a:pt x="46" y="2005"/>
                    </a:lnTo>
                    <a:lnTo>
                      <a:pt x="26" y="1966"/>
                    </a:lnTo>
                    <a:lnTo>
                      <a:pt x="12" y="1926"/>
                    </a:lnTo>
                    <a:lnTo>
                      <a:pt x="3" y="1882"/>
                    </a:lnTo>
                    <a:lnTo>
                      <a:pt x="0" y="1837"/>
                    </a:lnTo>
                    <a:lnTo>
                      <a:pt x="0" y="1001"/>
                    </a:lnTo>
                    <a:lnTo>
                      <a:pt x="2" y="949"/>
                    </a:lnTo>
                    <a:lnTo>
                      <a:pt x="12" y="895"/>
                    </a:lnTo>
                    <a:lnTo>
                      <a:pt x="24" y="841"/>
                    </a:lnTo>
                    <a:lnTo>
                      <a:pt x="41" y="788"/>
                    </a:lnTo>
                    <a:lnTo>
                      <a:pt x="60" y="734"/>
                    </a:lnTo>
                    <a:lnTo>
                      <a:pt x="82" y="682"/>
                    </a:lnTo>
                    <a:lnTo>
                      <a:pt x="106" y="632"/>
                    </a:lnTo>
                    <a:lnTo>
                      <a:pt x="131" y="585"/>
                    </a:lnTo>
                    <a:lnTo>
                      <a:pt x="155" y="540"/>
                    </a:lnTo>
                    <a:lnTo>
                      <a:pt x="179" y="500"/>
                    </a:lnTo>
                    <a:lnTo>
                      <a:pt x="0" y="500"/>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84" name="Group 174"/>
            <p:cNvGrpSpPr>
              <a:grpSpLocks noChangeAspect="1"/>
            </p:cNvGrpSpPr>
            <p:nvPr/>
          </p:nvGrpSpPr>
          <p:grpSpPr bwMode="auto">
            <a:xfrm>
              <a:off x="5223499" y="3980845"/>
              <a:ext cx="453648" cy="453648"/>
              <a:chOff x="5551" y="3502"/>
              <a:chExt cx="223" cy="223"/>
            </a:xfrm>
          </p:grpSpPr>
          <p:sp>
            <p:nvSpPr>
              <p:cNvPr id="85" name="Rectangle 175"/>
              <p:cNvSpPr>
                <a:spLocks noChangeArrowheads="1"/>
              </p:cNvSpPr>
              <p:nvPr/>
            </p:nvSpPr>
            <p:spPr bwMode="auto">
              <a:xfrm>
                <a:off x="5551" y="3502"/>
                <a:ext cx="223" cy="223"/>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86" name="Rectangle 176"/>
              <p:cNvSpPr>
                <a:spLocks noChangeArrowheads="1"/>
              </p:cNvSpPr>
              <p:nvPr/>
            </p:nvSpPr>
            <p:spPr bwMode="auto">
              <a:xfrm>
                <a:off x="5551" y="3502"/>
                <a:ext cx="223" cy="22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7" name="Freeform 177"/>
              <p:cNvSpPr>
                <a:spLocks noEditPoints="1"/>
              </p:cNvSpPr>
              <p:nvPr/>
            </p:nvSpPr>
            <p:spPr bwMode="auto">
              <a:xfrm>
                <a:off x="5579" y="3530"/>
                <a:ext cx="167" cy="151"/>
              </a:xfrm>
              <a:custGeom>
                <a:avLst/>
                <a:gdLst>
                  <a:gd name="T0" fmla="*/ 1443 w 2502"/>
                  <a:gd name="T1" fmla="*/ 703 h 2267"/>
                  <a:gd name="T2" fmla="*/ 1224 w 2502"/>
                  <a:gd name="T3" fmla="*/ 894 h 2267"/>
                  <a:gd name="T4" fmla="*/ 954 w 2502"/>
                  <a:gd name="T5" fmla="*/ 1046 h 2267"/>
                  <a:gd name="T6" fmla="*/ 633 w 2502"/>
                  <a:gd name="T7" fmla="*/ 1134 h 2267"/>
                  <a:gd name="T8" fmla="*/ 368 w 2502"/>
                  <a:gd name="T9" fmla="*/ 1290 h 2267"/>
                  <a:gd name="T10" fmla="*/ 206 w 2502"/>
                  <a:gd name="T11" fmla="*/ 1529 h 2267"/>
                  <a:gd name="T12" fmla="*/ 165 w 2502"/>
                  <a:gd name="T13" fmla="*/ 2102 h 2267"/>
                  <a:gd name="T14" fmla="*/ 1566 w 2502"/>
                  <a:gd name="T15" fmla="*/ 1873 h 2267"/>
                  <a:gd name="T16" fmla="*/ 1615 w 2502"/>
                  <a:gd name="T17" fmla="*/ 1506 h 2267"/>
                  <a:gd name="T18" fmla="*/ 1679 w 2502"/>
                  <a:gd name="T19" fmla="*/ 1253 h 2267"/>
                  <a:gd name="T20" fmla="*/ 1773 w 2502"/>
                  <a:gd name="T21" fmla="*/ 1087 h 2267"/>
                  <a:gd name="T22" fmla="*/ 1821 w 2502"/>
                  <a:gd name="T23" fmla="*/ 1016 h 2267"/>
                  <a:gd name="T24" fmla="*/ 1799 w 2502"/>
                  <a:gd name="T25" fmla="*/ 939 h 2267"/>
                  <a:gd name="T26" fmla="*/ 1503 w 2502"/>
                  <a:gd name="T27" fmla="*/ 679 h 2267"/>
                  <a:gd name="T28" fmla="*/ 1826 w 2502"/>
                  <a:gd name="T29" fmla="*/ 201 h 2267"/>
                  <a:gd name="T30" fmla="*/ 1792 w 2502"/>
                  <a:gd name="T31" fmla="*/ 315 h 2267"/>
                  <a:gd name="T32" fmla="*/ 1826 w 2502"/>
                  <a:gd name="T33" fmla="*/ 497 h 2267"/>
                  <a:gd name="T34" fmla="*/ 2063 w 2502"/>
                  <a:gd name="T35" fmla="*/ 617 h 2267"/>
                  <a:gd name="T36" fmla="*/ 2211 w 2502"/>
                  <a:gd name="T37" fmla="*/ 712 h 2267"/>
                  <a:gd name="T38" fmla="*/ 2317 w 2502"/>
                  <a:gd name="T39" fmla="*/ 656 h 2267"/>
                  <a:gd name="T40" fmla="*/ 2328 w 2502"/>
                  <a:gd name="T41" fmla="*/ 539 h 2267"/>
                  <a:gd name="T42" fmla="*/ 2235 w 2502"/>
                  <a:gd name="T43" fmla="*/ 462 h 2267"/>
                  <a:gd name="T44" fmla="*/ 2122 w 2502"/>
                  <a:gd name="T45" fmla="*/ 497 h 2267"/>
                  <a:gd name="T46" fmla="*/ 2042 w 2502"/>
                  <a:gd name="T47" fmla="*/ 291 h 2267"/>
                  <a:gd name="T48" fmla="*/ 1985 w 2502"/>
                  <a:gd name="T49" fmla="*/ 185 h 2267"/>
                  <a:gd name="T50" fmla="*/ 1953 w 2502"/>
                  <a:gd name="T51" fmla="*/ 2 h 2267"/>
                  <a:gd name="T52" fmla="*/ 2122 w 2502"/>
                  <a:gd name="T53" fmla="*/ 85 h 2267"/>
                  <a:gd name="T54" fmla="*/ 2205 w 2502"/>
                  <a:gd name="T55" fmla="*/ 257 h 2267"/>
                  <a:gd name="T56" fmla="*/ 2353 w 2502"/>
                  <a:gd name="T57" fmla="*/ 332 h 2267"/>
                  <a:gd name="T58" fmla="*/ 2481 w 2502"/>
                  <a:gd name="T59" fmla="*/ 476 h 2267"/>
                  <a:gd name="T60" fmla="*/ 2493 w 2502"/>
                  <a:gd name="T61" fmla="*/ 660 h 2267"/>
                  <a:gd name="T62" fmla="*/ 2388 w 2502"/>
                  <a:gd name="T63" fmla="*/ 818 h 2267"/>
                  <a:gd name="T64" fmla="*/ 2211 w 2502"/>
                  <a:gd name="T65" fmla="*/ 877 h 2267"/>
                  <a:gd name="T66" fmla="*/ 1986 w 2502"/>
                  <a:gd name="T67" fmla="*/ 928 h 2267"/>
                  <a:gd name="T68" fmla="*/ 1980 w 2502"/>
                  <a:gd name="T69" fmla="*/ 1064 h 2267"/>
                  <a:gd name="T70" fmla="*/ 1897 w 2502"/>
                  <a:gd name="T71" fmla="*/ 1197 h 2267"/>
                  <a:gd name="T72" fmla="*/ 1821 w 2502"/>
                  <a:gd name="T73" fmla="*/ 1348 h 2267"/>
                  <a:gd name="T74" fmla="*/ 1767 w 2502"/>
                  <a:gd name="T75" fmla="*/ 1602 h 2267"/>
                  <a:gd name="T76" fmla="*/ 1715 w 2502"/>
                  <a:gd name="T77" fmla="*/ 1970 h 2267"/>
                  <a:gd name="T78" fmla="*/ 0 w 2502"/>
                  <a:gd name="T79" fmla="*/ 2267 h 2267"/>
                  <a:gd name="T80" fmla="*/ 40 w 2502"/>
                  <a:gd name="T81" fmla="*/ 1504 h 2267"/>
                  <a:gd name="T82" fmla="*/ 199 w 2502"/>
                  <a:gd name="T83" fmla="*/ 1226 h 2267"/>
                  <a:gd name="T84" fmla="*/ 462 w 2502"/>
                  <a:gd name="T85" fmla="*/ 1028 h 2267"/>
                  <a:gd name="T86" fmla="*/ 791 w 2502"/>
                  <a:gd name="T87" fmla="*/ 924 h 2267"/>
                  <a:gd name="T88" fmla="*/ 1040 w 2502"/>
                  <a:gd name="T89" fmla="*/ 820 h 2267"/>
                  <a:gd name="T90" fmla="*/ 1275 w 2502"/>
                  <a:gd name="T91" fmla="*/ 634 h 2267"/>
                  <a:gd name="T92" fmla="*/ 1438 w 2502"/>
                  <a:gd name="T93" fmla="*/ 522 h 2267"/>
                  <a:gd name="T94" fmla="*/ 1660 w 2502"/>
                  <a:gd name="T95" fmla="*/ 430 h 2267"/>
                  <a:gd name="T96" fmla="*/ 1628 w 2502"/>
                  <a:gd name="T97" fmla="*/ 251 h 2267"/>
                  <a:gd name="T98" fmla="*/ 1710 w 2502"/>
                  <a:gd name="T99" fmla="*/ 85 h 2267"/>
                  <a:gd name="T100" fmla="*/ 1879 w 2502"/>
                  <a:gd name="T101" fmla="*/ 2 h 2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02" h="2267">
                    <a:moveTo>
                      <a:pt x="1503" y="679"/>
                    </a:moveTo>
                    <a:lnTo>
                      <a:pt x="1486" y="681"/>
                    </a:lnTo>
                    <a:lnTo>
                      <a:pt x="1470" y="685"/>
                    </a:lnTo>
                    <a:lnTo>
                      <a:pt x="1456" y="693"/>
                    </a:lnTo>
                    <a:lnTo>
                      <a:pt x="1443" y="703"/>
                    </a:lnTo>
                    <a:lnTo>
                      <a:pt x="1441" y="705"/>
                    </a:lnTo>
                    <a:lnTo>
                      <a:pt x="1384" y="758"/>
                    </a:lnTo>
                    <a:lnTo>
                      <a:pt x="1330" y="808"/>
                    </a:lnTo>
                    <a:lnTo>
                      <a:pt x="1276" y="852"/>
                    </a:lnTo>
                    <a:lnTo>
                      <a:pt x="1224" y="894"/>
                    </a:lnTo>
                    <a:lnTo>
                      <a:pt x="1171" y="931"/>
                    </a:lnTo>
                    <a:lnTo>
                      <a:pt x="1119" y="965"/>
                    </a:lnTo>
                    <a:lnTo>
                      <a:pt x="1066" y="995"/>
                    </a:lnTo>
                    <a:lnTo>
                      <a:pt x="1011" y="1022"/>
                    </a:lnTo>
                    <a:lnTo>
                      <a:pt x="954" y="1046"/>
                    </a:lnTo>
                    <a:lnTo>
                      <a:pt x="895" y="1066"/>
                    </a:lnTo>
                    <a:lnTo>
                      <a:pt x="832" y="1084"/>
                    </a:lnTo>
                    <a:lnTo>
                      <a:pt x="765" y="1098"/>
                    </a:lnTo>
                    <a:lnTo>
                      <a:pt x="697" y="1114"/>
                    </a:lnTo>
                    <a:lnTo>
                      <a:pt x="633" y="1134"/>
                    </a:lnTo>
                    <a:lnTo>
                      <a:pt x="572" y="1157"/>
                    </a:lnTo>
                    <a:lnTo>
                      <a:pt x="516" y="1185"/>
                    </a:lnTo>
                    <a:lnTo>
                      <a:pt x="462" y="1216"/>
                    </a:lnTo>
                    <a:lnTo>
                      <a:pt x="412" y="1252"/>
                    </a:lnTo>
                    <a:lnTo>
                      <a:pt x="368" y="1290"/>
                    </a:lnTo>
                    <a:lnTo>
                      <a:pt x="326" y="1332"/>
                    </a:lnTo>
                    <a:lnTo>
                      <a:pt x="290" y="1376"/>
                    </a:lnTo>
                    <a:lnTo>
                      <a:pt x="257" y="1425"/>
                    </a:lnTo>
                    <a:lnTo>
                      <a:pt x="230" y="1476"/>
                    </a:lnTo>
                    <a:lnTo>
                      <a:pt x="206" y="1529"/>
                    </a:lnTo>
                    <a:lnTo>
                      <a:pt x="188" y="1586"/>
                    </a:lnTo>
                    <a:lnTo>
                      <a:pt x="175" y="1645"/>
                    </a:lnTo>
                    <a:lnTo>
                      <a:pt x="167" y="1706"/>
                    </a:lnTo>
                    <a:lnTo>
                      <a:pt x="165" y="1768"/>
                    </a:lnTo>
                    <a:lnTo>
                      <a:pt x="165" y="2102"/>
                    </a:lnTo>
                    <a:lnTo>
                      <a:pt x="1494" y="2102"/>
                    </a:lnTo>
                    <a:lnTo>
                      <a:pt x="1517" y="2049"/>
                    </a:lnTo>
                    <a:lnTo>
                      <a:pt x="1537" y="1995"/>
                    </a:lnTo>
                    <a:lnTo>
                      <a:pt x="1554" y="1935"/>
                    </a:lnTo>
                    <a:lnTo>
                      <a:pt x="1566" y="1873"/>
                    </a:lnTo>
                    <a:lnTo>
                      <a:pt x="1575" y="1807"/>
                    </a:lnTo>
                    <a:lnTo>
                      <a:pt x="1585" y="1722"/>
                    </a:lnTo>
                    <a:lnTo>
                      <a:pt x="1594" y="1644"/>
                    </a:lnTo>
                    <a:lnTo>
                      <a:pt x="1604" y="1572"/>
                    </a:lnTo>
                    <a:lnTo>
                      <a:pt x="1615" y="1506"/>
                    </a:lnTo>
                    <a:lnTo>
                      <a:pt x="1627" y="1446"/>
                    </a:lnTo>
                    <a:lnTo>
                      <a:pt x="1639" y="1391"/>
                    </a:lnTo>
                    <a:lnTo>
                      <a:pt x="1651" y="1341"/>
                    </a:lnTo>
                    <a:lnTo>
                      <a:pt x="1665" y="1294"/>
                    </a:lnTo>
                    <a:lnTo>
                      <a:pt x="1679" y="1253"/>
                    </a:lnTo>
                    <a:lnTo>
                      <a:pt x="1695" y="1214"/>
                    </a:lnTo>
                    <a:lnTo>
                      <a:pt x="1713" y="1179"/>
                    </a:lnTo>
                    <a:lnTo>
                      <a:pt x="1731" y="1146"/>
                    </a:lnTo>
                    <a:lnTo>
                      <a:pt x="1751" y="1116"/>
                    </a:lnTo>
                    <a:lnTo>
                      <a:pt x="1773" y="1087"/>
                    </a:lnTo>
                    <a:lnTo>
                      <a:pt x="1797" y="1061"/>
                    </a:lnTo>
                    <a:lnTo>
                      <a:pt x="1799" y="1059"/>
                    </a:lnTo>
                    <a:lnTo>
                      <a:pt x="1809" y="1046"/>
                    </a:lnTo>
                    <a:lnTo>
                      <a:pt x="1817" y="1032"/>
                    </a:lnTo>
                    <a:lnTo>
                      <a:pt x="1821" y="1016"/>
                    </a:lnTo>
                    <a:lnTo>
                      <a:pt x="1823" y="999"/>
                    </a:lnTo>
                    <a:lnTo>
                      <a:pt x="1821" y="983"/>
                    </a:lnTo>
                    <a:lnTo>
                      <a:pt x="1817" y="967"/>
                    </a:lnTo>
                    <a:lnTo>
                      <a:pt x="1809" y="953"/>
                    </a:lnTo>
                    <a:lnTo>
                      <a:pt x="1799" y="939"/>
                    </a:lnTo>
                    <a:lnTo>
                      <a:pt x="1563" y="703"/>
                    </a:lnTo>
                    <a:lnTo>
                      <a:pt x="1549" y="693"/>
                    </a:lnTo>
                    <a:lnTo>
                      <a:pt x="1535" y="685"/>
                    </a:lnTo>
                    <a:lnTo>
                      <a:pt x="1519" y="681"/>
                    </a:lnTo>
                    <a:lnTo>
                      <a:pt x="1503" y="679"/>
                    </a:lnTo>
                    <a:close/>
                    <a:moveTo>
                      <a:pt x="1915" y="165"/>
                    </a:moveTo>
                    <a:lnTo>
                      <a:pt x="1892" y="167"/>
                    </a:lnTo>
                    <a:lnTo>
                      <a:pt x="1869" y="174"/>
                    </a:lnTo>
                    <a:lnTo>
                      <a:pt x="1846" y="185"/>
                    </a:lnTo>
                    <a:lnTo>
                      <a:pt x="1826" y="201"/>
                    </a:lnTo>
                    <a:lnTo>
                      <a:pt x="1811" y="222"/>
                    </a:lnTo>
                    <a:lnTo>
                      <a:pt x="1799" y="243"/>
                    </a:lnTo>
                    <a:lnTo>
                      <a:pt x="1792" y="267"/>
                    </a:lnTo>
                    <a:lnTo>
                      <a:pt x="1790" y="291"/>
                    </a:lnTo>
                    <a:lnTo>
                      <a:pt x="1792" y="315"/>
                    </a:lnTo>
                    <a:lnTo>
                      <a:pt x="1799" y="338"/>
                    </a:lnTo>
                    <a:lnTo>
                      <a:pt x="1811" y="361"/>
                    </a:lnTo>
                    <a:lnTo>
                      <a:pt x="1826" y="380"/>
                    </a:lnTo>
                    <a:lnTo>
                      <a:pt x="1885" y="439"/>
                    </a:lnTo>
                    <a:lnTo>
                      <a:pt x="1826" y="497"/>
                    </a:lnTo>
                    <a:lnTo>
                      <a:pt x="1788" y="536"/>
                    </a:lnTo>
                    <a:lnTo>
                      <a:pt x="1708" y="616"/>
                    </a:lnTo>
                    <a:lnTo>
                      <a:pt x="1886" y="794"/>
                    </a:lnTo>
                    <a:lnTo>
                      <a:pt x="2005" y="676"/>
                    </a:lnTo>
                    <a:lnTo>
                      <a:pt x="2063" y="617"/>
                    </a:lnTo>
                    <a:lnTo>
                      <a:pt x="2122" y="676"/>
                    </a:lnTo>
                    <a:lnTo>
                      <a:pt x="2141" y="691"/>
                    </a:lnTo>
                    <a:lnTo>
                      <a:pt x="2163" y="703"/>
                    </a:lnTo>
                    <a:lnTo>
                      <a:pt x="2186" y="710"/>
                    </a:lnTo>
                    <a:lnTo>
                      <a:pt x="2211" y="712"/>
                    </a:lnTo>
                    <a:lnTo>
                      <a:pt x="2236" y="710"/>
                    </a:lnTo>
                    <a:lnTo>
                      <a:pt x="2259" y="703"/>
                    </a:lnTo>
                    <a:lnTo>
                      <a:pt x="2281" y="691"/>
                    </a:lnTo>
                    <a:lnTo>
                      <a:pt x="2301" y="676"/>
                    </a:lnTo>
                    <a:lnTo>
                      <a:pt x="2317" y="656"/>
                    </a:lnTo>
                    <a:lnTo>
                      <a:pt x="2328" y="633"/>
                    </a:lnTo>
                    <a:lnTo>
                      <a:pt x="2335" y="610"/>
                    </a:lnTo>
                    <a:lnTo>
                      <a:pt x="2337" y="587"/>
                    </a:lnTo>
                    <a:lnTo>
                      <a:pt x="2335" y="562"/>
                    </a:lnTo>
                    <a:lnTo>
                      <a:pt x="2328" y="539"/>
                    </a:lnTo>
                    <a:lnTo>
                      <a:pt x="2317" y="517"/>
                    </a:lnTo>
                    <a:lnTo>
                      <a:pt x="2301" y="497"/>
                    </a:lnTo>
                    <a:lnTo>
                      <a:pt x="2280" y="481"/>
                    </a:lnTo>
                    <a:lnTo>
                      <a:pt x="2259" y="469"/>
                    </a:lnTo>
                    <a:lnTo>
                      <a:pt x="2235" y="462"/>
                    </a:lnTo>
                    <a:lnTo>
                      <a:pt x="2211" y="460"/>
                    </a:lnTo>
                    <a:lnTo>
                      <a:pt x="2187" y="462"/>
                    </a:lnTo>
                    <a:lnTo>
                      <a:pt x="2164" y="469"/>
                    </a:lnTo>
                    <a:lnTo>
                      <a:pt x="2141" y="481"/>
                    </a:lnTo>
                    <a:lnTo>
                      <a:pt x="2122" y="497"/>
                    </a:lnTo>
                    <a:lnTo>
                      <a:pt x="2005" y="380"/>
                    </a:lnTo>
                    <a:lnTo>
                      <a:pt x="2021" y="361"/>
                    </a:lnTo>
                    <a:lnTo>
                      <a:pt x="2033" y="338"/>
                    </a:lnTo>
                    <a:lnTo>
                      <a:pt x="2040" y="315"/>
                    </a:lnTo>
                    <a:lnTo>
                      <a:pt x="2042" y="291"/>
                    </a:lnTo>
                    <a:lnTo>
                      <a:pt x="2040" y="267"/>
                    </a:lnTo>
                    <a:lnTo>
                      <a:pt x="2033" y="243"/>
                    </a:lnTo>
                    <a:lnTo>
                      <a:pt x="2021" y="222"/>
                    </a:lnTo>
                    <a:lnTo>
                      <a:pt x="2005" y="201"/>
                    </a:lnTo>
                    <a:lnTo>
                      <a:pt x="1985" y="185"/>
                    </a:lnTo>
                    <a:lnTo>
                      <a:pt x="1963" y="174"/>
                    </a:lnTo>
                    <a:lnTo>
                      <a:pt x="1940" y="167"/>
                    </a:lnTo>
                    <a:lnTo>
                      <a:pt x="1915" y="165"/>
                    </a:lnTo>
                    <a:close/>
                    <a:moveTo>
                      <a:pt x="1915" y="0"/>
                    </a:moveTo>
                    <a:lnTo>
                      <a:pt x="1953" y="2"/>
                    </a:lnTo>
                    <a:lnTo>
                      <a:pt x="1989" y="9"/>
                    </a:lnTo>
                    <a:lnTo>
                      <a:pt x="2026" y="21"/>
                    </a:lnTo>
                    <a:lnTo>
                      <a:pt x="2059" y="37"/>
                    </a:lnTo>
                    <a:lnTo>
                      <a:pt x="2092" y="58"/>
                    </a:lnTo>
                    <a:lnTo>
                      <a:pt x="2122" y="85"/>
                    </a:lnTo>
                    <a:lnTo>
                      <a:pt x="2149" y="115"/>
                    </a:lnTo>
                    <a:lnTo>
                      <a:pt x="2170" y="149"/>
                    </a:lnTo>
                    <a:lnTo>
                      <a:pt x="2186" y="183"/>
                    </a:lnTo>
                    <a:lnTo>
                      <a:pt x="2198" y="220"/>
                    </a:lnTo>
                    <a:lnTo>
                      <a:pt x="2205" y="257"/>
                    </a:lnTo>
                    <a:lnTo>
                      <a:pt x="2207" y="295"/>
                    </a:lnTo>
                    <a:lnTo>
                      <a:pt x="2245" y="297"/>
                    </a:lnTo>
                    <a:lnTo>
                      <a:pt x="2282" y="304"/>
                    </a:lnTo>
                    <a:lnTo>
                      <a:pt x="2319" y="316"/>
                    </a:lnTo>
                    <a:lnTo>
                      <a:pt x="2353" y="332"/>
                    </a:lnTo>
                    <a:lnTo>
                      <a:pt x="2387" y="353"/>
                    </a:lnTo>
                    <a:lnTo>
                      <a:pt x="2417" y="380"/>
                    </a:lnTo>
                    <a:lnTo>
                      <a:pt x="2444" y="410"/>
                    </a:lnTo>
                    <a:lnTo>
                      <a:pt x="2465" y="443"/>
                    </a:lnTo>
                    <a:lnTo>
                      <a:pt x="2481" y="476"/>
                    </a:lnTo>
                    <a:lnTo>
                      <a:pt x="2493" y="513"/>
                    </a:lnTo>
                    <a:lnTo>
                      <a:pt x="2500" y="549"/>
                    </a:lnTo>
                    <a:lnTo>
                      <a:pt x="2502" y="587"/>
                    </a:lnTo>
                    <a:lnTo>
                      <a:pt x="2500" y="623"/>
                    </a:lnTo>
                    <a:lnTo>
                      <a:pt x="2493" y="660"/>
                    </a:lnTo>
                    <a:lnTo>
                      <a:pt x="2481" y="696"/>
                    </a:lnTo>
                    <a:lnTo>
                      <a:pt x="2465" y="731"/>
                    </a:lnTo>
                    <a:lnTo>
                      <a:pt x="2444" y="762"/>
                    </a:lnTo>
                    <a:lnTo>
                      <a:pt x="2417" y="792"/>
                    </a:lnTo>
                    <a:lnTo>
                      <a:pt x="2388" y="818"/>
                    </a:lnTo>
                    <a:lnTo>
                      <a:pt x="2356" y="839"/>
                    </a:lnTo>
                    <a:lnTo>
                      <a:pt x="2323" y="855"/>
                    </a:lnTo>
                    <a:lnTo>
                      <a:pt x="2286" y="867"/>
                    </a:lnTo>
                    <a:lnTo>
                      <a:pt x="2250" y="875"/>
                    </a:lnTo>
                    <a:lnTo>
                      <a:pt x="2211" y="877"/>
                    </a:lnTo>
                    <a:lnTo>
                      <a:pt x="2174" y="875"/>
                    </a:lnTo>
                    <a:lnTo>
                      <a:pt x="2138" y="868"/>
                    </a:lnTo>
                    <a:lnTo>
                      <a:pt x="2105" y="857"/>
                    </a:lnTo>
                    <a:lnTo>
                      <a:pt x="2072" y="842"/>
                    </a:lnTo>
                    <a:lnTo>
                      <a:pt x="1986" y="928"/>
                    </a:lnTo>
                    <a:lnTo>
                      <a:pt x="1979" y="934"/>
                    </a:lnTo>
                    <a:lnTo>
                      <a:pt x="1986" y="967"/>
                    </a:lnTo>
                    <a:lnTo>
                      <a:pt x="1988" y="999"/>
                    </a:lnTo>
                    <a:lnTo>
                      <a:pt x="1986" y="1033"/>
                    </a:lnTo>
                    <a:lnTo>
                      <a:pt x="1980" y="1064"/>
                    </a:lnTo>
                    <a:lnTo>
                      <a:pt x="1970" y="1094"/>
                    </a:lnTo>
                    <a:lnTo>
                      <a:pt x="1956" y="1123"/>
                    </a:lnTo>
                    <a:lnTo>
                      <a:pt x="1938" y="1150"/>
                    </a:lnTo>
                    <a:lnTo>
                      <a:pt x="1916" y="1174"/>
                    </a:lnTo>
                    <a:lnTo>
                      <a:pt x="1897" y="1197"/>
                    </a:lnTo>
                    <a:lnTo>
                      <a:pt x="1880" y="1221"/>
                    </a:lnTo>
                    <a:lnTo>
                      <a:pt x="1864" y="1247"/>
                    </a:lnTo>
                    <a:lnTo>
                      <a:pt x="1849" y="1278"/>
                    </a:lnTo>
                    <a:lnTo>
                      <a:pt x="1834" y="1311"/>
                    </a:lnTo>
                    <a:lnTo>
                      <a:pt x="1821" y="1348"/>
                    </a:lnTo>
                    <a:lnTo>
                      <a:pt x="1809" y="1389"/>
                    </a:lnTo>
                    <a:lnTo>
                      <a:pt x="1798" y="1435"/>
                    </a:lnTo>
                    <a:lnTo>
                      <a:pt x="1787" y="1485"/>
                    </a:lnTo>
                    <a:lnTo>
                      <a:pt x="1777" y="1540"/>
                    </a:lnTo>
                    <a:lnTo>
                      <a:pt x="1767" y="1602"/>
                    </a:lnTo>
                    <a:lnTo>
                      <a:pt x="1757" y="1670"/>
                    </a:lnTo>
                    <a:lnTo>
                      <a:pt x="1748" y="1744"/>
                    </a:lnTo>
                    <a:lnTo>
                      <a:pt x="1739" y="1824"/>
                    </a:lnTo>
                    <a:lnTo>
                      <a:pt x="1729" y="1899"/>
                    </a:lnTo>
                    <a:lnTo>
                      <a:pt x="1715" y="1970"/>
                    </a:lnTo>
                    <a:lnTo>
                      <a:pt x="1696" y="2037"/>
                    </a:lnTo>
                    <a:lnTo>
                      <a:pt x="1674" y="2102"/>
                    </a:lnTo>
                    <a:lnTo>
                      <a:pt x="2169" y="2102"/>
                    </a:lnTo>
                    <a:lnTo>
                      <a:pt x="2169" y="2267"/>
                    </a:lnTo>
                    <a:lnTo>
                      <a:pt x="0" y="2267"/>
                    </a:lnTo>
                    <a:lnTo>
                      <a:pt x="0" y="1768"/>
                    </a:lnTo>
                    <a:lnTo>
                      <a:pt x="2" y="1700"/>
                    </a:lnTo>
                    <a:lnTo>
                      <a:pt x="10" y="1633"/>
                    </a:lnTo>
                    <a:lnTo>
                      <a:pt x="23" y="1567"/>
                    </a:lnTo>
                    <a:lnTo>
                      <a:pt x="40" y="1504"/>
                    </a:lnTo>
                    <a:lnTo>
                      <a:pt x="63" y="1443"/>
                    </a:lnTo>
                    <a:lnTo>
                      <a:pt x="91" y="1384"/>
                    </a:lnTo>
                    <a:lnTo>
                      <a:pt x="122" y="1330"/>
                    </a:lnTo>
                    <a:lnTo>
                      <a:pt x="159" y="1277"/>
                    </a:lnTo>
                    <a:lnTo>
                      <a:pt x="199" y="1226"/>
                    </a:lnTo>
                    <a:lnTo>
                      <a:pt x="244" y="1180"/>
                    </a:lnTo>
                    <a:lnTo>
                      <a:pt x="293" y="1136"/>
                    </a:lnTo>
                    <a:lnTo>
                      <a:pt x="345" y="1096"/>
                    </a:lnTo>
                    <a:lnTo>
                      <a:pt x="402" y="1060"/>
                    </a:lnTo>
                    <a:lnTo>
                      <a:pt x="462" y="1028"/>
                    </a:lnTo>
                    <a:lnTo>
                      <a:pt x="525" y="998"/>
                    </a:lnTo>
                    <a:lnTo>
                      <a:pt x="592" y="973"/>
                    </a:lnTo>
                    <a:lnTo>
                      <a:pt x="662" y="953"/>
                    </a:lnTo>
                    <a:lnTo>
                      <a:pt x="735" y="936"/>
                    </a:lnTo>
                    <a:lnTo>
                      <a:pt x="791" y="924"/>
                    </a:lnTo>
                    <a:lnTo>
                      <a:pt x="845" y="909"/>
                    </a:lnTo>
                    <a:lnTo>
                      <a:pt x="897" y="891"/>
                    </a:lnTo>
                    <a:lnTo>
                      <a:pt x="945" y="870"/>
                    </a:lnTo>
                    <a:lnTo>
                      <a:pt x="993" y="846"/>
                    </a:lnTo>
                    <a:lnTo>
                      <a:pt x="1040" y="820"/>
                    </a:lnTo>
                    <a:lnTo>
                      <a:pt x="1085" y="789"/>
                    </a:lnTo>
                    <a:lnTo>
                      <a:pt x="1131" y="756"/>
                    </a:lnTo>
                    <a:lnTo>
                      <a:pt x="1177" y="719"/>
                    </a:lnTo>
                    <a:lnTo>
                      <a:pt x="1225" y="679"/>
                    </a:lnTo>
                    <a:lnTo>
                      <a:pt x="1275" y="634"/>
                    </a:lnTo>
                    <a:lnTo>
                      <a:pt x="1327" y="586"/>
                    </a:lnTo>
                    <a:lnTo>
                      <a:pt x="1352" y="564"/>
                    </a:lnTo>
                    <a:lnTo>
                      <a:pt x="1379" y="546"/>
                    </a:lnTo>
                    <a:lnTo>
                      <a:pt x="1408" y="532"/>
                    </a:lnTo>
                    <a:lnTo>
                      <a:pt x="1438" y="522"/>
                    </a:lnTo>
                    <a:lnTo>
                      <a:pt x="1469" y="516"/>
                    </a:lnTo>
                    <a:lnTo>
                      <a:pt x="1503" y="514"/>
                    </a:lnTo>
                    <a:lnTo>
                      <a:pt x="1535" y="516"/>
                    </a:lnTo>
                    <a:lnTo>
                      <a:pt x="1568" y="523"/>
                    </a:lnTo>
                    <a:lnTo>
                      <a:pt x="1660" y="430"/>
                    </a:lnTo>
                    <a:lnTo>
                      <a:pt x="1644" y="396"/>
                    </a:lnTo>
                    <a:lnTo>
                      <a:pt x="1633" y="361"/>
                    </a:lnTo>
                    <a:lnTo>
                      <a:pt x="1627" y="324"/>
                    </a:lnTo>
                    <a:lnTo>
                      <a:pt x="1624" y="288"/>
                    </a:lnTo>
                    <a:lnTo>
                      <a:pt x="1628" y="251"/>
                    </a:lnTo>
                    <a:lnTo>
                      <a:pt x="1635" y="215"/>
                    </a:lnTo>
                    <a:lnTo>
                      <a:pt x="1647" y="180"/>
                    </a:lnTo>
                    <a:lnTo>
                      <a:pt x="1663" y="146"/>
                    </a:lnTo>
                    <a:lnTo>
                      <a:pt x="1684" y="114"/>
                    </a:lnTo>
                    <a:lnTo>
                      <a:pt x="1710" y="85"/>
                    </a:lnTo>
                    <a:lnTo>
                      <a:pt x="1740" y="58"/>
                    </a:lnTo>
                    <a:lnTo>
                      <a:pt x="1771" y="37"/>
                    </a:lnTo>
                    <a:lnTo>
                      <a:pt x="1806" y="21"/>
                    </a:lnTo>
                    <a:lnTo>
                      <a:pt x="1842" y="9"/>
                    </a:lnTo>
                    <a:lnTo>
                      <a:pt x="1879" y="2"/>
                    </a:lnTo>
                    <a:lnTo>
                      <a:pt x="191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88" name="Gruppieren 87"/>
            <p:cNvGrpSpPr>
              <a:grpSpLocks noChangeAspect="1"/>
            </p:cNvGrpSpPr>
            <p:nvPr/>
          </p:nvGrpSpPr>
          <p:grpSpPr>
            <a:xfrm>
              <a:off x="5394637" y="5144518"/>
              <a:ext cx="451606" cy="453648"/>
              <a:chOff x="11946386" y="1508230"/>
              <a:chExt cx="346555" cy="348117"/>
            </a:xfrm>
          </p:grpSpPr>
          <p:sp>
            <p:nvSpPr>
              <p:cNvPr id="89" name="Rectangle 148"/>
              <p:cNvSpPr>
                <a:spLocks noChangeArrowheads="1"/>
              </p:cNvSpPr>
              <p:nvPr/>
            </p:nvSpPr>
            <p:spPr bwMode="auto">
              <a:xfrm>
                <a:off x="11946386" y="1508230"/>
                <a:ext cx="346555" cy="348117"/>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90" name="Rectangle 149"/>
              <p:cNvSpPr>
                <a:spLocks noChangeArrowheads="1"/>
              </p:cNvSpPr>
              <p:nvPr/>
            </p:nvSpPr>
            <p:spPr bwMode="auto">
              <a:xfrm>
                <a:off x="11946386" y="1508230"/>
                <a:ext cx="346555" cy="348117"/>
              </a:xfrm>
              <a:prstGeom prst="rect">
                <a:avLst/>
              </a:prstGeom>
              <a:solidFill>
                <a:srgbClr val="6D35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1" name="Freeform 150"/>
              <p:cNvSpPr>
                <a:spLocks noEditPoints="1"/>
              </p:cNvSpPr>
              <p:nvPr/>
            </p:nvSpPr>
            <p:spPr bwMode="auto">
              <a:xfrm>
                <a:off x="12032244" y="1569111"/>
                <a:ext cx="216987" cy="226354"/>
              </a:xfrm>
              <a:custGeom>
                <a:avLst/>
                <a:gdLst>
                  <a:gd name="T0" fmla="*/ 1704 w 2077"/>
                  <a:gd name="T1" fmla="*/ 1254 h 2170"/>
                  <a:gd name="T2" fmla="*/ 1800 w 2077"/>
                  <a:gd name="T3" fmla="*/ 1229 h 2170"/>
                  <a:gd name="T4" fmla="*/ 1872 w 2077"/>
                  <a:gd name="T5" fmla="*/ 1168 h 2170"/>
                  <a:gd name="T6" fmla="*/ 1910 w 2077"/>
                  <a:gd name="T7" fmla="*/ 1077 h 2170"/>
                  <a:gd name="T8" fmla="*/ 1903 w 2077"/>
                  <a:gd name="T9" fmla="*/ 977 h 2170"/>
                  <a:gd name="T10" fmla="*/ 1851 w 2077"/>
                  <a:gd name="T11" fmla="*/ 895 h 2170"/>
                  <a:gd name="T12" fmla="*/ 1770 w 2077"/>
                  <a:gd name="T13" fmla="*/ 844 h 2170"/>
                  <a:gd name="T14" fmla="*/ 1579 w 2077"/>
                  <a:gd name="T15" fmla="*/ 834 h 2170"/>
                  <a:gd name="T16" fmla="*/ 169 w 2077"/>
                  <a:gd name="T17" fmla="*/ 1441 h 2170"/>
                  <a:gd name="T18" fmla="*/ 214 w 2077"/>
                  <a:gd name="T19" fmla="*/ 1622 h 2170"/>
                  <a:gd name="T20" fmla="*/ 308 w 2077"/>
                  <a:gd name="T21" fmla="*/ 1776 h 2170"/>
                  <a:gd name="T22" fmla="*/ 441 w 2077"/>
                  <a:gd name="T23" fmla="*/ 1897 h 2170"/>
                  <a:gd name="T24" fmla="*/ 605 w 2077"/>
                  <a:gd name="T25" fmla="*/ 1977 h 2170"/>
                  <a:gd name="T26" fmla="*/ 790 w 2077"/>
                  <a:gd name="T27" fmla="*/ 2005 h 2170"/>
                  <a:gd name="T28" fmla="*/ 975 w 2077"/>
                  <a:gd name="T29" fmla="*/ 1977 h 2170"/>
                  <a:gd name="T30" fmla="*/ 1139 w 2077"/>
                  <a:gd name="T31" fmla="*/ 1897 h 2170"/>
                  <a:gd name="T32" fmla="*/ 1271 w 2077"/>
                  <a:gd name="T33" fmla="*/ 1776 h 2170"/>
                  <a:gd name="T34" fmla="*/ 1365 w 2077"/>
                  <a:gd name="T35" fmla="*/ 1622 h 2170"/>
                  <a:gd name="T36" fmla="*/ 1411 w 2077"/>
                  <a:gd name="T37" fmla="*/ 1441 h 2170"/>
                  <a:gd name="T38" fmla="*/ 166 w 2077"/>
                  <a:gd name="T39" fmla="*/ 834 h 2170"/>
                  <a:gd name="T40" fmla="*/ 1704 w 2077"/>
                  <a:gd name="T41" fmla="*/ 669 h 2170"/>
                  <a:gd name="T42" fmla="*/ 1839 w 2077"/>
                  <a:gd name="T43" fmla="*/ 694 h 2170"/>
                  <a:gd name="T44" fmla="*/ 1952 w 2077"/>
                  <a:gd name="T45" fmla="*/ 763 h 2170"/>
                  <a:gd name="T46" fmla="*/ 2034 w 2077"/>
                  <a:gd name="T47" fmla="*/ 868 h 2170"/>
                  <a:gd name="T48" fmla="*/ 2074 w 2077"/>
                  <a:gd name="T49" fmla="*/ 996 h 2170"/>
                  <a:gd name="T50" fmla="*/ 2066 w 2077"/>
                  <a:gd name="T51" fmla="*/ 1136 h 2170"/>
                  <a:gd name="T52" fmla="*/ 2011 w 2077"/>
                  <a:gd name="T53" fmla="*/ 1258 h 2170"/>
                  <a:gd name="T54" fmla="*/ 1917 w 2077"/>
                  <a:gd name="T55" fmla="*/ 1351 h 2170"/>
                  <a:gd name="T56" fmla="*/ 1796 w 2077"/>
                  <a:gd name="T57" fmla="*/ 1407 h 2170"/>
                  <a:gd name="T58" fmla="*/ 1578 w 2077"/>
                  <a:gd name="T59" fmla="*/ 1419 h 2170"/>
                  <a:gd name="T60" fmla="*/ 1539 w 2077"/>
                  <a:gd name="T61" fmla="*/ 1625 h 2170"/>
                  <a:gd name="T62" fmla="*/ 1452 w 2077"/>
                  <a:gd name="T63" fmla="*/ 1807 h 2170"/>
                  <a:gd name="T64" fmla="*/ 1322 w 2077"/>
                  <a:gd name="T65" fmla="*/ 1961 h 2170"/>
                  <a:gd name="T66" fmla="*/ 1580 w 2077"/>
                  <a:gd name="T67" fmla="*/ 2170 h 2170"/>
                  <a:gd name="T68" fmla="*/ 309 w 2077"/>
                  <a:gd name="T69" fmla="*/ 2005 h 2170"/>
                  <a:gd name="T70" fmla="*/ 172 w 2077"/>
                  <a:gd name="T71" fmla="*/ 1869 h 2170"/>
                  <a:gd name="T72" fmla="*/ 71 w 2077"/>
                  <a:gd name="T73" fmla="*/ 1703 h 2170"/>
                  <a:gd name="T74" fmla="*/ 13 w 2077"/>
                  <a:gd name="T75" fmla="*/ 1513 h 2170"/>
                  <a:gd name="T76" fmla="*/ 2 w 2077"/>
                  <a:gd name="T77" fmla="*/ 669 h 2170"/>
                  <a:gd name="T78" fmla="*/ 1246 w 2077"/>
                  <a:gd name="T79" fmla="*/ 501 h 2170"/>
                  <a:gd name="T80" fmla="*/ 708 w 2077"/>
                  <a:gd name="T81" fmla="*/ 0 h 2170"/>
                  <a:gd name="T82" fmla="*/ 708 w 2077"/>
                  <a:gd name="T83" fmla="*/ 501 h 2170"/>
                  <a:gd name="T84" fmla="*/ 498 w 2077"/>
                  <a:gd name="T85" fmla="*/ 0 h 2170"/>
                  <a:gd name="T86" fmla="*/ 333 w 2077"/>
                  <a:gd name="T87" fmla="*/ 0 h 2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77" h="2170">
                    <a:moveTo>
                      <a:pt x="1579" y="834"/>
                    </a:moveTo>
                    <a:lnTo>
                      <a:pt x="1579" y="1254"/>
                    </a:lnTo>
                    <a:lnTo>
                      <a:pt x="1704" y="1254"/>
                    </a:lnTo>
                    <a:lnTo>
                      <a:pt x="1738" y="1251"/>
                    </a:lnTo>
                    <a:lnTo>
                      <a:pt x="1770" y="1243"/>
                    </a:lnTo>
                    <a:lnTo>
                      <a:pt x="1800" y="1229"/>
                    </a:lnTo>
                    <a:lnTo>
                      <a:pt x="1827" y="1213"/>
                    </a:lnTo>
                    <a:lnTo>
                      <a:pt x="1851" y="1192"/>
                    </a:lnTo>
                    <a:lnTo>
                      <a:pt x="1872" y="1168"/>
                    </a:lnTo>
                    <a:lnTo>
                      <a:pt x="1890" y="1140"/>
                    </a:lnTo>
                    <a:lnTo>
                      <a:pt x="1903" y="1110"/>
                    </a:lnTo>
                    <a:lnTo>
                      <a:pt x="1910" y="1077"/>
                    </a:lnTo>
                    <a:lnTo>
                      <a:pt x="1913" y="1044"/>
                    </a:lnTo>
                    <a:lnTo>
                      <a:pt x="1910" y="1010"/>
                    </a:lnTo>
                    <a:lnTo>
                      <a:pt x="1903" y="977"/>
                    </a:lnTo>
                    <a:lnTo>
                      <a:pt x="1890" y="948"/>
                    </a:lnTo>
                    <a:lnTo>
                      <a:pt x="1872" y="920"/>
                    </a:lnTo>
                    <a:lnTo>
                      <a:pt x="1851" y="895"/>
                    </a:lnTo>
                    <a:lnTo>
                      <a:pt x="1827" y="875"/>
                    </a:lnTo>
                    <a:lnTo>
                      <a:pt x="1800" y="857"/>
                    </a:lnTo>
                    <a:lnTo>
                      <a:pt x="1770" y="844"/>
                    </a:lnTo>
                    <a:lnTo>
                      <a:pt x="1738" y="836"/>
                    </a:lnTo>
                    <a:lnTo>
                      <a:pt x="1704" y="834"/>
                    </a:lnTo>
                    <a:lnTo>
                      <a:pt x="1579" y="834"/>
                    </a:lnTo>
                    <a:close/>
                    <a:moveTo>
                      <a:pt x="166" y="834"/>
                    </a:moveTo>
                    <a:lnTo>
                      <a:pt x="166" y="1377"/>
                    </a:lnTo>
                    <a:lnTo>
                      <a:pt x="169" y="1441"/>
                    </a:lnTo>
                    <a:lnTo>
                      <a:pt x="178" y="1504"/>
                    </a:lnTo>
                    <a:lnTo>
                      <a:pt x="193" y="1564"/>
                    </a:lnTo>
                    <a:lnTo>
                      <a:pt x="214" y="1622"/>
                    </a:lnTo>
                    <a:lnTo>
                      <a:pt x="241" y="1676"/>
                    </a:lnTo>
                    <a:lnTo>
                      <a:pt x="272" y="1728"/>
                    </a:lnTo>
                    <a:lnTo>
                      <a:pt x="308" y="1776"/>
                    </a:lnTo>
                    <a:lnTo>
                      <a:pt x="349" y="1820"/>
                    </a:lnTo>
                    <a:lnTo>
                      <a:pt x="393" y="1861"/>
                    </a:lnTo>
                    <a:lnTo>
                      <a:pt x="441" y="1897"/>
                    </a:lnTo>
                    <a:lnTo>
                      <a:pt x="493" y="1929"/>
                    </a:lnTo>
                    <a:lnTo>
                      <a:pt x="547" y="1955"/>
                    </a:lnTo>
                    <a:lnTo>
                      <a:pt x="605" y="1977"/>
                    </a:lnTo>
                    <a:lnTo>
                      <a:pt x="664" y="1992"/>
                    </a:lnTo>
                    <a:lnTo>
                      <a:pt x="726" y="2001"/>
                    </a:lnTo>
                    <a:lnTo>
                      <a:pt x="790" y="2005"/>
                    </a:lnTo>
                    <a:lnTo>
                      <a:pt x="853" y="2001"/>
                    </a:lnTo>
                    <a:lnTo>
                      <a:pt x="916" y="1992"/>
                    </a:lnTo>
                    <a:lnTo>
                      <a:pt x="975" y="1977"/>
                    </a:lnTo>
                    <a:lnTo>
                      <a:pt x="1033" y="1955"/>
                    </a:lnTo>
                    <a:lnTo>
                      <a:pt x="1087" y="1929"/>
                    </a:lnTo>
                    <a:lnTo>
                      <a:pt x="1139" y="1897"/>
                    </a:lnTo>
                    <a:lnTo>
                      <a:pt x="1187" y="1861"/>
                    </a:lnTo>
                    <a:lnTo>
                      <a:pt x="1232" y="1820"/>
                    </a:lnTo>
                    <a:lnTo>
                      <a:pt x="1271" y="1776"/>
                    </a:lnTo>
                    <a:lnTo>
                      <a:pt x="1307" y="1728"/>
                    </a:lnTo>
                    <a:lnTo>
                      <a:pt x="1339" y="1676"/>
                    </a:lnTo>
                    <a:lnTo>
                      <a:pt x="1365" y="1622"/>
                    </a:lnTo>
                    <a:lnTo>
                      <a:pt x="1386" y="1564"/>
                    </a:lnTo>
                    <a:lnTo>
                      <a:pt x="1401" y="1504"/>
                    </a:lnTo>
                    <a:lnTo>
                      <a:pt x="1411" y="1441"/>
                    </a:lnTo>
                    <a:lnTo>
                      <a:pt x="1414" y="1377"/>
                    </a:lnTo>
                    <a:lnTo>
                      <a:pt x="1414" y="834"/>
                    </a:lnTo>
                    <a:lnTo>
                      <a:pt x="166" y="834"/>
                    </a:lnTo>
                    <a:close/>
                    <a:moveTo>
                      <a:pt x="2" y="669"/>
                    </a:moveTo>
                    <a:lnTo>
                      <a:pt x="1579" y="669"/>
                    </a:lnTo>
                    <a:lnTo>
                      <a:pt x="1704" y="669"/>
                    </a:lnTo>
                    <a:lnTo>
                      <a:pt x="1751" y="672"/>
                    </a:lnTo>
                    <a:lnTo>
                      <a:pt x="1796" y="680"/>
                    </a:lnTo>
                    <a:lnTo>
                      <a:pt x="1839" y="694"/>
                    </a:lnTo>
                    <a:lnTo>
                      <a:pt x="1879" y="713"/>
                    </a:lnTo>
                    <a:lnTo>
                      <a:pt x="1917" y="736"/>
                    </a:lnTo>
                    <a:lnTo>
                      <a:pt x="1952" y="763"/>
                    </a:lnTo>
                    <a:lnTo>
                      <a:pt x="1983" y="795"/>
                    </a:lnTo>
                    <a:lnTo>
                      <a:pt x="2011" y="829"/>
                    </a:lnTo>
                    <a:lnTo>
                      <a:pt x="2034" y="868"/>
                    </a:lnTo>
                    <a:lnTo>
                      <a:pt x="2052" y="908"/>
                    </a:lnTo>
                    <a:lnTo>
                      <a:pt x="2066" y="952"/>
                    </a:lnTo>
                    <a:lnTo>
                      <a:pt x="2074" y="996"/>
                    </a:lnTo>
                    <a:lnTo>
                      <a:pt x="2077" y="1044"/>
                    </a:lnTo>
                    <a:lnTo>
                      <a:pt x="2074" y="1091"/>
                    </a:lnTo>
                    <a:lnTo>
                      <a:pt x="2066" y="1136"/>
                    </a:lnTo>
                    <a:lnTo>
                      <a:pt x="2052" y="1179"/>
                    </a:lnTo>
                    <a:lnTo>
                      <a:pt x="2034" y="1219"/>
                    </a:lnTo>
                    <a:lnTo>
                      <a:pt x="2011" y="1258"/>
                    </a:lnTo>
                    <a:lnTo>
                      <a:pt x="1983" y="1292"/>
                    </a:lnTo>
                    <a:lnTo>
                      <a:pt x="1952" y="1324"/>
                    </a:lnTo>
                    <a:lnTo>
                      <a:pt x="1917" y="1351"/>
                    </a:lnTo>
                    <a:lnTo>
                      <a:pt x="1879" y="1374"/>
                    </a:lnTo>
                    <a:lnTo>
                      <a:pt x="1839" y="1394"/>
                    </a:lnTo>
                    <a:lnTo>
                      <a:pt x="1796" y="1407"/>
                    </a:lnTo>
                    <a:lnTo>
                      <a:pt x="1751" y="1416"/>
                    </a:lnTo>
                    <a:lnTo>
                      <a:pt x="1704" y="1419"/>
                    </a:lnTo>
                    <a:lnTo>
                      <a:pt x="1578" y="1419"/>
                    </a:lnTo>
                    <a:lnTo>
                      <a:pt x="1571" y="1489"/>
                    </a:lnTo>
                    <a:lnTo>
                      <a:pt x="1558" y="1558"/>
                    </a:lnTo>
                    <a:lnTo>
                      <a:pt x="1539" y="1625"/>
                    </a:lnTo>
                    <a:lnTo>
                      <a:pt x="1515" y="1689"/>
                    </a:lnTo>
                    <a:lnTo>
                      <a:pt x="1486" y="1749"/>
                    </a:lnTo>
                    <a:lnTo>
                      <a:pt x="1452" y="1807"/>
                    </a:lnTo>
                    <a:lnTo>
                      <a:pt x="1413" y="1863"/>
                    </a:lnTo>
                    <a:lnTo>
                      <a:pt x="1370" y="1914"/>
                    </a:lnTo>
                    <a:lnTo>
                      <a:pt x="1322" y="1961"/>
                    </a:lnTo>
                    <a:lnTo>
                      <a:pt x="1271" y="2005"/>
                    </a:lnTo>
                    <a:lnTo>
                      <a:pt x="1580" y="2005"/>
                    </a:lnTo>
                    <a:lnTo>
                      <a:pt x="1580" y="2170"/>
                    </a:lnTo>
                    <a:lnTo>
                      <a:pt x="0" y="2170"/>
                    </a:lnTo>
                    <a:lnTo>
                      <a:pt x="0" y="2005"/>
                    </a:lnTo>
                    <a:lnTo>
                      <a:pt x="309" y="2005"/>
                    </a:lnTo>
                    <a:lnTo>
                      <a:pt x="260" y="1963"/>
                    </a:lnTo>
                    <a:lnTo>
                      <a:pt x="214" y="1918"/>
                    </a:lnTo>
                    <a:lnTo>
                      <a:pt x="172" y="1869"/>
                    </a:lnTo>
                    <a:lnTo>
                      <a:pt x="135" y="1816"/>
                    </a:lnTo>
                    <a:lnTo>
                      <a:pt x="100" y="1761"/>
                    </a:lnTo>
                    <a:lnTo>
                      <a:pt x="71" y="1703"/>
                    </a:lnTo>
                    <a:lnTo>
                      <a:pt x="47" y="1642"/>
                    </a:lnTo>
                    <a:lnTo>
                      <a:pt x="27" y="1579"/>
                    </a:lnTo>
                    <a:lnTo>
                      <a:pt x="13" y="1513"/>
                    </a:lnTo>
                    <a:lnTo>
                      <a:pt x="5" y="1446"/>
                    </a:lnTo>
                    <a:lnTo>
                      <a:pt x="2" y="1377"/>
                    </a:lnTo>
                    <a:lnTo>
                      <a:pt x="2" y="669"/>
                    </a:lnTo>
                    <a:close/>
                    <a:moveTo>
                      <a:pt x="1081" y="0"/>
                    </a:moveTo>
                    <a:lnTo>
                      <a:pt x="1246" y="0"/>
                    </a:lnTo>
                    <a:lnTo>
                      <a:pt x="1246" y="501"/>
                    </a:lnTo>
                    <a:lnTo>
                      <a:pt x="1081" y="501"/>
                    </a:lnTo>
                    <a:lnTo>
                      <a:pt x="1081" y="0"/>
                    </a:lnTo>
                    <a:close/>
                    <a:moveTo>
                      <a:pt x="708" y="0"/>
                    </a:moveTo>
                    <a:lnTo>
                      <a:pt x="872" y="0"/>
                    </a:lnTo>
                    <a:lnTo>
                      <a:pt x="872" y="501"/>
                    </a:lnTo>
                    <a:lnTo>
                      <a:pt x="708" y="501"/>
                    </a:lnTo>
                    <a:lnTo>
                      <a:pt x="708" y="0"/>
                    </a:lnTo>
                    <a:close/>
                    <a:moveTo>
                      <a:pt x="333" y="0"/>
                    </a:moveTo>
                    <a:lnTo>
                      <a:pt x="498" y="0"/>
                    </a:lnTo>
                    <a:lnTo>
                      <a:pt x="498" y="501"/>
                    </a:lnTo>
                    <a:lnTo>
                      <a:pt x="333" y="501"/>
                    </a:lnTo>
                    <a:lnTo>
                      <a:pt x="33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92" name="Gruppieren 91"/>
            <p:cNvGrpSpPr>
              <a:grpSpLocks noChangeAspect="1"/>
            </p:cNvGrpSpPr>
            <p:nvPr/>
          </p:nvGrpSpPr>
          <p:grpSpPr>
            <a:xfrm>
              <a:off x="6693281" y="2331528"/>
              <a:ext cx="451606" cy="453648"/>
              <a:chOff x="11946386" y="2327575"/>
              <a:chExt cx="346555" cy="348117"/>
            </a:xfrm>
          </p:grpSpPr>
          <p:sp>
            <p:nvSpPr>
              <p:cNvPr id="93" name="Rectangle 28"/>
              <p:cNvSpPr>
                <a:spLocks noChangeArrowheads="1"/>
              </p:cNvSpPr>
              <p:nvPr/>
            </p:nvSpPr>
            <p:spPr bwMode="auto">
              <a:xfrm>
                <a:off x="11946386" y="2327575"/>
                <a:ext cx="346555" cy="348117"/>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94" name="Rectangle 29"/>
              <p:cNvSpPr>
                <a:spLocks noChangeArrowheads="1"/>
              </p:cNvSpPr>
              <p:nvPr/>
            </p:nvSpPr>
            <p:spPr bwMode="auto">
              <a:xfrm>
                <a:off x="11946386" y="2327575"/>
                <a:ext cx="346555" cy="348117"/>
              </a:xfrm>
              <a:prstGeom prst="rect">
                <a:avLst/>
              </a:prstGeom>
              <a:solidFill>
                <a:srgbClr val="007D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5" name="Freeform 30"/>
              <p:cNvSpPr>
                <a:spLocks noEditPoints="1"/>
              </p:cNvSpPr>
              <p:nvPr/>
            </p:nvSpPr>
            <p:spPr bwMode="auto">
              <a:xfrm>
                <a:off x="12058782" y="2363479"/>
                <a:ext cx="120202" cy="268503"/>
              </a:xfrm>
              <a:custGeom>
                <a:avLst/>
                <a:gdLst>
                  <a:gd name="T0" fmla="*/ 169 w 1161"/>
                  <a:gd name="T1" fmla="*/ 1639 h 2584"/>
                  <a:gd name="T2" fmla="*/ 202 w 1161"/>
                  <a:gd name="T3" fmla="*/ 1733 h 2584"/>
                  <a:gd name="T4" fmla="*/ 241 w 1161"/>
                  <a:gd name="T5" fmla="*/ 1847 h 2584"/>
                  <a:gd name="T6" fmla="*/ 240 w 1161"/>
                  <a:gd name="T7" fmla="*/ 1991 h 2584"/>
                  <a:gd name="T8" fmla="*/ 201 w 1161"/>
                  <a:gd name="T9" fmla="*/ 2111 h 2584"/>
                  <a:gd name="T10" fmla="*/ 166 w 1161"/>
                  <a:gd name="T11" fmla="*/ 2221 h 2584"/>
                  <a:gd name="T12" fmla="*/ 187 w 1161"/>
                  <a:gd name="T13" fmla="*/ 2337 h 2584"/>
                  <a:gd name="T14" fmla="*/ 273 w 1161"/>
                  <a:gd name="T15" fmla="*/ 2409 h 2584"/>
                  <a:gd name="T16" fmla="*/ 860 w 1161"/>
                  <a:gd name="T17" fmla="*/ 2417 h 2584"/>
                  <a:gd name="T18" fmla="*/ 957 w 1161"/>
                  <a:gd name="T19" fmla="*/ 2360 h 2584"/>
                  <a:gd name="T20" fmla="*/ 997 w 1161"/>
                  <a:gd name="T21" fmla="*/ 2252 h 2584"/>
                  <a:gd name="T22" fmla="*/ 973 w 1161"/>
                  <a:gd name="T23" fmla="*/ 2138 h 2584"/>
                  <a:gd name="T24" fmla="*/ 929 w 1161"/>
                  <a:gd name="T25" fmla="*/ 2024 h 2584"/>
                  <a:gd name="T26" fmla="*/ 916 w 1161"/>
                  <a:gd name="T27" fmla="*/ 1881 h 2584"/>
                  <a:gd name="T28" fmla="*/ 949 w 1161"/>
                  <a:gd name="T29" fmla="*/ 1759 h 2584"/>
                  <a:gd name="T30" fmla="*/ 986 w 1161"/>
                  <a:gd name="T31" fmla="*/ 1663 h 2584"/>
                  <a:gd name="T32" fmla="*/ 997 w 1161"/>
                  <a:gd name="T33" fmla="*/ 1583 h 2584"/>
                  <a:gd name="T34" fmla="*/ 997 w 1161"/>
                  <a:gd name="T35" fmla="*/ 1418 h 2584"/>
                  <a:gd name="T36" fmla="*/ 497 w 1161"/>
                  <a:gd name="T37" fmla="*/ 415 h 2584"/>
                  <a:gd name="T38" fmla="*/ 467 w 1161"/>
                  <a:gd name="T39" fmla="*/ 541 h 2584"/>
                  <a:gd name="T40" fmla="*/ 395 w 1161"/>
                  <a:gd name="T41" fmla="*/ 638 h 2584"/>
                  <a:gd name="T42" fmla="*/ 305 w 1161"/>
                  <a:gd name="T43" fmla="*/ 722 h 2584"/>
                  <a:gd name="T44" fmla="*/ 217 w 1161"/>
                  <a:gd name="T45" fmla="*/ 822 h 2584"/>
                  <a:gd name="T46" fmla="*/ 988 w 1161"/>
                  <a:gd name="T47" fmla="*/ 917 h 2584"/>
                  <a:gd name="T48" fmla="*/ 926 w 1161"/>
                  <a:gd name="T49" fmla="*/ 795 h 2584"/>
                  <a:gd name="T50" fmla="*/ 830 w 1161"/>
                  <a:gd name="T51" fmla="*/ 699 h 2584"/>
                  <a:gd name="T52" fmla="*/ 746 w 1161"/>
                  <a:gd name="T53" fmla="*/ 616 h 2584"/>
                  <a:gd name="T54" fmla="*/ 683 w 1161"/>
                  <a:gd name="T55" fmla="*/ 512 h 2584"/>
                  <a:gd name="T56" fmla="*/ 665 w 1161"/>
                  <a:gd name="T57" fmla="*/ 415 h 2584"/>
                  <a:gd name="T58" fmla="*/ 665 w 1161"/>
                  <a:gd name="T59" fmla="*/ 250 h 2584"/>
                  <a:gd name="T60" fmla="*/ 829 w 1161"/>
                  <a:gd name="T61" fmla="*/ 0 h 2584"/>
                  <a:gd name="T62" fmla="*/ 850 w 1161"/>
                  <a:gd name="T63" fmla="*/ 482 h 2584"/>
                  <a:gd name="T64" fmla="*/ 941 w 1161"/>
                  <a:gd name="T65" fmla="*/ 576 h 2584"/>
                  <a:gd name="T66" fmla="*/ 1026 w 1161"/>
                  <a:gd name="T67" fmla="*/ 658 h 2584"/>
                  <a:gd name="T68" fmla="*/ 1104 w 1161"/>
                  <a:gd name="T69" fmla="*/ 767 h 2584"/>
                  <a:gd name="T70" fmla="*/ 1154 w 1161"/>
                  <a:gd name="T71" fmla="*/ 911 h 2584"/>
                  <a:gd name="T72" fmla="*/ 1160 w 1161"/>
                  <a:gd name="T73" fmla="*/ 1622 h 2584"/>
                  <a:gd name="T74" fmla="*/ 1131 w 1161"/>
                  <a:gd name="T75" fmla="*/ 1748 h 2584"/>
                  <a:gd name="T76" fmla="*/ 1092 w 1161"/>
                  <a:gd name="T77" fmla="*/ 1846 h 2584"/>
                  <a:gd name="T78" fmla="*/ 1080 w 1161"/>
                  <a:gd name="T79" fmla="*/ 1945 h 2584"/>
                  <a:gd name="T80" fmla="*/ 1113 w 1161"/>
                  <a:gd name="T81" fmla="*/ 2047 h 2584"/>
                  <a:gd name="T82" fmla="*/ 1149 w 1161"/>
                  <a:gd name="T83" fmla="*/ 2153 h 2584"/>
                  <a:gd name="T84" fmla="*/ 1158 w 1161"/>
                  <a:gd name="T85" fmla="*/ 2298 h 2584"/>
                  <a:gd name="T86" fmla="*/ 1093 w 1161"/>
                  <a:gd name="T87" fmla="*/ 2456 h 2584"/>
                  <a:gd name="T88" fmla="*/ 959 w 1161"/>
                  <a:gd name="T89" fmla="*/ 2559 h 2584"/>
                  <a:gd name="T90" fmla="*/ 332 w 1161"/>
                  <a:gd name="T91" fmla="*/ 2584 h 2584"/>
                  <a:gd name="T92" fmla="*/ 164 w 1161"/>
                  <a:gd name="T93" fmla="*/ 2540 h 2584"/>
                  <a:gd name="T94" fmla="*/ 45 w 1161"/>
                  <a:gd name="T95" fmla="*/ 2420 h 2584"/>
                  <a:gd name="T96" fmla="*/ 0 w 1161"/>
                  <a:gd name="T97" fmla="*/ 2252 h 2584"/>
                  <a:gd name="T98" fmla="*/ 20 w 1161"/>
                  <a:gd name="T99" fmla="*/ 2124 h 2584"/>
                  <a:gd name="T100" fmla="*/ 60 w 1161"/>
                  <a:gd name="T101" fmla="*/ 2021 h 2584"/>
                  <a:gd name="T102" fmla="*/ 83 w 1161"/>
                  <a:gd name="T103" fmla="*/ 1918 h 2584"/>
                  <a:gd name="T104" fmla="*/ 61 w 1161"/>
                  <a:gd name="T105" fmla="*/ 1822 h 2584"/>
                  <a:gd name="T106" fmla="*/ 21 w 1161"/>
                  <a:gd name="T107" fmla="*/ 1721 h 2584"/>
                  <a:gd name="T108" fmla="*/ 0 w 1161"/>
                  <a:gd name="T109" fmla="*/ 1584 h 2584"/>
                  <a:gd name="T110" fmla="*/ 16 w 1161"/>
                  <a:gd name="T111" fmla="*/ 871 h 2584"/>
                  <a:gd name="T112" fmla="*/ 75 w 1161"/>
                  <a:gd name="T113" fmla="*/ 737 h 2584"/>
                  <a:gd name="T114" fmla="*/ 157 w 1161"/>
                  <a:gd name="T115" fmla="*/ 636 h 2584"/>
                  <a:gd name="T116" fmla="*/ 249 w 1161"/>
                  <a:gd name="T117" fmla="*/ 550 h 2584"/>
                  <a:gd name="T118" fmla="*/ 323 w 1161"/>
                  <a:gd name="T119" fmla="*/ 461 h 2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1" h="2584">
                    <a:moveTo>
                      <a:pt x="164" y="1583"/>
                    </a:moveTo>
                    <a:lnTo>
                      <a:pt x="164" y="1584"/>
                    </a:lnTo>
                    <a:lnTo>
                      <a:pt x="166" y="1612"/>
                    </a:lnTo>
                    <a:lnTo>
                      <a:pt x="169" y="1639"/>
                    </a:lnTo>
                    <a:lnTo>
                      <a:pt x="175" y="1663"/>
                    </a:lnTo>
                    <a:lnTo>
                      <a:pt x="183" y="1686"/>
                    </a:lnTo>
                    <a:lnTo>
                      <a:pt x="192" y="1710"/>
                    </a:lnTo>
                    <a:lnTo>
                      <a:pt x="202" y="1733"/>
                    </a:lnTo>
                    <a:lnTo>
                      <a:pt x="213" y="1759"/>
                    </a:lnTo>
                    <a:lnTo>
                      <a:pt x="224" y="1787"/>
                    </a:lnTo>
                    <a:lnTo>
                      <a:pt x="233" y="1816"/>
                    </a:lnTo>
                    <a:lnTo>
                      <a:pt x="241" y="1847"/>
                    </a:lnTo>
                    <a:lnTo>
                      <a:pt x="246" y="1881"/>
                    </a:lnTo>
                    <a:lnTo>
                      <a:pt x="248" y="1918"/>
                    </a:lnTo>
                    <a:lnTo>
                      <a:pt x="246" y="1956"/>
                    </a:lnTo>
                    <a:lnTo>
                      <a:pt x="240" y="1991"/>
                    </a:lnTo>
                    <a:lnTo>
                      <a:pt x="233" y="2024"/>
                    </a:lnTo>
                    <a:lnTo>
                      <a:pt x="223" y="2055"/>
                    </a:lnTo>
                    <a:lnTo>
                      <a:pt x="212" y="2084"/>
                    </a:lnTo>
                    <a:lnTo>
                      <a:pt x="201" y="2111"/>
                    </a:lnTo>
                    <a:lnTo>
                      <a:pt x="189" y="2138"/>
                    </a:lnTo>
                    <a:lnTo>
                      <a:pt x="179" y="2166"/>
                    </a:lnTo>
                    <a:lnTo>
                      <a:pt x="171" y="2193"/>
                    </a:lnTo>
                    <a:lnTo>
                      <a:pt x="166" y="2221"/>
                    </a:lnTo>
                    <a:lnTo>
                      <a:pt x="164" y="2252"/>
                    </a:lnTo>
                    <a:lnTo>
                      <a:pt x="167" y="2282"/>
                    </a:lnTo>
                    <a:lnTo>
                      <a:pt x="175" y="2311"/>
                    </a:lnTo>
                    <a:lnTo>
                      <a:pt x="187" y="2337"/>
                    </a:lnTo>
                    <a:lnTo>
                      <a:pt x="204" y="2360"/>
                    </a:lnTo>
                    <a:lnTo>
                      <a:pt x="224" y="2381"/>
                    </a:lnTo>
                    <a:lnTo>
                      <a:pt x="247" y="2397"/>
                    </a:lnTo>
                    <a:lnTo>
                      <a:pt x="273" y="2409"/>
                    </a:lnTo>
                    <a:lnTo>
                      <a:pt x="301" y="2417"/>
                    </a:lnTo>
                    <a:lnTo>
                      <a:pt x="332" y="2420"/>
                    </a:lnTo>
                    <a:lnTo>
                      <a:pt x="830" y="2420"/>
                    </a:lnTo>
                    <a:lnTo>
                      <a:pt x="860" y="2417"/>
                    </a:lnTo>
                    <a:lnTo>
                      <a:pt x="889" y="2409"/>
                    </a:lnTo>
                    <a:lnTo>
                      <a:pt x="914" y="2397"/>
                    </a:lnTo>
                    <a:lnTo>
                      <a:pt x="938" y="2381"/>
                    </a:lnTo>
                    <a:lnTo>
                      <a:pt x="957" y="2360"/>
                    </a:lnTo>
                    <a:lnTo>
                      <a:pt x="975" y="2337"/>
                    </a:lnTo>
                    <a:lnTo>
                      <a:pt x="987" y="2311"/>
                    </a:lnTo>
                    <a:lnTo>
                      <a:pt x="995" y="2282"/>
                    </a:lnTo>
                    <a:lnTo>
                      <a:pt x="997" y="2252"/>
                    </a:lnTo>
                    <a:lnTo>
                      <a:pt x="996" y="2221"/>
                    </a:lnTo>
                    <a:lnTo>
                      <a:pt x="990" y="2193"/>
                    </a:lnTo>
                    <a:lnTo>
                      <a:pt x="983" y="2166"/>
                    </a:lnTo>
                    <a:lnTo>
                      <a:pt x="973" y="2138"/>
                    </a:lnTo>
                    <a:lnTo>
                      <a:pt x="960" y="2111"/>
                    </a:lnTo>
                    <a:lnTo>
                      <a:pt x="950" y="2084"/>
                    </a:lnTo>
                    <a:lnTo>
                      <a:pt x="939" y="2055"/>
                    </a:lnTo>
                    <a:lnTo>
                      <a:pt x="929" y="2024"/>
                    </a:lnTo>
                    <a:lnTo>
                      <a:pt x="921" y="1991"/>
                    </a:lnTo>
                    <a:lnTo>
                      <a:pt x="916" y="1956"/>
                    </a:lnTo>
                    <a:lnTo>
                      <a:pt x="914" y="1918"/>
                    </a:lnTo>
                    <a:lnTo>
                      <a:pt x="916" y="1881"/>
                    </a:lnTo>
                    <a:lnTo>
                      <a:pt x="921" y="1847"/>
                    </a:lnTo>
                    <a:lnTo>
                      <a:pt x="929" y="1816"/>
                    </a:lnTo>
                    <a:lnTo>
                      <a:pt x="938" y="1787"/>
                    </a:lnTo>
                    <a:lnTo>
                      <a:pt x="949" y="1759"/>
                    </a:lnTo>
                    <a:lnTo>
                      <a:pt x="959" y="1733"/>
                    </a:lnTo>
                    <a:lnTo>
                      <a:pt x="969" y="1710"/>
                    </a:lnTo>
                    <a:lnTo>
                      <a:pt x="979" y="1686"/>
                    </a:lnTo>
                    <a:lnTo>
                      <a:pt x="986" y="1663"/>
                    </a:lnTo>
                    <a:lnTo>
                      <a:pt x="992" y="1639"/>
                    </a:lnTo>
                    <a:lnTo>
                      <a:pt x="996" y="1612"/>
                    </a:lnTo>
                    <a:lnTo>
                      <a:pt x="997" y="1584"/>
                    </a:lnTo>
                    <a:lnTo>
                      <a:pt x="997" y="1583"/>
                    </a:lnTo>
                    <a:lnTo>
                      <a:pt x="164" y="1583"/>
                    </a:lnTo>
                    <a:close/>
                    <a:moveTo>
                      <a:pt x="164" y="1082"/>
                    </a:moveTo>
                    <a:lnTo>
                      <a:pt x="164" y="1418"/>
                    </a:lnTo>
                    <a:lnTo>
                      <a:pt x="997" y="1418"/>
                    </a:lnTo>
                    <a:lnTo>
                      <a:pt x="997" y="1082"/>
                    </a:lnTo>
                    <a:lnTo>
                      <a:pt x="164" y="1082"/>
                    </a:lnTo>
                    <a:close/>
                    <a:moveTo>
                      <a:pt x="497" y="415"/>
                    </a:moveTo>
                    <a:lnTo>
                      <a:pt x="497" y="415"/>
                    </a:lnTo>
                    <a:lnTo>
                      <a:pt x="495" y="451"/>
                    </a:lnTo>
                    <a:lnTo>
                      <a:pt x="489" y="483"/>
                    </a:lnTo>
                    <a:lnTo>
                      <a:pt x="479" y="512"/>
                    </a:lnTo>
                    <a:lnTo>
                      <a:pt x="467" y="541"/>
                    </a:lnTo>
                    <a:lnTo>
                      <a:pt x="452" y="567"/>
                    </a:lnTo>
                    <a:lnTo>
                      <a:pt x="435" y="593"/>
                    </a:lnTo>
                    <a:lnTo>
                      <a:pt x="415" y="616"/>
                    </a:lnTo>
                    <a:lnTo>
                      <a:pt x="395" y="638"/>
                    </a:lnTo>
                    <a:lnTo>
                      <a:pt x="374" y="658"/>
                    </a:lnTo>
                    <a:lnTo>
                      <a:pt x="353" y="679"/>
                    </a:lnTo>
                    <a:lnTo>
                      <a:pt x="331" y="699"/>
                    </a:lnTo>
                    <a:lnTo>
                      <a:pt x="305" y="722"/>
                    </a:lnTo>
                    <a:lnTo>
                      <a:pt x="281" y="746"/>
                    </a:lnTo>
                    <a:lnTo>
                      <a:pt x="258" y="770"/>
                    </a:lnTo>
                    <a:lnTo>
                      <a:pt x="236" y="795"/>
                    </a:lnTo>
                    <a:lnTo>
                      <a:pt x="217" y="822"/>
                    </a:lnTo>
                    <a:lnTo>
                      <a:pt x="200" y="851"/>
                    </a:lnTo>
                    <a:lnTo>
                      <a:pt x="185" y="882"/>
                    </a:lnTo>
                    <a:lnTo>
                      <a:pt x="174" y="917"/>
                    </a:lnTo>
                    <a:lnTo>
                      <a:pt x="988" y="917"/>
                    </a:lnTo>
                    <a:lnTo>
                      <a:pt x="977" y="882"/>
                    </a:lnTo>
                    <a:lnTo>
                      <a:pt x="962" y="851"/>
                    </a:lnTo>
                    <a:lnTo>
                      <a:pt x="945" y="822"/>
                    </a:lnTo>
                    <a:lnTo>
                      <a:pt x="926" y="795"/>
                    </a:lnTo>
                    <a:lnTo>
                      <a:pt x="904" y="770"/>
                    </a:lnTo>
                    <a:lnTo>
                      <a:pt x="881" y="746"/>
                    </a:lnTo>
                    <a:lnTo>
                      <a:pt x="855" y="722"/>
                    </a:lnTo>
                    <a:lnTo>
                      <a:pt x="830" y="699"/>
                    </a:lnTo>
                    <a:lnTo>
                      <a:pt x="809" y="679"/>
                    </a:lnTo>
                    <a:lnTo>
                      <a:pt x="788" y="658"/>
                    </a:lnTo>
                    <a:lnTo>
                      <a:pt x="767" y="638"/>
                    </a:lnTo>
                    <a:lnTo>
                      <a:pt x="746" y="616"/>
                    </a:lnTo>
                    <a:lnTo>
                      <a:pt x="727" y="593"/>
                    </a:lnTo>
                    <a:lnTo>
                      <a:pt x="710" y="567"/>
                    </a:lnTo>
                    <a:lnTo>
                      <a:pt x="695" y="541"/>
                    </a:lnTo>
                    <a:lnTo>
                      <a:pt x="683" y="512"/>
                    </a:lnTo>
                    <a:lnTo>
                      <a:pt x="673" y="483"/>
                    </a:lnTo>
                    <a:lnTo>
                      <a:pt x="667" y="451"/>
                    </a:lnTo>
                    <a:lnTo>
                      <a:pt x="665" y="415"/>
                    </a:lnTo>
                    <a:lnTo>
                      <a:pt x="665" y="415"/>
                    </a:lnTo>
                    <a:lnTo>
                      <a:pt x="497" y="415"/>
                    </a:lnTo>
                    <a:close/>
                    <a:moveTo>
                      <a:pt x="497" y="164"/>
                    </a:moveTo>
                    <a:lnTo>
                      <a:pt x="497" y="250"/>
                    </a:lnTo>
                    <a:lnTo>
                      <a:pt x="665" y="250"/>
                    </a:lnTo>
                    <a:lnTo>
                      <a:pt x="665" y="164"/>
                    </a:lnTo>
                    <a:lnTo>
                      <a:pt x="497" y="164"/>
                    </a:lnTo>
                    <a:close/>
                    <a:moveTo>
                      <a:pt x="333" y="0"/>
                    </a:moveTo>
                    <a:lnTo>
                      <a:pt x="829" y="0"/>
                    </a:lnTo>
                    <a:lnTo>
                      <a:pt x="829" y="415"/>
                    </a:lnTo>
                    <a:lnTo>
                      <a:pt x="832" y="439"/>
                    </a:lnTo>
                    <a:lnTo>
                      <a:pt x="839" y="461"/>
                    </a:lnTo>
                    <a:lnTo>
                      <a:pt x="850" y="482"/>
                    </a:lnTo>
                    <a:lnTo>
                      <a:pt x="868" y="503"/>
                    </a:lnTo>
                    <a:lnTo>
                      <a:pt x="888" y="526"/>
                    </a:lnTo>
                    <a:lnTo>
                      <a:pt x="912" y="550"/>
                    </a:lnTo>
                    <a:lnTo>
                      <a:pt x="941" y="576"/>
                    </a:lnTo>
                    <a:lnTo>
                      <a:pt x="961" y="596"/>
                    </a:lnTo>
                    <a:lnTo>
                      <a:pt x="983" y="615"/>
                    </a:lnTo>
                    <a:lnTo>
                      <a:pt x="1004" y="636"/>
                    </a:lnTo>
                    <a:lnTo>
                      <a:pt x="1026" y="658"/>
                    </a:lnTo>
                    <a:lnTo>
                      <a:pt x="1046" y="683"/>
                    </a:lnTo>
                    <a:lnTo>
                      <a:pt x="1067" y="709"/>
                    </a:lnTo>
                    <a:lnTo>
                      <a:pt x="1087" y="737"/>
                    </a:lnTo>
                    <a:lnTo>
                      <a:pt x="1104" y="767"/>
                    </a:lnTo>
                    <a:lnTo>
                      <a:pt x="1120" y="799"/>
                    </a:lnTo>
                    <a:lnTo>
                      <a:pt x="1134" y="834"/>
                    </a:lnTo>
                    <a:lnTo>
                      <a:pt x="1146" y="871"/>
                    </a:lnTo>
                    <a:lnTo>
                      <a:pt x="1154" y="911"/>
                    </a:lnTo>
                    <a:lnTo>
                      <a:pt x="1160" y="953"/>
                    </a:lnTo>
                    <a:lnTo>
                      <a:pt x="1161" y="1000"/>
                    </a:lnTo>
                    <a:lnTo>
                      <a:pt x="1161" y="1584"/>
                    </a:lnTo>
                    <a:lnTo>
                      <a:pt x="1160" y="1622"/>
                    </a:lnTo>
                    <a:lnTo>
                      <a:pt x="1155" y="1658"/>
                    </a:lnTo>
                    <a:lnTo>
                      <a:pt x="1149" y="1690"/>
                    </a:lnTo>
                    <a:lnTo>
                      <a:pt x="1140" y="1721"/>
                    </a:lnTo>
                    <a:lnTo>
                      <a:pt x="1131" y="1748"/>
                    </a:lnTo>
                    <a:lnTo>
                      <a:pt x="1121" y="1773"/>
                    </a:lnTo>
                    <a:lnTo>
                      <a:pt x="1111" y="1798"/>
                    </a:lnTo>
                    <a:lnTo>
                      <a:pt x="1101" y="1822"/>
                    </a:lnTo>
                    <a:lnTo>
                      <a:pt x="1092" y="1846"/>
                    </a:lnTo>
                    <a:lnTo>
                      <a:pt x="1085" y="1870"/>
                    </a:lnTo>
                    <a:lnTo>
                      <a:pt x="1080" y="1893"/>
                    </a:lnTo>
                    <a:lnTo>
                      <a:pt x="1078" y="1918"/>
                    </a:lnTo>
                    <a:lnTo>
                      <a:pt x="1080" y="1945"/>
                    </a:lnTo>
                    <a:lnTo>
                      <a:pt x="1086" y="1970"/>
                    </a:lnTo>
                    <a:lnTo>
                      <a:pt x="1093" y="1995"/>
                    </a:lnTo>
                    <a:lnTo>
                      <a:pt x="1102" y="2021"/>
                    </a:lnTo>
                    <a:lnTo>
                      <a:pt x="1113" y="2047"/>
                    </a:lnTo>
                    <a:lnTo>
                      <a:pt x="1123" y="2071"/>
                    </a:lnTo>
                    <a:lnTo>
                      <a:pt x="1133" y="2097"/>
                    </a:lnTo>
                    <a:lnTo>
                      <a:pt x="1142" y="2124"/>
                    </a:lnTo>
                    <a:lnTo>
                      <a:pt x="1149" y="2153"/>
                    </a:lnTo>
                    <a:lnTo>
                      <a:pt x="1156" y="2183"/>
                    </a:lnTo>
                    <a:lnTo>
                      <a:pt x="1160" y="2216"/>
                    </a:lnTo>
                    <a:lnTo>
                      <a:pt x="1161" y="2252"/>
                    </a:lnTo>
                    <a:lnTo>
                      <a:pt x="1158" y="2298"/>
                    </a:lnTo>
                    <a:lnTo>
                      <a:pt x="1150" y="2340"/>
                    </a:lnTo>
                    <a:lnTo>
                      <a:pt x="1136" y="2382"/>
                    </a:lnTo>
                    <a:lnTo>
                      <a:pt x="1116" y="2420"/>
                    </a:lnTo>
                    <a:lnTo>
                      <a:pt x="1093" y="2456"/>
                    </a:lnTo>
                    <a:lnTo>
                      <a:pt x="1064" y="2487"/>
                    </a:lnTo>
                    <a:lnTo>
                      <a:pt x="1033" y="2515"/>
                    </a:lnTo>
                    <a:lnTo>
                      <a:pt x="998" y="2540"/>
                    </a:lnTo>
                    <a:lnTo>
                      <a:pt x="959" y="2559"/>
                    </a:lnTo>
                    <a:lnTo>
                      <a:pt x="918" y="2573"/>
                    </a:lnTo>
                    <a:lnTo>
                      <a:pt x="875" y="2581"/>
                    </a:lnTo>
                    <a:lnTo>
                      <a:pt x="830" y="2584"/>
                    </a:lnTo>
                    <a:lnTo>
                      <a:pt x="332" y="2584"/>
                    </a:lnTo>
                    <a:lnTo>
                      <a:pt x="286" y="2581"/>
                    </a:lnTo>
                    <a:lnTo>
                      <a:pt x="244" y="2573"/>
                    </a:lnTo>
                    <a:lnTo>
                      <a:pt x="203" y="2559"/>
                    </a:lnTo>
                    <a:lnTo>
                      <a:pt x="164" y="2540"/>
                    </a:lnTo>
                    <a:lnTo>
                      <a:pt x="129" y="2515"/>
                    </a:lnTo>
                    <a:lnTo>
                      <a:pt x="98" y="2487"/>
                    </a:lnTo>
                    <a:lnTo>
                      <a:pt x="69" y="2456"/>
                    </a:lnTo>
                    <a:lnTo>
                      <a:pt x="45" y="2420"/>
                    </a:lnTo>
                    <a:lnTo>
                      <a:pt x="26" y="2382"/>
                    </a:lnTo>
                    <a:lnTo>
                      <a:pt x="12" y="2340"/>
                    </a:lnTo>
                    <a:lnTo>
                      <a:pt x="3" y="2298"/>
                    </a:lnTo>
                    <a:lnTo>
                      <a:pt x="0" y="2252"/>
                    </a:lnTo>
                    <a:lnTo>
                      <a:pt x="2" y="2216"/>
                    </a:lnTo>
                    <a:lnTo>
                      <a:pt x="6" y="2183"/>
                    </a:lnTo>
                    <a:lnTo>
                      <a:pt x="12" y="2153"/>
                    </a:lnTo>
                    <a:lnTo>
                      <a:pt x="20" y="2124"/>
                    </a:lnTo>
                    <a:lnTo>
                      <a:pt x="29" y="2097"/>
                    </a:lnTo>
                    <a:lnTo>
                      <a:pt x="39" y="2071"/>
                    </a:lnTo>
                    <a:lnTo>
                      <a:pt x="49" y="2047"/>
                    </a:lnTo>
                    <a:lnTo>
                      <a:pt x="60" y="2021"/>
                    </a:lnTo>
                    <a:lnTo>
                      <a:pt x="69" y="1995"/>
                    </a:lnTo>
                    <a:lnTo>
                      <a:pt x="76" y="1970"/>
                    </a:lnTo>
                    <a:lnTo>
                      <a:pt x="81" y="1945"/>
                    </a:lnTo>
                    <a:lnTo>
                      <a:pt x="83" y="1918"/>
                    </a:lnTo>
                    <a:lnTo>
                      <a:pt x="81" y="1893"/>
                    </a:lnTo>
                    <a:lnTo>
                      <a:pt x="77" y="1870"/>
                    </a:lnTo>
                    <a:lnTo>
                      <a:pt x="70" y="1846"/>
                    </a:lnTo>
                    <a:lnTo>
                      <a:pt x="61" y="1822"/>
                    </a:lnTo>
                    <a:lnTo>
                      <a:pt x="50" y="1798"/>
                    </a:lnTo>
                    <a:lnTo>
                      <a:pt x="41" y="1773"/>
                    </a:lnTo>
                    <a:lnTo>
                      <a:pt x="31" y="1748"/>
                    </a:lnTo>
                    <a:lnTo>
                      <a:pt x="21" y="1721"/>
                    </a:lnTo>
                    <a:lnTo>
                      <a:pt x="13" y="1690"/>
                    </a:lnTo>
                    <a:lnTo>
                      <a:pt x="6" y="1658"/>
                    </a:lnTo>
                    <a:lnTo>
                      <a:pt x="2" y="1622"/>
                    </a:lnTo>
                    <a:lnTo>
                      <a:pt x="0" y="1584"/>
                    </a:lnTo>
                    <a:lnTo>
                      <a:pt x="0" y="1000"/>
                    </a:lnTo>
                    <a:lnTo>
                      <a:pt x="2" y="953"/>
                    </a:lnTo>
                    <a:lnTo>
                      <a:pt x="8" y="911"/>
                    </a:lnTo>
                    <a:lnTo>
                      <a:pt x="16" y="871"/>
                    </a:lnTo>
                    <a:lnTo>
                      <a:pt x="28" y="834"/>
                    </a:lnTo>
                    <a:lnTo>
                      <a:pt x="41" y="799"/>
                    </a:lnTo>
                    <a:lnTo>
                      <a:pt x="57" y="767"/>
                    </a:lnTo>
                    <a:lnTo>
                      <a:pt x="75" y="737"/>
                    </a:lnTo>
                    <a:lnTo>
                      <a:pt x="95" y="709"/>
                    </a:lnTo>
                    <a:lnTo>
                      <a:pt x="115" y="683"/>
                    </a:lnTo>
                    <a:lnTo>
                      <a:pt x="136" y="658"/>
                    </a:lnTo>
                    <a:lnTo>
                      <a:pt x="157" y="636"/>
                    </a:lnTo>
                    <a:lnTo>
                      <a:pt x="179" y="615"/>
                    </a:lnTo>
                    <a:lnTo>
                      <a:pt x="201" y="596"/>
                    </a:lnTo>
                    <a:lnTo>
                      <a:pt x="221" y="576"/>
                    </a:lnTo>
                    <a:lnTo>
                      <a:pt x="249" y="550"/>
                    </a:lnTo>
                    <a:lnTo>
                      <a:pt x="274" y="526"/>
                    </a:lnTo>
                    <a:lnTo>
                      <a:pt x="294" y="503"/>
                    </a:lnTo>
                    <a:lnTo>
                      <a:pt x="311" y="482"/>
                    </a:lnTo>
                    <a:lnTo>
                      <a:pt x="323" y="461"/>
                    </a:lnTo>
                    <a:lnTo>
                      <a:pt x="330" y="439"/>
                    </a:lnTo>
                    <a:lnTo>
                      <a:pt x="333" y="415"/>
                    </a:lnTo>
                    <a:lnTo>
                      <a:pt x="33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96" name="Gruppieren 95"/>
            <p:cNvGrpSpPr>
              <a:grpSpLocks noChangeAspect="1"/>
            </p:cNvGrpSpPr>
            <p:nvPr/>
          </p:nvGrpSpPr>
          <p:grpSpPr>
            <a:xfrm>
              <a:off x="7143597" y="1883463"/>
              <a:ext cx="451619" cy="453648"/>
              <a:chOff x="11946386" y="2737247"/>
              <a:chExt cx="346555" cy="348116"/>
            </a:xfrm>
          </p:grpSpPr>
          <p:sp>
            <p:nvSpPr>
              <p:cNvPr id="97" name="Rectangle 255"/>
              <p:cNvSpPr>
                <a:spLocks noChangeArrowheads="1"/>
              </p:cNvSpPr>
              <p:nvPr/>
            </p:nvSpPr>
            <p:spPr bwMode="auto">
              <a:xfrm>
                <a:off x="11946386" y="2737247"/>
                <a:ext cx="346555" cy="348116"/>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98" name="Rectangle 256"/>
              <p:cNvSpPr>
                <a:spLocks noChangeArrowheads="1"/>
              </p:cNvSpPr>
              <p:nvPr/>
            </p:nvSpPr>
            <p:spPr bwMode="auto">
              <a:xfrm>
                <a:off x="11946386" y="2737247"/>
                <a:ext cx="346555" cy="348116"/>
              </a:xfrm>
              <a:prstGeom prst="rect">
                <a:avLst/>
              </a:prstGeom>
              <a:solidFill>
                <a:srgbClr val="7A0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9" name="Freeform 257"/>
              <p:cNvSpPr>
                <a:spLocks noEditPoints="1"/>
              </p:cNvSpPr>
              <p:nvPr/>
            </p:nvSpPr>
            <p:spPr bwMode="auto">
              <a:xfrm>
                <a:off x="12050977" y="2798128"/>
                <a:ext cx="137373" cy="226353"/>
              </a:xfrm>
              <a:custGeom>
                <a:avLst/>
                <a:gdLst>
                  <a:gd name="T0" fmla="*/ 184 w 1329"/>
                  <a:gd name="T1" fmla="*/ 721 h 2170"/>
                  <a:gd name="T2" fmla="*/ 224 w 1329"/>
                  <a:gd name="T3" fmla="*/ 821 h 2170"/>
                  <a:gd name="T4" fmla="*/ 284 w 1329"/>
                  <a:gd name="T5" fmla="*/ 909 h 2170"/>
                  <a:gd name="T6" fmla="*/ 360 w 1329"/>
                  <a:gd name="T7" fmla="*/ 982 h 2170"/>
                  <a:gd name="T8" fmla="*/ 451 w 1329"/>
                  <a:gd name="T9" fmla="*/ 1038 h 2170"/>
                  <a:gd name="T10" fmla="*/ 554 w 1329"/>
                  <a:gd name="T11" fmla="*/ 1073 h 2170"/>
                  <a:gd name="T12" fmla="*/ 664 w 1329"/>
                  <a:gd name="T13" fmla="*/ 1086 h 2170"/>
                  <a:gd name="T14" fmla="*/ 775 w 1329"/>
                  <a:gd name="T15" fmla="*/ 1073 h 2170"/>
                  <a:gd name="T16" fmla="*/ 878 w 1329"/>
                  <a:gd name="T17" fmla="*/ 1038 h 2170"/>
                  <a:gd name="T18" fmla="*/ 969 w 1329"/>
                  <a:gd name="T19" fmla="*/ 982 h 2170"/>
                  <a:gd name="T20" fmla="*/ 1045 w 1329"/>
                  <a:gd name="T21" fmla="*/ 909 h 2170"/>
                  <a:gd name="T22" fmla="*/ 1105 w 1329"/>
                  <a:gd name="T23" fmla="*/ 821 h 2170"/>
                  <a:gd name="T24" fmla="*/ 1145 w 1329"/>
                  <a:gd name="T25" fmla="*/ 721 h 2170"/>
                  <a:gd name="T26" fmla="*/ 172 w 1329"/>
                  <a:gd name="T27" fmla="*/ 667 h 2170"/>
                  <a:gd name="T28" fmla="*/ 164 w 1329"/>
                  <a:gd name="T29" fmla="*/ 502 h 2170"/>
                  <a:gd name="T30" fmla="*/ 1164 w 1329"/>
                  <a:gd name="T31" fmla="*/ 165 h 2170"/>
                  <a:gd name="T32" fmla="*/ 0 w 1329"/>
                  <a:gd name="T33" fmla="*/ 0 h 2170"/>
                  <a:gd name="T34" fmla="*/ 1329 w 1329"/>
                  <a:gd name="T35" fmla="*/ 584 h 2170"/>
                  <a:gd name="T36" fmla="*/ 1317 w 1329"/>
                  <a:gd name="T37" fmla="*/ 708 h 2170"/>
                  <a:gd name="T38" fmla="*/ 1284 w 1329"/>
                  <a:gd name="T39" fmla="*/ 825 h 2170"/>
                  <a:gd name="T40" fmla="*/ 1231 w 1329"/>
                  <a:gd name="T41" fmla="*/ 932 h 2170"/>
                  <a:gd name="T42" fmla="*/ 1160 w 1329"/>
                  <a:gd name="T43" fmla="*/ 1027 h 2170"/>
                  <a:gd name="T44" fmla="*/ 1075 w 1329"/>
                  <a:gd name="T45" fmla="*/ 1108 h 2170"/>
                  <a:gd name="T46" fmla="*/ 976 w 1329"/>
                  <a:gd name="T47" fmla="*/ 1173 h 2170"/>
                  <a:gd name="T48" fmla="*/ 866 w 1329"/>
                  <a:gd name="T49" fmla="*/ 1219 h 2170"/>
                  <a:gd name="T50" fmla="*/ 747 w 1329"/>
                  <a:gd name="T51" fmla="*/ 1246 h 2170"/>
                  <a:gd name="T52" fmla="*/ 1080 w 1329"/>
                  <a:gd name="T53" fmla="*/ 2005 h 2170"/>
                  <a:gd name="T54" fmla="*/ 248 w 1329"/>
                  <a:gd name="T55" fmla="*/ 2170 h 2170"/>
                  <a:gd name="T56" fmla="*/ 582 w 1329"/>
                  <a:gd name="T57" fmla="*/ 2005 h 2170"/>
                  <a:gd name="T58" fmla="*/ 522 w 1329"/>
                  <a:gd name="T59" fmla="*/ 1236 h 2170"/>
                  <a:gd name="T60" fmla="*/ 407 w 1329"/>
                  <a:gd name="T61" fmla="*/ 1199 h 2170"/>
                  <a:gd name="T62" fmla="*/ 302 w 1329"/>
                  <a:gd name="T63" fmla="*/ 1142 h 2170"/>
                  <a:gd name="T64" fmla="*/ 209 w 1329"/>
                  <a:gd name="T65" fmla="*/ 1069 h 2170"/>
                  <a:gd name="T66" fmla="*/ 131 w 1329"/>
                  <a:gd name="T67" fmla="*/ 981 h 2170"/>
                  <a:gd name="T68" fmla="*/ 69 w 1329"/>
                  <a:gd name="T69" fmla="*/ 880 h 2170"/>
                  <a:gd name="T70" fmla="*/ 25 w 1329"/>
                  <a:gd name="T71" fmla="*/ 767 h 2170"/>
                  <a:gd name="T72" fmla="*/ 3 w 1329"/>
                  <a:gd name="T73" fmla="*/ 647 h 2170"/>
                  <a:gd name="T74" fmla="*/ 0 w 1329"/>
                  <a:gd name="T75" fmla="*/ 0 h 2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9" h="2170">
                    <a:moveTo>
                      <a:pt x="172" y="667"/>
                    </a:moveTo>
                    <a:lnTo>
                      <a:pt x="184" y="721"/>
                    </a:lnTo>
                    <a:lnTo>
                      <a:pt x="201" y="771"/>
                    </a:lnTo>
                    <a:lnTo>
                      <a:pt x="224" y="821"/>
                    </a:lnTo>
                    <a:lnTo>
                      <a:pt x="251" y="867"/>
                    </a:lnTo>
                    <a:lnTo>
                      <a:pt x="284" y="909"/>
                    </a:lnTo>
                    <a:lnTo>
                      <a:pt x="320" y="948"/>
                    </a:lnTo>
                    <a:lnTo>
                      <a:pt x="360" y="982"/>
                    </a:lnTo>
                    <a:lnTo>
                      <a:pt x="405" y="1013"/>
                    </a:lnTo>
                    <a:lnTo>
                      <a:pt x="451" y="1038"/>
                    </a:lnTo>
                    <a:lnTo>
                      <a:pt x="502" y="1058"/>
                    </a:lnTo>
                    <a:lnTo>
                      <a:pt x="554" y="1073"/>
                    </a:lnTo>
                    <a:lnTo>
                      <a:pt x="608" y="1083"/>
                    </a:lnTo>
                    <a:lnTo>
                      <a:pt x="664" y="1086"/>
                    </a:lnTo>
                    <a:lnTo>
                      <a:pt x="720" y="1083"/>
                    </a:lnTo>
                    <a:lnTo>
                      <a:pt x="775" y="1073"/>
                    </a:lnTo>
                    <a:lnTo>
                      <a:pt x="827" y="1058"/>
                    </a:lnTo>
                    <a:lnTo>
                      <a:pt x="878" y="1038"/>
                    </a:lnTo>
                    <a:lnTo>
                      <a:pt x="924" y="1013"/>
                    </a:lnTo>
                    <a:lnTo>
                      <a:pt x="969" y="982"/>
                    </a:lnTo>
                    <a:lnTo>
                      <a:pt x="1009" y="948"/>
                    </a:lnTo>
                    <a:lnTo>
                      <a:pt x="1045" y="909"/>
                    </a:lnTo>
                    <a:lnTo>
                      <a:pt x="1078" y="867"/>
                    </a:lnTo>
                    <a:lnTo>
                      <a:pt x="1105" y="821"/>
                    </a:lnTo>
                    <a:lnTo>
                      <a:pt x="1128" y="771"/>
                    </a:lnTo>
                    <a:lnTo>
                      <a:pt x="1145" y="721"/>
                    </a:lnTo>
                    <a:lnTo>
                      <a:pt x="1157" y="667"/>
                    </a:lnTo>
                    <a:lnTo>
                      <a:pt x="172" y="667"/>
                    </a:lnTo>
                    <a:close/>
                    <a:moveTo>
                      <a:pt x="164" y="165"/>
                    </a:moveTo>
                    <a:lnTo>
                      <a:pt x="164" y="502"/>
                    </a:lnTo>
                    <a:lnTo>
                      <a:pt x="1164" y="502"/>
                    </a:lnTo>
                    <a:lnTo>
                      <a:pt x="1164" y="165"/>
                    </a:lnTo>
                    <a:lnTo>
                      <a:pt x="164" y="165"/>
                    </a:lnTo>
                    <a:close/>
                    <a:moveTo>
                      <a:pt x="0" y="0"/>
                    </a:moveTo>
                    <a:lnTo>
                      <a:pt x="1329" y="0"/>
                    </a:lnTo>
                    <a:lnTo>
                      <a:pt x="1329" y="584"/>
                    </a:lnTo>
                    <a:lnTo>
                      <a:pt x="1326" y="647"/>
                    </a:lnTo>
                    <a:lnTo>
                      <a:pt x="1317" y="708"/>
                    </a:lnTo>
                    <a:lnTo>
                      <a:pt x="1303" y="767"/>
                    </a:lnTo>
                    <a:lnTo>
                      <a:pt x="1284" y="825"/>
                    </a:lnTo>
                    <a:lnTo>
                      <a:pt x="1259" y="880"/>
                    </a:lnTo>
                    <a:lnTo>
                      <a:pt x="1231" y="932"/>
                    </a:lnTo>
                    <a:lnTo>
                      <a:pt x="1198" y="981"/>
                    </a:lnTo>
                    <a:lnTo>
                      <a:pt x="1160" y="1027"/>
                    </a:lnTo>
                    <a:lnTo>
                      <a:pt x="1119" y="1069"/>
                    </a:lnTo>
                    <a:lnTo>
                      <a:pt x="1075" y="1108"/>
                    </a:lnTo>
                    <a:lnTo>
                      <a:pt x="1027" y="1142"/>
                    </a:lnTo>
                    <a:lnTo>
                      <a:pt x="976" y="1173"/>
                    </a:lnTo>
                    <a:lnTo>
                      <a:pt x="922" y="1199"/>
                    </a:lnTo>
                    <a:lnTo>
                      <a:pt x="866" y="1219"/>
                    </a:lnTo>
                    <a:lnTo>
                      <a:pt x="807" y="1236"/>
                    </a:lnTo>
                    <a:lnTo>
                      <a:pt x="747" y="1246"/>
                    </a:lnTo>
                    <a:lnTo>
                      <a:pt x="747" y="2005"/>
                    </a:lnTo>
                    <a:lnTo>
                      <a:pt x="1080" y="2005"/>
                    </a:lnTo>
                    <a:lnTo>
                      <a:pt x="1080" y="2170"/>
                    </a:lnTo>
                    <a:lnTo>
                      <a:pt x="248" y="2170"/>
                    </a:lnTo>
                    <a:lnTo>
                      <a:pt x="248" y="2005"/>
                    </a:lnTo>
                    <a:lnTo>
                      <a:pt x="582" y="2005"/>
                    </a:lnTo>
                    <a:lnTo>
                      <a:pt x="582" y="1246"/>
                    </a:lnTo>
                    <a:lnTo>
                      <a:pt x="522" y="1236"/>
                    </a:lnTo>
                    <a:lnTo>
                      <a:pt x="463" y="1219"/>
                    </a:lnTo>
                    <a:lnTo>
                      <a:pt x="407" y="1199"/>
                    </a:lnTo>
                    <a:lnTo>
                      <a:pt x="353" y="1173"/>
                    </a:lnTo>
                    <a:lnTo>
                      <a:pt x="302" y="1142"/>
                    </a:lnTo>
                    <a:lnTo>
                      <a:pt x="254" y="1108"/>
                    </a:lnTo>
                    <a:lnTo>
                      <a:pt x="209" y="1069"/>
                    </a:lnTo>
                    <a:lnTo>
                      <a:pt x="169" y="1027"/>
                    </a:lnTo>
                    <a:lnTo>
                      <a:pt x="131" y="981"/>
                    </a:lnTo>
                    <a:lnTo>
                      <a:pt x="98" y="932"/>
                    </a:lnTo>
                    <a:lnTo>
                      <a:pt x="69" y="880"/>
                    </a:lnTo>
                    <a:lnTo>
                      <a:pt x="44" y="825"/>
                    </a:lnTo>
                    <a:lnTo>
                      <a:pt x="25" y="767"/>
                    </a:lnTo>
                    <a:lnTo>
                      <a:pt x="11" y="708"/>
                    </a:lnTo>
                    <a:lnTo>
                      <a:pt x="3" y="647"/>
                    </a:lnTo>
                    <a:lnTo>
                      <a:pt x="0" y="584"/>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100" name="Group 266"/>
            <p:cNvGrpSpPr>
              <a:grpSpLocks noChangeAspect="1"/>
            </p:cNvGrpSpPr>
            <p:nvPr/>
          </p:nvGrpSpPr>
          <p:grpSpPr bwMode="auto">
            <a:xfrm>
              <a:off x="4679167" y="2606843"/>
              <a:ext cx="451619" cy="453648"/>
              <a:chOff x="3398" y="3933"/>
              <a:chExt cx="222" cy="223"/>
            </a:xfrm>
          </p:grpSpPr>
          <p:sp>
            <p:nvSpPr>
              <p:cNvPr id="101" name="Rectangle 267"/>
              <p:cNvSpPr>
                <a:spLocks noChangeArrowheads="1"/>
              </p:cNvSpPr>
              <p:nvPr/>
            </p:nvSpPr>
            <p:spPr bwMode="auto">
              <a:xfrm>
                <a:off x="3398" y="3933"/>
                <a:ext cx="222" cy="223"/>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02" name="Rectangle 268"/>
              <p:cNvSpPr>
                <a:spLocks noChangeArrowheads="1"/>
              </p:cNvSpPr>
              <p:nvPr/>
            </p:nvSpPr>
            <p:spPr bwMode="auto">
              <a:xfrm>
                <a:off x="3398" y="3933"/>
                <a:ext cx="222" cy="223"/>
              </a:xfrm>
              <a:prstGeom prst="rect">
                <a:avLst/>
              </a:prstGeom>
              <a:solidFill>
                <a:srgbClr val="DEAF6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03" name="Freeform 269"/>
              <p:cNvSpPr>
                <a:spLocks noEditPoints="1"/>
              </p:cNvSpPr>
              <p:nvPr/>
            </p:nvSpPr>
            <p:spPr bwMode="auto">
              <a:xfrm>
                <a:off x="3435" y="3971"/>
                <a:ext cx="147" cy="147"/>
              </a:xfrm>
              <a:custGeom>
                <a:avLst/>
                <a:gdLst>
                  <a:gd name="T0" fmla="*/ 176 w 2201"/>
                  <a:gd name="T1" fmla="*/ 1532 h 2211"/>
                  <a:gd name="T2" fmla="*/ 247 w 2201"/>
                  <a:gd name="T3" fmla="*/ 1574 h 2211"/>
                  <a:gd name="T4" fmla="*/ 307 w 2201"/>
                  <a:gd name="T5" fmla="*/ 1549 h 2211"/>
                  <a:gd name="T6" fmla="*/ 412 w 2201"/>
                  <a:gd name="T7" fmla="*/ 1681 h 2211"/>
                  <a:gd name="T8" fmla="*/ 412 w 2201"/>
                  <a:gd name="T9" fmla="*/ 1769 h 2211"/>
                  <a:gd name="T10" fmla="*/ 483 w 2201"/>
                  <a:gd name="T11" fmla="*/ 1810 h 2211"/>
                  <a:gd name="T12" fmla="*/ 659 w 2201"/>
                  <a:gd name="T13" fmla="*/ 1902 h 2211"/>
                  <a:gd name="T14" fmla="*/ 639 w 2201"/>
                  <a:gd name="T15" fmla="*/ 1989 h 2211"/>
                  <a:gd name="T16" fmla="*/ 711 w 2201"/>
                  <a:gd name="T17" fmla="*/ 2046 h 2211"/>
                  <a:gd name="T18" fmla="*/ 637 w 2201"/>
                  <a:gd name="T19" fmla="*/ 1640 h 2211"/>
                  <a:gd name="T20" fmla="*/ 170 w 2201"/>
                  <a:gd name="T21" fmla="*/ 1457 h 2211"/>
                  <a:gd name="T22" fmla="*/ 740 w 2201"/>
                  <a:gd name="T23" fmla="*/ 820 h 2211"/>
                  <a:gd name="T24" fmla="*/ 618 w 2201"/>
                  <a:gd name="T25" fmla="*/ 1052 h 2211"/>
                  <a:gd name="T26" fmla="*/ 611 w 2201"/>
                  <a:gd name="T27" fmla="*/ 1295 h 2211"/>
                  <a:gd name="T28" fmla="*/ 718 w 2201"/>
                  <a:gd name="T29" fmla="*/ 1490 h 2211"/>
                  <a:gd name="T30" fmla="*/ 894 w 2201"/>
                  <a:gd name="T31" fmla="*/ 1592 h 2211"/>
                  <a:gd name="T32" fmla="*/ 1388 w 2201"/>
                  <a:gd name="T33" fmla="*/ 1465 h 2211"/>
                  <a:gd name="T34" fmla="*/ 1548 w 2201"/>
                  <a:gd name="T35" fmla="*/ 1256 h 2211"/>
                  <a:gd name="T36" fmla="*/ 1601 w 2201"/>
                  <a:gd name="T37" fmla="*/ 1015 h 2211"/>
                  <a:gd name="T38" fmla="*/ 1541 w 2201"/>
                  <a:gd name="T39" fmla="*/ 794 h 2211"/>
                  <a:gd name="T40" fmla="*/ 1385 w 2201"/>
                  <a:gd name="T41" fmla="*/ 648 h 2211"/>
                  <a:gd name="T42" fmla="*/ 1059 w 2201"/>
                  <a:gd name="T43" fmla="*/ 617 h 2211"/>
                  <a:gd name="T44" fmla="*/ 1489 w 2201"/>
                  <a:gd name="T45" fmla="*/ 165 h 2211"/>
                  <a:gd name="T46" fmla="*/ 1564 w 2201"/>
                  <a:gd name="T47" fmla="*/ 570 h 2211"/>
                  <a:gd name="T48" fmla="*/ 2031 w 2201"/>
                  <a:gd name="T49" fmla="*/ 753 h 2211"/>
                  <a:gd name="T50" fmla="*/ 2012 w 2201"/>
                  <a:gd name="T51" fmla="*/ 662 h 2211"/>
                  <a:gd name="T52" fmla="*/ 1925 w 2201"/>
                  <a:gd name="T53" fmla="*/ 641 h 2211"/>
                  <a:gd name="T54" fmla="*/ 1777 w 2201"/>
                  <a:gd name="T55" fmla="*/ 545 h 2211"/>
                  <a:gd name="T56" fmla="*/ 1801 w 2201"/>
                  <a:gd name="T57" fmla="*/ 494 h 2211"/>
                  <a:gd name="T58" fmla="*/ 1764 w 2201"/>
                  <a:gd name="T59" fmla="*/ 414 h 2211"/>
                  <a:gd name="T60" fmla="*/ 1685 w 2201"/>
                  <a:gd name="T61" fmla="*/ 407 h 2211"/>
                  <a:gd name="T62" fmla="*/ 1562 w 2201"/>
                  <a:gd name="T63" fmla="*/ 276 h 2211"/>
                  <a:gd name="T64" fmla="*/ 1542 w 2201"/>
                  <a:gd name="T65" fmla="*/ 189 h 2211"/>
                  <a:gd name="T66" fmla="*/ 1535 w 2201"/>
                  <a:gd name="T67" fmla="*/ 5 h 2211"/>
                  <a:gd name="T68" fmla="*/ 1679 w 2201"/>
                  <a:gd name="T69" fmla="*/ 96 h 2211"/>
                  <a:gd name="T70" fmla="*/ 1731 w 2201"/>
                  <a:gd name="T71" fmla="*/ 236 h 2211"/>
                  <a:gd name="T72" fmla="*/ 1894 w 2201"/>
                  <a:gd name="T73" fmla="*/ 308 h 2211"/>
                  <a:gd name="T74" fmla="*/ 1963 w 2201"/>
                  <a:gd name="T75" fmla="*/ 443 h 2211"/>
                  <a:gd name="T76" fmla="*/ 2080 w 2201"/>
                  <a:gd name="T77" fmla="*/ 506 h 2211"/>
                  <a:gd name="T78" fmla="*/ 2187 w 2201"/>
                  <a:gd name="T79" fmla="*/ 635 h 2211"/>
                  <a:gd name="T80" fmla="*/ 2187 w 2201"/>
                  <a:gd name="T81" fmla="*/ 807 h 2211"/>
                  <a:gd name="T82" fmla="*/ 1753 w 2201"/>
                  <a:gd name="T83" fmla="*/ 893 h 2211"/>
                  <a:gd name="T84" fmla="*/ 1748 w 2201"/>
                  <a:gd name="T85" fmla="*/ 1175 h 2211"/>
                  <a:gd name="T86" fmla="*/ 1624 w 2201"/>
                  <a:gd name="T87" fmla="*/ 1450 h 2211"/>
                  <a:gd name="T88" fmla="*/ 1384 w 2201"/>
                  <a:gd name="T89" fmla="*/ 1670 h 2211"/>
                  <a:gd name="T90" fmla="*/ 1080 w 2201"/>
                  <a:gd name="T91" fmla="*/ 1772 h 2211"/>
                  <a:gd name="T92" fmla="*/ 921 w 2201"/>
                  <a:gd name="T93" fmla="*/ 2111 h 2211"/>
                  <a:gd name="T94" fmla="*/ 781 w 2201"/>
                  <a:gd name="T95" fmla="*/ 2203 h 2211"/>
                  <a:gd name="T96" fmla="*/ 625 w 2201"/>
                  <a:gd name="T97" fmla="*/ 2193 h 2211"/>
                  <a:gd name="T98" fmla="*/ 505 w 2201"/>
                  <a:gd name="T99" fmla="*/ 2089 h 2211"/>
                  <a:gd name="T100" fmla="*/ 434 w 2201"/>
                  <a:gd name="T101" fmla="*/ 1970 h 2211"/>
                  <a:gd name="T102" fmla="*/ 287 w 2201"/>
                  <a:gd name="T103" fmla="*/ 1878 h 2211"/>
                  <a:gd name="T104" fmla="*/ 235 w 2201"/>
                  <a:gd name="T105" fmla="*/ 1738 h 2211"/>
                  <a:gd name="T106" fmla="*/ 72 w 2201"/>
                  <a:gd name="T107" fmla="*/ 1666 h 2211"/>
                  <a:gd name="T108" fmla="*/ 0 w 2201"/>
                  <a:gd name="T109" fmla="*/ 1507 h 2211"/>
                  <a:gd name="T110" fmla="*/ 47 w 2201"/>
                  <a:gd name="T111" fmla="*/ 1341 h 2211"/>
                  <a:gd name="T112" fmla="*/ 435 w 2201"/>
                  <a:gd name="T113" fmla="*/ 1201 h 2211"/>
                  <a:gd name="T114" fmla="*/ 491 w 2201"/>
                  <a:gd name="T115" fmla="*/ 913 h 2211"/>
                  <a:gd name="T116" fmla="*/ 660 w 2201"/>
                  <a:gd name="T117" fmla="*/ 663 h 2211"/>
                  <a:gd name="T118" fmla="*/ 934 w 2201"/>
                  <a:gd name="T119" fmla="*/ 483 h 2211"/>
                  <a:gd name="T120" fmla="*/ 1227 w 2201"/>
                  <a:gd name="T121" fmla="*/ 438 h 2211"/>
                  <a:gd name="T122" fmla="*/ 1335 w 2201"/>
                  <a:gd name="T123" fmla="*/ 48 h 2211"/>
                  <a:gd name="T124" fmla="*/ 1500 w 2201"/>
                  <a:gd name="T125" fmla="*/ 0 h 2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01" h="2211">
                    <a:moveTo>
                      <a:pt x="170" y="1457"/>
                    </a:moveTo>
                    <a:lnTo>
                      <a:pt x="165" y="1477"/>
                    </a:lnTo>
                    <a:lnTo>
                      <a:pt x="164" y="1496"/>
                    </a:lnTo>
                    <a:lnTo>
                      <a:pt x="168" y="1515"/>
                    </a:lnTo>
                    <a:lnTo>
                      <a:pt x="176" y="1532"/>
                    </a:lnTo>
                    <a:lnTo>
                      <a:pt x="189" y="1549"/>
                    </a:lnTo>
                    <a:lnTo>
                      <a:pt x="201" y="1560"/>
                    </a:lnTo>
                    <a:lnTo>
                      <a:pt x="216" y="1567"/>
                    </a:lnTo>
                    <a:lnTo>
                      <a:pt x="231" y="1572"/>
                    </a:lnTo>
                    <a:lnTo>
                      <a:pt x="247" y="1574"/>
                    </a:lnTo>
                    <a:lnTo>
                      <a:pt x="264" y="1572"/>
                    </a:lnTo>
                    <a:lnTo>
                      <a:pt x="280" y="1567"/>
                    </a:lnTo>
                    <a:lnTo>
                      <a:pt x="295" y="1560"/>
                    </a:lnTo>
                    <a:lnTo>
                      <a:pt x="307" y="1549"/>
                    </a:lnTo>
                    <a:lnTo>
                      <a:pt x="307" y="1549"/>
                    </a:lnTo>
                    <a:lnTo>
                      <a:pt x="307" y="1549"/>
                    </a:lnTo>
                    <a:lnTo>
                      <a:pt x="424" y="1666"/>
                    </a:lnTo>
                    <a:lnTo>
                      <a:pt x="424" y="1666"/>
                    </a:lnTo>
                    <a:lnTo>
                      <a:pt x="424" y="1666"/>
                    </a:lnTo>
                    <a:lnTo>
                      <a:pt x="412" y="1681"/>
                    </a:lnTo>
                    <a:lnTo>
                      <a:pt x="404" y="1699"/>
                    </a:lnTo>
                    <a:lnTo>
                      <a:pt x="400" y="1716"/>
                    </a:lnTo>
                    <a:lnTo>
                      <a:pt x="400" y="1735"/>
                    </a:lnTo>
                    <a:lnTo>
                      <a:pt x="404" y="1753"/>
                    </a:lnTo>
                    <a:lnTo>
                      <a:pt x="412" y="1769"/>
                    </a:lnTo>
                    <a:lnTo>
                      <a:pt x="424" y="1785"/>
                    </a:lnTo>
                    <a:lnTo>
                      <a:pt x="436" y="1796"/>
                    </a:lnTo>
                    <a:lnTo>
                      <a:pt x="451" y="1803"/>
                    </a:lnTo>
                    <a:lnTo>
                      <a:pt x="466" y="1808"/>
                    </a:lnTo>
                    <a:lnTo>
                      <a:pt x="483" y="1810"/>
                    </a:lnTo>
                    <a:lnTo>
                      <a:pt x="500" y="1808"/>
                    </a:lnTo>
                    <a:lnTo>
                      <a:pt x="515" y="1803"/>
                    </a:lnTo>
                    <a:lnTo>
                      <a:pt x="530" y="1796"/>
                    </a:lnTo>
                    <a:lnTo>
                      <a:pt x="542" y="1785"/>
                    </a:lnTo>
                    <a:lnTo>
                      <a:pt x="659" y="1902"/>
                    </a:lnTo>
                    <a:lnTo>
                      <a:pt x="647" y="1917"/>
                    </a:lnTo>
                    <a:lnTo>
                      <a:pt x="639" y="1935"/>
                    </a:lnTo>
                    <a:lnTo>
                      <a:pt x="635" y="1952"/>
                    </a:lnTo>
                    <a:lnTo>
                      <a:pt x="635" y="1971"/>
                    </a:lnTo>
                    <a:lnTo>
                      <a:pt x="639" y="1989"/>
                    </a:lnTo>
                    <a:lnTo>
                      <a:pt x="647" y="2006"/>
                    </a:lnTo>
                    <a:lnTo>
                      <a:pt x="659" y="2021"/>
                    </a:lnTo>
                    <a:lnTo>
                      <a:pt x="674" y="2034"/>
                    </a:lnTo>
                    <a:lnTo>
                      <a:pt x="692" y="2042"/>
                    </a:lnTo>
                    <a:lnTo>
                      <a:pt x="711" y="2046"/>
                    </a:lnTo>
                    <a:lnTo>
                      <a:pt x="731" y="2045"/>
                    </a:lnTo>
                    <a:lnTo>
                      <a:pt x="750" y="2040"/>
                    </a:lnTo>
                    <a:lnTo>
                      <a:pt x="717" y="1695"/>
                    </a:lnTo>
                    <a:lnTo>
                      <a:pt x="676" y="1669"/>
                    </a:lnTo>
                    <a:lnTo>
                      <a:pt x="637" y="1640"/>
                    </a:lnTo>
                    <a:lnTo>
                      <a:pt x="601" y="1606"/>
                    </a:lnTo>
                    <a:lnTo>
                      <a:pt x="567" y="1570"/>
                    </a:lnTo>
                    <a:lnTo>
                      <a:pt x="538" y="1530"/>
                    </a:lnTo>
                    <a:lnTo>
                      <a:pt x="512" y="1489"/>
                    </a:lnTo>
                    <a:lnTo>
                      <a:pt x="170" y="1457"/>
                    </a:lnTo>
                    <a:close/>
                    <a:moveTo>
                      <a:pt x="894" y="687"/>
                    </a:moveTo>
                    <a:lnTo>
                      <a:pt x="853" y="714"/>
                    </a:lnTo>
                    <a:lnTo>
                      <a:pt x="813" y="745"/>
                    </a:lnTo>
                    <a:lnTo>
                      <a:pt x="776" y="779"/>
                    </a:lnTo>
                    <a:lnTo>
                      <a:pt x="740" y="820"/>
                    </a:lnTo>
                    <a:lnTo>
                      <a:pt x="706" y="862"/>
                    </a:lnTo>
                    <a:lnTo>
                      <a:pt x="677" y="908"/>
                    </a:lnTo>
                    <a:lnTo>
                      <a:pt x="653" y="955"/>
                    </a:lnTo>
                    <a:lnTo>
                      <a:pt x="633" y="1002"/>
                    </a:lnTo>
                    <a:lnTo>
                      <a:pt x="618" y="1052"/>
                    </a:lnTo>
                    <a:lnTo>
                      <a:pt x="607" y="1101"/>
                    </a:lnTo>
                    <a:lnTo>
                      <a:pt x="600" y="1153"/>
                    </a:lnTo>
                    <a:lnTo>
                      <a:pt x="599" y="1202"/>
                    </a:lnTo>
                    <a:lnTo>
                      <a:pt x="602" y="1249"/>
                    </a:lnTo>
                    <a:lnTo>
                      <a:pt x="611" y="1295"/>
                    </a:lnTo>
                    <a:lnTo>
                      <a:pt x="624" y="1339"/>
                    </a:lnTo>
                    <a:lnTo>
                      <a:pt x="641" y="1380"/>
                    </a:lnTo>
                    <a:lnTo>
                      <a:pt x="662" y="1420"/>
                    </a:lnTo>
                    <a:lnTo>
                      <a:pt x="687" y="1456"/>
                    </a:lnTo>
                    <a:lnTo>
                      <a:pt x="718" y="1490"/>
                    </a:lnTo>
                    <a:lnTo>
                      <a:pt x="748" y="1517"/>
                    </a:lnTo>
                    <a:lnTo>
                      <a:pt x="781" y="1541"/>
                    </a:lnTo>
                    <a:lnTo>
                      <a:pt x="816" y="1562"/>
                    </a:lnTo>
                    <a:lnTo>
                      <a:pt x="855" y="1579"/>
                    </a:lnTo>
                    <a:lnTo>
                      <a:pt x="894" y="1592"/>
                    </a:lnTo>
                    <a:lnTo>
                      <a:pt x="894" y="687"/>
                    </a:lnTo>
                    <a:close/>
                    <a:moveTo>
                      <a:pt x="1307" y="618"/>
                    </a:moveTo>
                    <a:lnTo>
                      <a:pt x="1307" y="1523"/>
                    </a:lnTo>
                    <a:lnTo>
                      <a:pt x="1348" y="1496"/>
                    </a:lnTo>
                    <a:lnTo>
                      <a:pt x="1388" y="1465"/>
                    </a:lnTo>
                    <a:lnTo>
                      <a:pt x="1424" y="1431"/>
                    </a:lnTo>
                    <a:lnTo>
                      <a:pt x="1462" y="1389"/>
                    </a:lnTo>
                    <a:lnTo>
                      <a:pt x="1495" y="1347"/>
                    </a:lnTo>
                    <a:lnTo>
                      <a:pt x="1524" y="1302"/>
                    </a:lnTo>
                    <a:lnTo>
                      <a:pt x="1548" y="1256"/>
                    </a:lnTo>
                    <a:lnTo>
                      <a:pt x="1567" y="1208"/>
                    </a:lnTo>
                    <a:lnTo>
                      <a:pt x="1583" y="1160"/>
                    </a:lnTo>
                    <a:lnTo>
                      <a:pt x="1593" y="1112"/>
                    </a:lnTo>
                    <a:lnTo>
                      <a:pt x="1599" y="1063"/>
                    </a:lnTo>
                    <a:lnTo>
                      <a:pt x="1601" y="1015"/>
                    </a:lnTo>
                    <a:lnTo>
                      <a:pt x="1598" y="968"/>
                    </a:lnTo>
                    <a:lnTo>
                      <a:pt x="1591" y="922"/>
                    </a:lnTo>
                    <a:lnTo>
                      <a:pt x="1579" y="877"/>
                    </a:lnTo>
                    <a:lnTo>
                      <a:pt x="1562" y="835"/>
                    </a:lnTo>
                    <a:lnTo>
                      <a:pt x="1541" y="794"/>
                    </a:lnTo>
                    <a:lnTo>
                      <a:pt x="1515" y="756"/>
                    </a:lnTo>
                    <a:lnTo>
                      <a:pt x="1483" y="720"/>
                    </a:lnTo>
                    <a:lnTo>
                      <a:pt x="1453" y="693"/>
                    </a:lnTo>
                    <a:lnTo>
                      <a:pt x="1420" y="669"/>
                    </a:lnTo>
                    <a:lnTo>
                      <a:pt x="1385" y="648"/>
                    </a:lnTo>
                    <a:lnTo>
                      <a:pt x="1346" y="631"/>
                    </a:lnTo>
                    <a:lnTo>
                      <a:pt x="1307" y="618"/>
                    </a:lnTo>
                    <a:close/>
                    <a:moveTo>
                      <a:pt x="1142" y="604"/>
                    </a:moveTo>
                    <a:lnTo>
                      <a:pt x="1101" y="609"/>
                    </a:lnTo>
                    <a:lnTo>
                      <a:pt x="1059" y="617"/>
                    </a:lnTo>
                    <a:lnTo>
                      <a:pt x="1059" y="1607"/>
                    </a:lnTo>
                    <a:lnTo>
                      <a:pt x="1101" y="1601"/>
                    </a:lnTo>
                    <a:lnTo>
                      <a:pt x="1142" y="1593"/>
                    </a:lnTo>
                    <a:lnTo>
                      <a:pt x="1142" y="604"/>
                    </a:lnTo>
                    <a:close/>
                    <a:moveTo>
                      <a:pt x="1489" y="165"/>
                    </a:moveTo>
                    <a:lnTo>
                      <a:pt x="1470" y="165"/>
                    </a:lnTo>
                    <a:lnTo>
                      <a:pt x="1451" y="170"/>
                    </a:lnTo>
                    <a:lnTo>
                      <a:pt x="1484" y="515"/>
                    </a:lnTo>
                    <a:lnTo>
                      <a:pt x="1525" y="541"/>
                    </a:lnTo>
                    <a:lnTo>
                      <a:pt x="1564" y="570"/>
                    </a:lnTo>
                    <a:lnTo>
                      <a:pt x="1599" y="604"/>
                    </a:lnTo>
                    <a:lnTo>
                      <a:pt x="1633" y="640"/>
                    </a:lnTo>
                    <a:lnTo>
                      <a:pt x="1663" y="680"/>
                    </a:lnTo>
                    <a:lnTo>
                      <a:pt x="1688" y="721"/>
                    </a:lnTo>
                    <a:lnTo>
                      <a:pt x="2031" y="753"/>
                    </a:lnTo>
                    <a:lnTo>
                      <a:pt x="2036" y="734"/>
                    </a:lnTo>
                    <a:lnTo>
                      <a:pt x="2036" y="714"/>
                    </a:lnTo>
                    <a:lnTo>
                      <a:pt x="2033" y="695"/>
                    </a:lnTo>
                    <a:lnTo>
                      <a:pt x="2025" y="678"/>
                    </a:lnTo>
                    <a:lnTo>
                      <a:pt x="2012" y="662"/>
                    </a:lnTo>
                    <a:lnTo>
                      <a:pt x="1997" y="649"/>
                    </a:lnTo>
                    <a:lnTo>
                      <a:pt x="1981" y="641"/>
                    </a:lnTo>
                    <a:lnTo>
                      <a:pt x="1963" y="637"/>
                    </a:lnTo>
                    <a:lnTo>
                      <a:pt x="1944" y="637"/>
                    </a:lnTo>
                    <a:lnTo>
                      <a:pt x="1925" y="641"/>
                    </a:lnTo>
                    <a:lnTo>
                      <a:pt x="1909" y="649"/>
                    </a:lnTo>
                    <a:lnTo>
                      <a:pt x="1894" y="662"/>
                    </a:lnTo>
                    <a:lnTo>
                      <a:pt x="1894" y="662"/>
                    </a:lnTo>
                    <a:lnTo>
                      <a:pt x="1894" y="662"/>
                    </a:lnTo>
                    <a:lnTo>
                      <a:pt x="1777" y="545"/>
                    </a:lnTo>
                    <a:lnTo>
                      <a:pt x="1777" y="545"/>
                    </a:lnTo>
                    <a:lnTo>
                      <a:pt x="1777" y="544"/>
                    </a:lnTo>
                    <a:lnTo>
                      <a:pt x="1789" y="529"/>
                    </a:lnTo>
                    <a:lnTo>
                      <a:pt x="1797" y="513"/>
                    </a:lnTo>
                    <a:lnTo>
                      <a:pt x="1801" y="494"/>
                    </a:lnTo>
                    <a:lnTo>
                      <a:pt x="1801" y="475"/>
                    </a:lnTo>
                    <a:lnTo>
                      <a:pt x="1797" y="458"/>
                    </a:lnTo>
                    <a:lnTo>
                      <a:pt x="1789" y="441"/>
                    </a:lnTo>
                    <a:lnTo>
                      <a:pt x="1777" y="425"/>
                    </a:lnTo>
                    <a:lnTo>
                      <a:pt x="1764" y="414"/>
                    </a:lnTo>
                    <a:lnTo>
                      <a:pt x="1750" y="407"/>
                    </a:lnTo>
                    <a:lnTo>
                      <a:pt x="1735" y="402"/>
                    </a:lnTo>
                    <a:lnTo>
                      <a:pt x="1718" y="400"/>
                    </a:lnTo>
                    <a:lnTo>
                      <a:pt x="1701" y="402"/>
                    </a:lnTo>
                    <a:lnTo>
                      <a:pt x="1685" y="407"/>
                    </a:lnTo>
                    <a:lnTo>
                      <a:pt x="1671" y="414"/>
                    </a:lnTo>
                    <a:lnTo>
                      <a:pt x="1658" y="425"/>
                    </a:lnTo>
                    <a:lnTo>
                      <a:pt x="1542" y="308"/>
                    </a:lnTo>
                    <a:lnTo>
                      <a:pt x="1554" y="293"/>
                    </a:lnTo>
                    <a:lnTo>
                      <a:pt x="1562" y="276"/>
                    </a:lnTo>
                    <a:lnTo>
                      <a:pt x="1566" y="258"/>
                    </a:lnTo>
                    <a:lnTo>
                      <a:pt x="1566" y="239"/>
                    </a:lnTo>
                    <a:lnTo>
                      <a:pt x="1562" y="222"/>
                    </a:lnTo>
                    <a:lnTo>
                      <a:pt x="1554" y="204"/>
                    </a:lnTo>
                    <a:lnTo>
                      <a:pt x="1542" y="189"/>
                    </a:lnTo>
                    <a:lnTo>
                      <a:pt x="1526" y="176"/>
                    </a:lnTo>
                    <a:lnTo>
                      <a:pt x="1509" y="168"/>
                    </a:lnTo>
                    <a:lnTo>
                      <a:pt x="1489" y="165"/>
                    </a:lnTo>
                    <a:close/>
                    <a:moveTo>
                      <a:pt x="1500" y="0"/>
                    </a:moveTo>
                    <a:lnTo>
                      <a:pt x="1535" y="5"/>
                    </a:lnTo>
                    <a:lnTo>
                      <a:pt x="1568" y="14"/>
                    </a:lnTo>
                    <a:lnTo>
                      <a:pt x="1600" y="28"/>
                    </a:lnTo>
                    <a:lnTo>
                      <a:pt x="1631" y="48"/>
                    </a:lnTo>
                    <a:lnTo>
                      <a:pt x="1658" y="72"/>
                    </a:lnTo>
                    <a:lnTo>
                      <a:pt x="1679" y="96"/>
                    </a:lnTo>
                    <a:lnTo>
                      <a:pt x="1696" y="121"/>
                    </a:lnTo>
                    <a:lnTo>
                      <a:pt x="1710" y="149"/>
                    </a:lnTo>
                    <a:lnTo>
                      <a:pt x="1721" y="177"/>
                    </a:lnTo>
                    <a:lnTo>
                      <a:pt x="1728" y="205"/>
                    </a:lnTo>
                    <a:lnTo>
                      <a:pt x="1731" y="236"/>
                    </a:lnTo>
                    <a:lnTo>
                      <a:pt x="1767" y="240"/>
                    </a:lnTo>
                    <a:lnTo>
                      <a:pt x="1802" y="250"/>
                    </a:lnTo>
                    <a:lnTo>
                      <a:pt x="1836" y="264"/>
                    </a:lnTo>
                    <a:lnTo>
                      <a:pt x="1866" y="284"/>
                    </a:lnTo>
                    <a:lnTo>
                      <a:pt x="1894" y="308"/>
                    </a:lnTo>
                    <a:lnTo>
                      <a:pt x="1914" y="332"/>
                    </a:lnTo>
                    <a:lnTo>
                      <a:pt x="1931" y="357"/>
                    </a:lnTo>
                    <a:lnTo>
                      <a:pt x="1946" y="385"/>
                    </a:lnTo>
                    <a:lnTo>
                      <a:pt x="1956" y="413"/>
                    </a:lnTo>
                    <a:lnTo>
                      <a:pt x="1963" y="443"/>
                    </a:lnTo>
                    <a:lnTo>
                      <a:pt x="1966" y="472"/>
                    </a:lnTo>
                    <a:lnTo>
                      <a:pt x="1995" y="475"/>
                    </a:lnTo>
                    <a:lnTo>
                      <a:pt x="2024" y="482"/>
                    </a:lnTo>
                    <a:lnTo>
                      <a:pt x="2053" y="492"/>
                    </a:lnTo>
                    <a:lnTo>
                      <a:pt x="2080" y="506"/>
                    </a:lnTo>
                    <a:lnTo>
                      <a:pt x="2105" y="524"/>
                    </a:lnTo>
                    <a:lnTo>
                      <a:pt x="2129" y="545"/>
                    </a:lnTo>
                    <a:lnTo>
                      <a:pt x="2152" y="572"/>
                    </a:lnTo>
                    <a:lnTo>
                      <a:pt x="2173" y="603"/>
                    </a:lnTo>
                    <a:lnTo>
                      <a:pt x="2187" y="635"/>
                    </a:lnTo>
                    <a:lnTo>
                      <a:pt x="2196" y="669"/>
                    </a:lnTo>
                    <a:lnTo>
                      <a:pt x="2201" y="704"/>
                    </a:lnTo>
                    <a:lnTo>
                      <a:pt x="2201" y="739"/>
                    </a:lnTo>
                    <a:lnTo>
                      <a:pt x="2196" y="773"/>
                    </a:lnTo>
                    <a:lnTo>
                      <a:pt x="2187" y="807"/>
                    </a:lnTo>
                    <a:lnTo>
                      <a:pt x="2173" y="839"/>
                    </a:lnTo>
                    <a:lnTo>
                      <a:pt x="2152" y="869"/>
                    </a:lnTo>
                    <a:lnTo>
                      <a:pt x="2129" y="898"/>
                    </a:lnTo>
                    <a:lnTo>
                      <a:pt x="2102" y="925"/>
                    </a:lnTo>
                    <a:lnTo>
                      <a:pt x="1753" y="893"/>
                    </a:lnTo>
                    <a:lnTo>
                      <a:pt x="1762" y="948"/>
                    </a:lnTo>
                    <a:lnTo>
                      <a:pt x="1765" y="1004"/>
                    </a:lnTo>
                    <a:lnTo>
                      <a:pt x="1764" y="1062"/>
                    </a:lnTo>
                    <a:lnTo>
                      <a:pt x="1759" y="1119"/>
                    </a:lnTo>
                    <a:lnTo>
                      <a:pt x="1748" y="1175"/>
                    </a:lnTo>
                    <a:lnTo>
                      <a:pt x="1733" y="1233"/>
                    </a:lnTo>
                    <a:lnTo>
                      <a:pt x="1712" y="1289"/>
                    </a:lnTo>
                    <a:lnTo>
                      <a:pt x="1687" y="1344"/>
                    </a:lnTo>
                    <a:lnTo>
                      <a:pt x="1658" y="1397"/>
                    </a:lnTo>
                    <a:lnTo>
                      <a:pt x="1624" y="1450"/>
                    </a:lnTo>
                    <a:lnTo>
                      <a:pt x="1584" y="1500"/>
                    </a:lnTo>
                    <a:lnTo>
                      <a:pt x="1541" y="1547"/>
                    </a:lnTo>
                    <a:lnTo>
                      <a:pt x="1492" y="1593"/>
                    </a:lnTo>
                    <a:lnTo>
                      <a:pt x="1439" y="1635"/>
                    </a:lnTo>
                    <a:lnTo>
                      <a:pt x="1384" y="1670"/>
                    </a:lnTo>
                    <a:lnTo>
                      <a:pt x="1326" y="1702"/>
                    </a:lnTo>
                    <a:lnTo>
                      <a:pt x="1266" y="1727"/>
                    </a:lnTo>
                    <a:lnTo>
                      <a:pt x="1205" y="1747"/>
                    </a:lnTo>
                    <a:lnTo>
                      <a:pt x="1143" y="1762"/>
                    </a:lnTo>
                    <a:lnTo>
                      <a:pt x="1080" y="1772"/>
                    </a:lnTo>
                    <a:lnTo>
                      <a:pt x="1017" y="1775"/>
                    </a:lnTo>
                    <a:lnTo>
                      <a:pt x="973" y="1773"/>
                    </a:lnTo>
                    <a:lnTo>
                      <a:pt x="930" y="1768"/>
                    </a:lnTo>
                    <a:lnTo>
                      <a:pt x="888" y="1760"/>
                    </a:lnTo>
                    <a:lnTo>
                      <a:pt x="921" y="2111"/>
                    </a:lnTo>
                    <a:lnTo>
                      <a:pt x="894" y="2138"/>
                    </a:lnTo>
                    <a:lnTo>
                      <a:pt x="869" y="2161"/>
                    </a:lnTo>
                    <a:lnTo>
                      <a:pt x="841" y="2179"/>
                    </a:lnTo>
                    <a:lnTo>
                      <a:pt x="811" y="2193"/>
                    </a:lnTo>
                    <a:lnTo>
                      <a:pt x="781" y="2203"/>
                    </a:lnTo>
                    <a:lnTo>
                      <a:pt x="750" y="2209"/>
                    </a:lnTo>
                    <a:lnTo>
                      <a:pt x="719" y="2211"/>
                    </a:lnTo>
                    <a:lnTo>
                      <a:pt x="686" y="2209"/>
                    </a:lnTo>
                    <a:lnTo>
                      <a:pt x="655" y="2203"/>
                    </a:lnTo>
                    <a:lnTo>
                      <a:pt x="625" y="2193"/>
                    </a:lnTo>
                    <a:lnTo>
                      <a:pt x="595" y="2179"/>
                    </a:lnTo>
                    <a:lnTo>
                      <a:pt x="568" y="2161"/>
                    </a:lnTo>
                    <a:lnTo>
                      <a:pt x="542" y="2138"/>
                    </a:lnTo>
                    <a:lnTo>
                      <a:pt x="522" y="2114"/>
                    </a:lnTo>
                    <a:lnTo>
                      <a:pt x="505" y="2089"/>
                    </a:lnTo>
                    <a:lnTo>
                      <a:pt x="490" y="2061"/>
                    </a:lnTo>
                    <a:lnTo>
                      <a:pt x="480" y="2033"/>
                    </a:lnTo>
                    <a:lnTo>
                      <a:pt x="473" y="2005"/>
                    </a:lnTo>
                    <a:lnTo>
                      <a:pt x="470" y="1975"/>
                    </a:lnTo>
                    <a:lnTo>
                      <a:pt x="434" y="1970"/>
                    </a:lnTo>
                    <a:lnTo>
                      <a:pt x="399" y="1960"/>
                    </a:lnTo>
                    <a:lnTo>
                      <a:pt x="365" y="1946"/>
                    </a:lnTo>
                    <a:lnTo>
                      <a:pt x="335" y="1927"/>
                    </a:lnTo>
                    <a:lnTo>
                      <a:pt x="307" y="1902"/>
                    </a:lnTo>
                    <a:lnTo>
                      <a:pt x="287" y="1878"/>
                    </a:lnTo>
                    <a:lnTo>
                      <a:pt x="269" y="1853"/>
                    </a:lnTo>
                    <a:lnTo>
                      <a:pt x="255" y="1825"/>
                    </a:lnTo>
                    <a:lnTo>
                      <a:pt x="245" y="1797"/>
                    </a:lnTo>
                    <a:lnTo>
                      <a:pt x="238" y="1768"/>
                    </a:lnTo>
                    <a:lnTo>
                      <a:pt x="235" y="1738"/>
                    </a:lnTo>
                    <a:lnTo>
                      <a:pt x="199" y="1734"/>
                    </a:lnTo>
                    <a:lnTo>
                      <a:pt x="164" y="1724"/>
                    </a:lnTo>
                    <a:lnTo>
                      <a:pt x="130" y="1710"/>
                    </a:lnTo>
                    <a:lnTo>
                      <a:pt x="100" y="1689"/>
                    </a:lnTo>
                    <a:lnTo>
                      <a:pt x="72" y="1666"/>
                    </a:lnTo>
                    <a:lnTo>
                      <a:pt x="47" y="1638"/>
                    </a:lnTo>
                    <a:lnTo>
                      <a:pt x="28" y="1607"/>
                    </a:lnTo>
                    <a:lnTo>
                      <a:pt x="14" y="1575"/>
                    </a:lnTo>
                    <a:lnTo>
                      <a:pt x="5" y="1541"/>
                    </a:lnTo>
                    <a:lnTo>
                      <a:pt x="0" y="1507"/>
                    </a:lnTo>
                    <a:lnTo>
                      <a:pt x="0" y="1471"/>
                    </a:lnTo>
                    <a:lnTo>
                      <a:pt x="5" y="1437"/>
                    </a:lnTo>
                    <a:lnTo>
                      <a:pt x="14" y="1404"/>
                    </a:lnTo>
                    <a:lnTo>
                      <a:pt x="28" y="1371"/>
                    </a:lnTo>
                    <a:lnTo>
                      <a:pt x="47" y="1341"/>
                    </a:lnTo>
                    <a:lnTo>
                      <a:pt x="72" y="1312"/>
                    </a:lnTo>
                    <a:lnTo>
                      <a:pt x="99" y="1285"/>
                    </a:lnTo>
                    <a:lnTo>
                      <a:pt x="447" y="1317"/>
                    </a:lnTo>
                    <a:lnTo>
                      <a:pt x="438" y="1260"/>
                    </a:lnTo>
                    <a:lnTo>
                      <a:pt x="435" y="1201"/>
                    </a:lnTo>
                    <a:lnTo>
                      <a:pt x="436" y="1141"/>
                    </a:lnTo>
                    <a:lnTo>
                      <a:pt x="443" y="1082"/>
                    </a:lnTo>
                    <a:lnTo>
                      <a:pt x="454" y="1024"/>
                    </a:lnTo>
                    <a:lnTo>
                      <a:pt x="470" y="969"/>
                    </a:lnTo>
                    <a:lnTo>
                      <a:pt x="491" y="913"/>
                    </a:lnTo>
                    <a:lnTo>
                      <a:pt x="517" y="859"/>
                    </a:lnTo>
                    <a:lnTo>
                      <a:pt x="546" y="807"/>
                    </a:lnTo>
                    <a:lnTo>
                      <a:pt x="580" y="756"/>
                    </a:lnTo>
                    <a:lnTo>
                      <a:pt x="618" y="708"/>
                    </a:lnTo>
                    <a:lnTo>
                      <a:pt x="660" y="663"/>
                    </a:lnTo>
                    <a:lnTo>
                      <a:pt x="709" y="617"/>
                    </a:lnTo>
                    <a:lnTo>
                      <a:pt x="762" y="576"/>
                    </a:lnTo>
                    <a:lnTo>
                      <a:pt x="817" y="540"/>
                    </a:lnTo>
                    <a:lnTo>
                      <a:pt x="875" y="510"/>
                    </a:lnTo>
                    <a:lnTo>
                      <a:pt x="934" y="483"/>
                    </a:lnTo>
                    <a:lnTo>
                      <a:pt x="995" y="463"/>
                    </a:lnTo>
                    <a:lnTo>
                      <a:pt x="1058" y="449"/>
                    </a:lnTo>
                    <a:lnTo>
                      <a:pt x="1120" y="440"/>
                    </a:lnTo>
                    <a:lnTo>
                      <a:pt x="1184" y="437"/>
                    </a:lnTo>
                    <a:lnTo>
                      <a:pt x="1227" y="438"/>
                    </a:lnTo>
                    <a:lnTo>
                      <a:pt x="1271" y="443"/>
                    </a:lnTo>
                    <a:lnTo>
                      <a:pt x="1313" y="450"/>
                    </a:lnTo>
                    <a:lnTo>
                      <a:pt x="1280" y="100"/>
                    </a:lnTo>
                    <a:lnTo>
                      <a:pt x="1307" y="72"/>
                    </a:lnTo>
                    <a:lnTo>
                      <a:pt x="1335" y="48"/>
                    </a:lnTo>
                    <a:lnTo>
                      <a:pt x="1365" y="28"/>
                    </a:lnTo>
                    <a:lnTo>
                      <a:pt x="1398" y="14"/>
                    </a:lnTo>
                    <a:lnTo>
                      <a:pt x="1431" y="5"/>
                    </a:lnTo>
                    <a:lnTo>
                      <a:pt x="1465" y="0"/>
                    </a:lnTo>
                    <a:lnTo>
                      <a:pt x="150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104" name="Group 248"/>
            <p:cNvGrpSpPr>
              <a:grpSpLocks noChangeAspect="1"/>
            </p:cNvGrpSpPr>
            <p:nvPr/>
          </p:nvGrpSpPr>
          <p:grpSpPr bwMode="auto">
            <a:xfrm>
              <a:off x="6239629" y="2785176"/>
              <a:ext cx="451619" cy="453648"/>
              <a:chOff x="2475" y="3933"/>
              <a:chExt cx="222" cy="223"/>
            </a:xfrm>
          </p:grpSpPr>
          <p:sp>
            <p:nvSpPr>
              <p:cNvPr id="105" name="Rectangle 249"/>
              <p:cNvSpPr>
                <a:spLocks noChangeArrowheads="1"/>
              </p:cNvSpPr>
              <p:nvPr/>
            </p:nvSpPr>
            <p:spPr bwMode="auto">
              <a:xfrm>
                <a:off x="2475" y="3933"/>
                <a:ext cx="222" cy="223"/>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06" name="Rectangle 250"/>
              <p:cNvSpPr>
                <a:spLocks noChangeArrowheads="1"/>
              </p:cNvSpPr>
              <p:nvPr/>
            </p:nvSpPr>
            <p:spPr bwMode="auto">
              <a:xfrm>
                <a:off x="2475" y="3933"/>
                <a:ext cx="222" cy="223"/>
              </a:xfrm>
              <a:prstGeom prst="rect">
                <a:avLst/>
              </a:prstGeom>
              <a:solidFill>
                <a:srgbClr val="95C1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07" name="Freeform 251"/>
              <p:cNvSpPr>
                <a:spLocks noEditPoints="1"/>
              </p:cNvSpPr>
              <p:nvPr/>
            </p:nvSpPr>
            <p:spPr bwMode="auto">
              <a:xfrm>
                <a:off x="2519" y="3956"/>
                <a:ext cx="133" cy="172"/>
              </a:xfrm>
              <a:custGeom>
                <a:avLst/>
                <a:gdLst>
                  <a:gd name="T0" fmla="*/ 391 w 1993"/>
                  <a:gd name="T1" fmla="*/ 1166 h 2585"/>
                  <a:gd name="T2" fmla="*/ 568 w 1993"/>
                  <a:gd name="T3" fmla="*/ 2420 h 2585"/>
                  <a:gd name="T4" fmla="*/ 1432 w 1993"/>
                  <a:gd name="T5" fmla="*/ 2420 h 2585"/>
                  <a:gd name="T6" fmla="*/ 1604 w 1993"/>
                  <a:gd name="T7" fmla="*/ 1166 h 2585"/>
                  <a:gd name="T8" fmla="*/ 391 w 1993"/>
                  <a:gd name="T9" fmla="*/ 1166 h 2585"/>
                  <a:gd name="T10" fmla="*/ 164 w 1993"/>
                  <a:gd name="T11" fmla="*/ 832 h 2585"/>
                  <a:gd name="T12" fmla="*/ 164 w 1993"/>
                  <a:gd name="T13" fmla="*/ 1001 h 2585"/>
                  <a:gd name="T14" fmla="*/ 1828 w 1993"/>
                  <a:gd name="T15" fmla="*/ 1001 h 2585"/>
                  <a:gd name="T16" fmla="*/ 1828 w 1993"/>
                  <a:gd name="T17" fmla="*/ 832 h 2585"/>
                  <a:gd name="T18" fmla="*/ 164 w 1993"/>
                  <a:gd name="T19" fmla="*/ 832 h 2585"/>
                  <a:gd name="T20" fmla="*/ 415 w 1993"/>
                  <a:gd name="T21" fmla="*/ 498 h 2585"/>
                  <a:gd name="T22" fmla="*/ 391 w 1993"/>
                  <a:gd name="T23" fmla="*/ 537 h 2585"/>
                  <a:gd name="T24" fmla="*/ 371 w 1993"/>
                  <a:gd name="T25" fmla="*/ 578 h 2585"/>
                  <a:gd name="T26" fmla="*/ 355 w 1993"/>
                  <a:gd name="T27" fmla="*/ 622 h 2585"/>
                  <a:gd name="T28" fmla="*/ 343 w 1993"/>
                  <a:gd name="T29" fmla="*/ 667 h 2585"/>
                  <a:gd name="T30" fmla="*/ 1650 w 1993"/>
                  <a:gd name="T31" fmla="*/ 667 h 2585"/>
                  <a:gd name="T32" fmla="*/ 1638 w 1993"/>
                  <a:gd name="T33" fmla="*/ 622 h 2585"/>
                  <a:gd name="T34" fmla="*/ 1622 w 1993"/>
                  <a:gd name="T35" fmla="*/ 578 h 2585"/>
                  <a:gd name="T36" fmla="*/ 1601 w 1993"/>
                  <a:gd name="T37" fmla="*/ 537 h 2585"/>
                  <a:gd name="T38" fmla="*/ 1578 w 1993"/>
                  <a:gd name="T39" fmla="*/ 498 h 2585"/>
                  <a:gd name="T40" fmla="*/ 415 w 1993"/>
                  <a:gd name="T41" fmla="*/ 498 h 2585"/>
                  <a:gd name="T42" fmla="*/ 1161 w 1993"/>
                  <a:gd name="T43" fmla="*/ 165 h 2585"/>
                  <a:gd name="T44" fmla="*/ 1161 w 1993"/>
                  <a:gd name="T45" fmla="*/ 333 h 2585"/>
                  <a:gd name="T46" fmla="*/ 1246 w 1993"/>
                  <a:gd name="T47" fmla="*/ 333 h 2585"/>
                  <a:gd name="T48" fmla="*/ 1246 w 1993"/>
                  <a:gd name="T49" fmla="*/ 165 h 2585"/>
                  <a:gd name="T50" fmla="*/ 1161 w 1993"/>
                  <a:gd name="T51" fmla="*/ 165 h 2585"/>
                  <a:gd name="T52" fmla="*/ 997 w 1993"/>
                  <a:gd name="T53" fmla="*/ 0 h 2585"/>
                  <a:gd name="T54" fmla="*/ 1411 w 1993"/>
                  <a:gd name="T55" fmla="*/ 0 h 2585"/>
                  <a:gd name="T56" fmla="*/ 1411 w 1993"/>
                  <a:gd name="T57" fmla="*/ 333 h 2585"/>
                  <a:gd name="T58" fmla="*/ 1659 w 1993"/>
                  <a:gd name="T59" fmla="*/ 333 h 2585"/>
                  <a:gd name="T60" fmla="*/ 1684 w 1993"/>
                  <a:gd name="T61" fmla="*/ 364 h 2585"/>
                  <a:gd name="T62" fmla="*/ 1716 w 1993"/>
                  <a:gd name="T63" fmla="*/ 409 h 2585"/>
                  <a:gd name="T64" fmla="*/ 1746 w 1993"/>
                  <a:gd name="T65" fmla="*/ 457 h 2585"/>
                  <a:gd name="T66" fmla="*/ 1770 w 1993"/>
                  <a:gd name="T67" fmla="*/ 505 h 2585"/>
                  <a:gd name="T68" fmla="*/ 1790 w 1993"/>
                  <a:gd name="T69" fmla="*/ 557 h 2585"/>
                  <a:gd name="T70" fmla="*/ 1805 w 1993"/>
                  <a:gd name="T71" fmla="*/ 611 h 2585"/>
                  <a:gd name="T72" fmla="*/ 1817 w 1993"/>
                  <a:gd name="T73" fmla="*/ 667 h 2585"/>
                  <a:gd name="T74" fmla="*/ 1993 w 1993"/>
                  <a:gd name="T75" fmla="*/ 667 h 2585"/>
                  <a:gd name="T76" fmla="*/ 1993 w 1993"/>
                  <a:gd name="T77" fmla="*/ 1166 h 2585"/>
                  <a:gd name="T78" fmla="*/ 1770 w 1993"/>
                  <a:gd name="T79" fmla="*/ 1166 h 2585"/>
                  <a:gd name="T80" fmla="*/ 1575 w 1993"/>
                  <a:gd name="T81" fmla="*/ 2585 h 2585"/>
                  <a:gd name="T82" fmla="*/ 426 w 1993"/>
                  <a:gd name="T83" fmla="*/ 2585 h 2585"/>
                  <a:gd name="T84" fmla="*/ 224 w 1993"/>
                  <a:gd name="T85" fmla="*/ 1166 h 2585"/>
                  <a:gd name="T86" fmla="*/ 0 w 1993"/>
                  <a:gd name="T87" fmla="*/ 1166 h 2585"/>
                  <a:gd name="T88" fmla="*/ 0 w 1993"/>
                  <a:gd name="T89" fmla="*/ 667 h 2585"/>
                  <a:gd name="T90" fmla="*/ 176 w 1993"/>
                  <a:gd name="T91" fmla="*/ 667 h 2585"/>
                  <a:gd name="T92" fmla="*/ 187 w 1993"/>
                  <a:gd name="T93" fmla="*/ 611 h 2585"/>
                  <a:gd name="T94" fmla="*/ 203 w 1993"/>
                  <a:gd name="T95" fmla="*/ 557 h 2585"/>
                  <a:gd name="T96" fmla="*/ 223 w 1993"/>
                  <a:gd name="T97" fmla="*/ 505 h 2585"/>
                  <a:gd name="T98" fmla="*/ 247 w 1993"/>
                  <a:gd name="T99" fmla="*/ 457 h 2585"/>
                  <a:gd name="T100" fmla="*/ 275 w 1993"/>
                  <a:gd name="T101" fmla="*/ 409 h 2585"/>
                  <a:gd name="T102" fmla="*/ 309 w 1993"/>
                  <a:gd name="T103" fmla="*/ 364 h 2585"/>
                  <a:gd name="T104" fmla="*/ 333 w 1993"/>
                  <a:gd name="T105" fmla="*/ 333 h 2585"/>
                  <a:gd name="T106" fmla="*/ 997 w 1993"/>
                  <a:gd name="T107" fmla="*/ 333 h 2585"/>
                  <a:gd name="T108" fmla="*/ 997 w 1993"/>
                  <a:gd name="T109" fmla="*/ 0 h 2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93" h="2585">
                    <a:moveTo>
                      <a:pt x="391" y="1166"/>
                    </a:moveTo>
                    <a:lnTo>
                      <a:pt x="568" y="2420"/>
                    </a:lnTo>
                    <a:lnTo>
                      <a:pt x="1432" y="2420"/>
                    </a:lnTo>
                    <a:lnTo>
                      <a:pt x="1604" y="1166"/>
                    </a:lnTo>
                    <a:lnTo>
                      <a:pt x="391" y="1166"/>
                    </a:lnTo>
                    <a:close/>
                    <a:moveTo>
                      <a:pt x="164" y="832"/>
                    </a:moveTo>
                    <a:lnTo>
                      <a:pt x="164" y="1001"/>
                    </a:lnTo>
                    <a:lnTo>
                      <a:pt x="1828" y="1001"/>
                    </a:lnTo>
                    <a:lnTo>
                      <a:pt x="1828" y="832"/>
                    </a:lnTo>
                    <a:lnTo>
                      <a:pt x="164" y="832"/>
                    </a:lnTo>
                    <a:close/>
                    <a:moveTo>
                      <a:pt x="415" y="498"/>
                    </a:moveTo>
                    <a:lnTo>
                      <a:pt x="391" y="537"/>
                    </a:lnTo>
                    <a:lnTo>
                      <a:pt x="371" y="578"/>
                    </a:lnTo>
                    <a:lnTo>
                      <a:pt x="355" y="622"/>
                    </a:lnTo>
                    <a:lnTo>
                      <a:pt x="343" y="667"/>
                    </a:lnTo>
                    <a:lnTo>
                      <a:pt x="1650" y="667"/>
                    </a:lnTo>
                    <a:lnTo>
                      <a:pt x="1638" y="622"/>
                    </a:lnTo>
                    <a:lnTo>
                      <a:pt x="1622" y="578"/>
                    </a:lnTo>
                    <a:lnTo>
                      <a:pt x="1601" y="537"/>
                    </a:lnTo>
                    <a:lnTo>
                      <a:pt x="1578" y="498"/>
                    </a:lnTo>
                    <a:lnTo>
                      <a:pt x="415" y="498"/>
                    </a:lnTo>
                    <a:close/>
                    <a:moveTo>
                      <a:pt x="1161" y="165"/>
                    </a:moveTo>
                    <a:lnTo>
                      <a:pt x="1161" y="333"/>
                    </a:lnTo>
                    <a:lnTo>
                      <a:pt x="1246" y="333"/>
                    </a:lnTo>
                    <a:lnTo>
                      <a:pt x="1246" y="165"/>
                    </a:lnTo>
                    <a:lnTo>
                      <a:pt x="1161" y="165"/>
                    </a:lnTo>
                    <a:close/>
                    <a:moveTo>
                      <a:pt x="997" y="0"/>
                    </a:moveTo>
                    <a:lnTo>
                      <a:pt x="1411" y="0"/>
                    </a:lnTo>
                    <a:lnTo>
                      <a:pt x="1411" y="333"/>
                    </a:lnTo>
                    <a:lnTo>
                      <a:pt x="1659" y="333"/>
                    </a:lnTo>
                    <a:lnTo>
                      <a:pt x="1684" y="364"/>
                    </a:lnTo>
                    <a:lnTo>
                      <a:pt x="1716" y="409"/>
                    </a:lnTo>
                    <a:lnTo>
                      <a:pt x="1746" y="457"/>
                    </a:lnTo>
                    <a:lnTo>
                      <a:pt x="1770" y="505"/>
                    </a:lnTo>
                    <a:lnTo>
                      <a:pt x="1790" y="557"/>
                    </a:lnTo>
                    <a:lnTo>
                      <a:pt x="1805" y="611"/>
                    </a:lnTo>
                    <a:lnTo>
                      <a:pt x="1817" y="667"/>
                    </a:lnTo>
                    <a:lnTo>
                      <a:pt x="1993" y="667"/>
                    </a:lnTo>
                    <a:lnTo>
                      <a:pt x="1993" y="1166"/>
                    </a:lnTo>
                    <a:lnTo>
                      <a:pt x="1770" y="1166"/>
                    </a:lnTo>
                    <a:lnTo>
                      <a:pt x="1575" y="2585"/>
                    </a:lnTo>
                    <a:lnTo>
                      <a:pt x="426" y="2585"/>
                    </a:lnTo>
                    <a:lnTo>
                      <a:pt x="224" y="1166"/>
                    </a:lnTo>
                    <a:lnTo>
                      <a:pt x="0" y="1166"/>
                    </a:lnTo>
                    <a:lnTo>
                      <a:pt x="0" y="667"/>
                    </a:lnTo>
                    <a:lnTo>
                      <a:pt x="176" y="667"/>
                    </a:lnTo>
                    <a:lnTo>
                      <a:pt x="187" y="611"/>
                    </a:lnTo>
                    <a:lnTo>
                      <a:pt x="203" y="557"/>
                    </a:lnTo>
                    <a:lnTo>
                      <a:pt x="223" y="505"/>
                    </a:lnTo>
                    <a:lnTo>
                      <a:pt x="247" y="457"/>
                    </a:lnTo>
                    <a:lnTo>
                      <a:pt x="275" y="409"/>
                    </a:lnTo>
                    <a:lnTo>
                      <a:pt x="309" y="364"/>
                    </a:lnTo>
                    <a:lnTo>
                      <a:pt x="333" y="333"/>
                    </a:lnTo>
                    <a:lnTo>
                      <a:pt x="997" y="333"/>
                    </a:lnTo>
                    <a:lnTo>
                      <a:pt x="99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108" name="Group 65"/>
            <p:cNvGrpSpPr>
              <a:grpSpLocks noChangeAspect="1"/>
            </p:cNvGrpSpPr>
            <p:nvPr/>
          </p:nvGrpSpPr>
          <p:grpSpPr bwMode="auto">
            <a:xfrm>
              <a:off x="8402876" y="3878009"/>
              <a:ext cx="451606" cy="453648"/>
              <a:chOff x="1596" y="3502"/>
              <a:chExt cx="222" cy="223"/>
            </a:xfrm>
          </p:grpSpPr>
          <p:sp>
            <p:nvSpPr>
              <p:cNvPr id="109" name="Rectangle 66"/>
              <p:cNvSpPr>
                <a:spLocks noChangeArrowheads="1"/>
              </p:cNvSpPr>
              <p:nvPr/>
            </p:nvSpPr>
            <p:spPr bwMode="auto">
              <a:xfrm>
                <a:off x="1596" y="3502"/>
                <a:ext cx="222" cy="223"/>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10" name="Rectangle 67"/>
              <p:cNvSpPr>
                <a:spLocks noChangeArrowheads="1"/>
              </p:cNvSpPr>
              <p:nvPr/>
            </p:nvSpPr>
            <p:spPr bwMode="auto">
              <a:xfrm>
                <a:off x="1596" y="3502"/>
                <a:ext cx="222" cy="223"/>
              </a:xfrm>
              <a:prstGeom prst="rect">
                <a:avLst/>
              </a:prstGeom>
              <a:solidFill>
                <a:srgbClr val="94B7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11" name="Freeform 68"/>
              <p:cNvSpPr>
                <a:spLocks noEditPoints="1"/>
              </p:cNvSpPr>
              <p:nvPr/>
            </p:nvSpPr>
            <p:spPr bwMode="auto">
              <a:xfrm>
                <a:off x="1640" y="3547"/>
                <a:ext cx="133" cy="133"/>
              </a:xfrm>
              <a:custGeom>
                <a:avLst/>
                <a:gdLst>
                  <a:gd name="T0" fmla="*/ 1405 w 1995"/>
                  <a:gd name="T1" fmla="*/ 1593 h 2004"/>
                  <a:gd name="T2" fmla="*/ 1382 w 1995"/>
                  <a:gd name="T3" fmla="*/ 1744 h 2004"/>
                  <a:gd name="T4" fmla="*/ 1590 w 1995"/>
                  <a:gd name="T5" fmla="*/ 1588 h 2004"/>
                  <a:gd name="T6" fmla="*/ 1742 w 1995"/>
                  <a:gd name="T7" fmla="*/ 1378 h 2004"/>
                  <a:gd name="T8" fmla="*/ 736 w 1995"/>
                  <a:gd name="T9" fmla="*/ 1509 h 2004"/>
                  <a:gd name="T10" fmla="*/ 829 w 1995"/>
                  <a:gd name="T11" fmla="*/ 1714 h 2004"/>
                  <a:gd name="T12" fmla="*/ 940 w 1995"/>
                  <a:gd name="T13" fmla="*/ 1824 h 2004"/>
                  <a:gd name="T14" fmla="*/ 1026 w 1995"/>
                  <a:gd name="T15" fmla="*/ 1835 h 2004"/>
                  <a:gd name="T16" fmla="*/ 1139 w 1995"/>
                  <a:gd name="T17" fmla="*/ 1751 h 2004"/>
                  <a:gd name="T18" fmla="*/ 1238 w 1995"/>
                  <a:gd name="T19" fmla="*/ 1569 h 2004"/>
                  <a:gd name="T20" fmla="*/ 701 w 1995"/>
                  <a:gd name="T21" fmla="*/ 1378 h 2004"/>
                  <a:gd name="T22" fmla="*/ 361 w 1995"/>
                  <a:gd name="T23" fmla="*/ 1541 h 2004"/>
                  <a:gd name="T24" fmla="*/ 556 w 1995"/>
                  <a:gd name="T25" fmla="*/ 1711 h 2004"/>
                  <a:gd name="T26" fmla="*/ 615 w 1995"/>
                  <a:gd name="T27" fmla="*/ 1657 h 2004"/>
                  <a:gd name="T28" fmla="*/ 533 w 1995"/>
                  <a:gd name="T29" fmla="*/ 1378 h 2004"/>
                  <a:gd name="T30" fmla="*/ 1494 w 1995"/>
                  <a:gd name="T31" fmla="*/ 931 h 2004"/>
                  <a:gd name="T32" fmla="*/ 1485 w 1995"/>
                  <a:gd name="T33" fmla="*/ 1211 h 2004"/>
                  <a:gd name="T34" fmla="*/ 1829 w 1995"/>
                  <a:gd name="T35" fmla="*/ 1003 h 2004"/>
                  <a:gd name="T36" fmla="*/ 1485 w 1995"/>
                  <a:gd name="T37" fmla="*/ 793 h 2004"/>
                  <a:gd name="T38" fmla="*/ 664 w 1995"/>
                  <a:gd name="T39" fmla="*/ 1003 h 2004"/>
                  <a:gd name="T40" fmla="*/ 1320 w 1995"/>
                  <a:gd name="T41" fmla="*/ 1211 h 2004"/>
                  <a:gd name="T42" fmla="*/ 1330 w 1995"/>
                  <a:gd name="T43" fmla="*/ 930 h 2004"/>
                  <a:gd name="T44" fmla="*/ 192 w 1995"/>
                  <a:gd name="T45" fmla="*/ 793 h 2004"/>
                  <a:gd name="T46" fmla="*/ 168 w 1995"/>
                  <a:gd name="T47" fmla="*/ 1073 h 2004"/>
                  <a:gd name="T48" fmla="*/ 504 w 1995"/>
                  <a:gd name="T49" fmla="*/ 1143 h 2004"/>
                  <a:gd name="T50" fmla="*/ 504 w 1995"/>
                  <a:gd name="T51" fmla="*/ 861 h 2004"/>
                  <a:gd name="T52" fmla="*/ 1353 w 1995"/>
                  <a:gd name="T53" fmla="*/ 287 h 2004"/>
                  <a:gd name="T54" fmla="*/ 1446 w 1995"/>
                  <a:gd name="T55" fmla="*/ 550 h 2004"/>
                  <a:gd name="T56" fmla="*/ 1674 w 1995"/>
                  <a:gd name="T57" fmla="*/ 515 h 2004"/>
                  <a:gd name="T58" fmla="*/ 1492 w 1995"/>
                  <a:gd name="T59" fmla="*/ 331 h 2004"/>
                  <a:gd name="T60" fmla="*/ 672 w 1995"/>
                  <a:gd name="T61" fmla="*/ 232 h 2004"/>
                  <a:gd name="T62" fmla="*/ 452 w 1995"/>
                  <a:gd name="T63" fmla="*/ 371 h 2004"/>
                  <a:gd name="T64" fmla="*/ 286 w 1995"/>
                  <a:gd name="T65" fmla="*/ 570 h 2004"/>
                  <a:gd name="T66" fmla="*/ 568 w 1995"/>
                  <a:gd name="T67" fmla="*/ 478 h 2004"/>
                  <a:gd name="T68" fmla="*/ 672 w 1995"/>
                  <a:gd name="T69" fmla="*/ 232 h 2004"/>
                  <a:gd name="T70" fmla="*/ 911 w 1995"/>
                  <a:gd name="T71" fmla="*/ 198 h 2004"/>
                  <a:gd name="T72" fmla="*/ 803 w 1995"/>
                  <a:gd name="T73" fmla="*/ 334 h 2004"/>
                  <a:gd name="T74" fmla="*/ 717 w 1995"/>
                  <a:gd name="T75" fmla="*/ 559 h 2004"/>
                  <a:gd name="T76" fmla="*/ 1258 w 1995"/>
                  <a:gd name="T77" fmla="*/ 495 h 2004"/>
                  <a:gd name="T78" fmla="*/ 1165 w 1995"/>
                  <a:gd name="T79" fmla="*/ 290 h 2004"/>
                  <a:gd name="T80" fmla="*/ 1054 w 1995"/>
                  <a:gd name="T81" fmla="*/ 180 h 2004"/>
                  <a:gd name="T82" fmla="*/ 997 w 1995"/>
                  <a:gd name="T83" fmla="*/ 0 h 2004"/>
                  <a:gd name="T84" fmla="*/ 1226 w 1995"/>
                  <a:gd name="T85" fmla="*/ 27 h 2004"/>
                  <a:gd name="T86" fmla="*/ 1501 w 1995"/>
                  <a:gd name="T87" fmla="*/ 138 h 2004"/>
                  <a:gd name="T88" fmla="*/ 1728 w 1995"/>
                  <a:gd name="T89" fmla="*/ 320 h 2004"/>
                  <a:gd name="T90" fmla="*/ 1893 w 1995"/>
                  <a:gd name="T91" fmla="*/ 562 h 2004"/>
                  <a:gd name="T92" fmla="*/ 1983 w 1995"/>
                  <a:gd name="T93" fmla="*/ 847 h 2004"/>
                  <a:gd name="T94" fmla="*/ 1983 w 1995"/>
                  <a:gd name="T95" fmla="*/ 1157 h 2004"/>
                  <a:gd name="T96" fmla="*/ 1893 w 1995"/>
                  <a:gd name="T97" fmla="*/ 1442 h 2004"/>
                  <a:gd name="T98" fmla="*/ 1728 w 1995"/>
                  <a:gd name="T99" fmla="*/ 1684 h 2004"/>
                  <a:gd name="T100" fmla="*/ 1501 w 1995"/>
                  <a:gd name="T101" fmla="*/ 1867 h 2004"/>
                  <a:gd name="T102" fmla="*/ 1226 w 1995"/>
                  <a:gd name="T103" fmla="*/ 1978 h 2004"/>
                  <a:gd name="T104" fmla="*/ 997 w 1995"/>
                  <a:gd name="T105" fmla="*/ 2004 h 2004"/>
                  <a:gd name="T106" fmla="*/ 696 w 1995"/>
                  <a:gd name="T107" fmla="*/ 1957 h 2004"/>
                  <a:gd name="T108" fmla="*/ 433 w 1995"/>
                  <a:gd name="T109" fmla="*/ 1828 h 2004"/>
                  <a:gd name="T110" fmla="*/ 220 w 1995"/>
                  <a:gd name="T111" fmla="*/ 1628 h 2004"/>
                  <a:gd name="T112" fmla="*/ 72 w 1995"/>
                  <a:gd name="T113" fmla="*/ 1375 h 2004"/>
                  <a:gd name="T114" fmla="*/ 3 w 1995"/>
                  <a:gd name="T115" fmla="*/ 1081 h 2004"/>
                  <a:gd name="T116" fmla="*/ 26 w 1995"/>
                  <a:gd name="T117" fmla="*/ 772 h 2004"/>
                  <a:gd name="T118" fmla="*/ 136 w 1995"/>
                  <a:gd name="T119" fmla="*/ 497 h 2004"/>
                  <a:gd name="T120" fmla="*/ 319 w 1995"/>
                  <a:gd name="T121" fmla="*/ 269 h 2004"/>
                  <a:gd name="T122" fmla="*/ 559 w 1995"/>
                  <a:gd name="T123" fmla="*/ 102 h 2004"/>
                  <a:gd name="T124" fmla="*/ 844 w 1995"/>
                  <a:gd name="T125" fmla="*/ 12 h 2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95" h="2004">
                    <a:moveTo>
                      <a:pt x="1462" y="1378"/>
                    </a:moveTo>
                    <a:lnTo>
                      <a:pt x="1446" y="1454"/>
                    </a:lnTo>
                    <a:lnTo>
                      <a:pt x="1427" y="1526"/>
                    </a:lnTo>
                    <a:lnTo>
                      <a:pt x="1405" y="1593"/>
                    </a:lnTo>
                    <a:lnTo>
                      <a:pt x="1379" y="1657"/>
                    </a:lnTo>
                    <a:lnTo>
                      <a:pt x="1353" y="1717"/>
                    </a:lnTo>
                    <a:lnTo>
                      <a:pt x="1323" y="1772"/>
                    </a:lnTo>
                    <a:lnTo>
                      <a:pt x="1382" y="1744"/>
                    </a:lnTo>
                    <a:lnTo>
                      <a:pt x="1439" y="1711"/>
                    </a:lnTo>
                    <a:lnTo>
                      <a:pt x="1492" y="1674"/>
                    </a:lnTo>
                    <a:lnTo>
                      <a:pt x="1543" y="1633"/>
                    </a:lnTo>
                    <a:lnTo>
                      <a:pt x="1590" y="1588"/>
                    </a:lnTo>
                    <a:lnTo>
                      <a:pt x="1634" y="1541"/>
                    </a:lnTo>
                    <a:lnTo>
                      <a:pt x="1674" y="1489"/>
                    </a:lnTo>
                    <a:lnTo>
                      <a:pt x="1709" y="1434"/>
                    </a:lnTo>
                    <a:lnTo>
                      <a:pt x="1742" y="1378"/>
                    </a:lnTo>
                    <a:lnTo>
                      <a:pt x="1462" y="1378"/>
                    </a:lnTo>
                    <a:close/>
                    <a:moveTo>
                      <a:pt x="701" y="1378"/>
                    </a:moveTo>
                    <a:lnTo>
                      <a:pt x="717" y="1446"/>
                    </a:lnTo>
                    <a:lnTo>
                      <a:pt x="736" y="1509"/>
                    </a:lnTo>
                    <a:lnTo>
                      <a:pt x="757" y="1569"/>
                    </a:lnTo>
                    <a:lnTo>
                      <a:pt x="779" y="1623"/>
                    </a:lnTo>
                    <a:lnTo>
                      <a:pt x="803" y="1672"/>
                    </a:lnTo>
                    <a:lnTo>
                      <a:pt x="829" y="1714"/>
                    </a:lnTo>
                    <a:lnTo>
                      <a:pt x="856" y="1751"/>
                    </a:lnTo>
                    <a:lnTo>
                      <a:pt x="883" y="1782"/>
                    </a:lnTo>
                    <a:lnTo>
                      <a:pt x="911" y="1806"/>
                    </a:lnTo>
                    <a:lnTo>
                      <a:pt x="940" y="1824"/>
                    </a:lnTo>
                    <a:lnTo>
                      <a:pt x="969" y="1835"/>
                    </a:lnTo>
                    <a:lnTo>
                      <a:pt x="997" y="1839"/>
                    </a:lnTo>
                    <a:lnTo>
                      <a:pt x="997" y="1839"/>
                    </a:lnTo>
                    <a:lnTo>
                      <a:pt x="1026" y="1835"/>
                    </a:lnTo>
                    <a:lnTo>
                      <a:pt x="1054" y="1824"/>
                    </a:lnTo>
                    <a:lnTo>
                      <a:pt x="1083" y="1806"/>
                    </a:lnTo>
                    <a:lnTo>
                      <a:pt x="1111" y="1782"/>
                    </a:lnTo>
                    <a:lnTo>
                      <a:pt x="1139" y="1751"/>
                    </a:lnTo>
                    <a:lnTo>
                      <a:pt x="1165" y="1714"/>
                    </a:lnTo>
                    <a:lnTo>
                      <a:pt x="1192" y="1672"/>
                    </a:lnTo>
                    <a:lnTo>
                      <a:pt x="1216" y="1623"/>
                    </a:lnTo>
                    <a:lnTo>
                      <a:pt x="1238" y="1569"/>
                    </a:lnTo>
                    <a:lnTo>
                      <a:pt x="1259" y="1509"/>
                    </a:lnTo>
                    <a:lnTo>
                      <a:pt x="1278" y="1446"/>
                    </a:lnTo>
                    <a:lnTo>
                      <a:pt x="1294" y="1378"/>
                    </a:lnTo>
                    <a:lnTo>
                      <a:pt x="701" y="1378"/>
                    </a:lnTo>
                    <a:close/>
                    <a:moveTo>
                      <a:pt x="253" y="1378"/>
                    </a:moveTo>
                    <a:lnTo>
                      <a:pt x="286" y="1434"/>
                    </a:lnTo>
                    <a:lnTo>
                      <a:pt x="321" y="1489"/>
                    </a:lnTo>
                    <a:lnTo>
                      <a:pt x="361" y="1541"/>
                    </a:lnTo>
                    <a:lnTo>
                      <a:pt x="405" y="1588"/>
                    </a:lnTo>
                    <a:lnTo>
                      <a:pt x="452" y="1633"/>
                    </a:lnTo>
                    <a:lnTo>
                      <a:pt x="503" y="1674"/>
                    </a:lnTo>
                    <a:lnTo>
                      <a:pt x="556" y="1711"/>
                    </a:lnTo>
                    <a:lnTo>
                      <a:pt x="613" y="1744"/>
                    </a:lnTo>
                    <a:lnTo>
                      <a:pt x="672" y="1772"/>
                    </a:lnTo>
                    <a:lnTo>
                      <a:pt x="642" y="1717"/>
                    </a:lnTo>
                    <a:lnTo>
                      <a:pt x="615" y="1657"/>
                    </a:lnTo>
                    <a:lnTo>
                      <a:pt x="590" y="1593"/>
                    </a:lnTo>
                    <a:lnTo>
                      <a:pt x="568" y="1526"/>
                    </a:lnTo>
                    <a:lnTo>
                      <a:pt x="549" y="1454"/>
                    </a:lnTo>
                    <a:lnTo>
                      <a:pt x="533" y="1378"/>
                    </a:lnTo>
                    <a:lnTo>
                      <a:pt x="253" y="1378"/>
                    </a:lnTo>
                    <a:close/>
                    <a:moveTo>
                      <a:pt x="1485" y="793"/>
                    </a:moveTo>
                    <a:lnTo>
                      <a:pt x="1491" y="861"/>
                    </a:lnTo>
                    <a:lnTo>
                      <a:pt x="1494" y="931"/>
                    </a:lnTo>
                    <a:lnTo>
                      <a:pt x="1495" y="1003"/>
                    </a:lnTo>
                    <a:lnTo>
                      <a:pt x="1494" y="1073"/>
                    </a:lnTo>
                    <a:lnTo>
                      <a:pt x="1491" y="1143"/>
                    </a:lnTo>
                    <a:lnTo>
                      <a:pt x="1485" y="1211"/>
                    </a:lnTo>
                    <a:lnTo>
                      <a:pt x="1803" y="1211"/>
                    </a:lnTo>
                    <a:lnTo>
                      <a:pt x="1818" y="1143"/>
                    </a:lnTo>
                    <a:lnTo>
                      <a:pt x="1826" y="1073"/>
                    </a:lnTo>
                    <a:lnTo>
                      <a:pt x="1829" y="1003"/>
                    </a:lnTo>
                    <a:lnTo>
                      <a:pt x="1826" y="931"/>
                    </a:lnTo>
                    <a:lnTo>
                      <a:pt x="1818" y="861"/>
                    </a:lnTo>
                    <a:lnTo>
                      <a:pt x="1803" y="793"/>
                    </a:lnTo>
                    <a:lnTo>
                      <a:pt x="1485" y="793"/>
                    </a:lnTo>
                    <a:close/>
                    <a:moveTo>
                      <a:pt x="675" y="793"/>
                    </a:moveTo>
                    <a:lnTo>
                      <a:pt x="669" y="860"/>
                    </a:lnTo>
                    <a:lnTo>
                      <a:pt x="665" y="930"/>
                    </a:lnTo>
                    <a:lnTo>
                      <a:pt x="664" y="1003"/>
                    </a:lnTo>
                    <a:lnTo>
                      <a:pt x="665" y="1075"/>
                    </a:lnTo>
                    <a:lnTo>
                      <a:pt x="669" y="1144"/>
                    </a:lnTo>
                    <a:lnTo>
                      <a:pt x="675" y="1211"/>
                    </a:lnTo>
                    <a:lnTo>
                      <a:pt x="1320" y="1211"/>
                    </a:lnTo>
                    <a:lnTo>
                      <a:pt x="1326" y="1144"/>
                    </a:lnTo>
                    <a:lnTo>
                      <a:pt x="1330" y="1075"/>
                    </a:lnTo>
                    <a:lnTo>
                      <a:pt x="1331" y="1003"/>
                    </a:lnTo>
                    <a:lnTo>
                      <a:pt x="1330" y="930"/>
                    </a:lnTo>
                    <a:lnTo>
                      <a:pt x="1326" y="860"/>
                    </a:lnTo>
                    <a:lnTo>
                      <a:pt x="1320" y="793"/>
                    </a:lnTo>
                    <a:lnTo>
                      <a:pt x="675" y="793"/>
                    </a:lnTo>
                    <a:close/>
                    <a:moveTo>
                      <a:pt x="192" y="793"/>
                    </a:moveTo>
                    <a:lnTo>
                      <a:pt x="177" y="861"/>
                    </a:lnTo>
                    <a:lnTo>
                      <a:pt x="168" y="931"/>
                    </a:lnTo>
                    <a:lnTo>
                      <a:pt x="164" y="1003"/>
                    </a:lnTo>
                    <a:lnTo>
                      <a:pt x="168" y="1073"/>
                    </a:lnTo>
                    <a:lnTo>
                      <a:pt x="177" y="1143"/>
                    </a:lnTo>
                    <a:lnTo>
                      <a:pt x="192" y="1211"/>
                    </a:lnTo>
                    <a:lnTo>
                      <a:pt x="510" y="1211"/>
                    </a:lnTo>
                    <a:lnTo>
                      <a:pt x="504" y="1143"/>
                    </a:lnTo>
                    <a:lnTo>
                      <a:pt x="501" y="1073"/>
                    </a:lnTo>
                    <a:lnTo>
                      <a:pt x="499" y="1003"/>
                    </a:lnTo>
                    <a:lnTo>
                      <a:pt x="501" y="931"/>
                    </a:lnTo>
                    <a:lnTo>
                      <a:pt x="504" y="861"/>
                    </a:lnTo>
                    <a:lnTo>
                      <a:pt x="510" y="793"/>
                    </a:lnTo>
                    <a:lnTo>
                      <a:pt x="192" y="793"/>
                    </a:lnTo>
                    <a:close/>
                    <a:moveTo>
                      <a:pt x="1323" y="232"/>
                    </a:moveTo>
                    <a:lnTo>
                      <a:pt x="1353" y="287"/>
                    </a:lnTo>
                    <a:lnTo>
                      <a:pt x="1379" y="347"/>
                    </a:lnTo>
                    <a:lnTo>
                      <a:pt x="1405" y="411"/>
                    </a:lnTo>
                    <a:lnTo>
                      <a:pt x="1427" y="478"/>
                    </a:lnTo>
                    <a:lnTo>
                      <a:pt x="1446" y="550"/>
                    </a:lnTo>
                    <a:lnTo>
                      <a:pt x="1462" y="627"/>
                    </a:lnTo>
                    <a:lnTo>
                      <a:pt x="1741" y="627"/>
                    </a:lnTo>
                    <a:lnTo>
                      <a:pt x="1709" y="570"/>
                    </a:lnTo>
                    <a:lnTo>
                      <a:pt x="1674" y="515"/>
                    </a:lnTo>
                    <a:lnTo>
                      <a:pt x="1634" y="464"/>
                    </a:lnTo>
                    <a:lnTo>
                      <a:pt x="1590" y="416"/>
                    </a:lnTo>
                    <a:lnTo>
                      <a:pt x="1543" y="371"/>
                    </a:lnTo>
                    <a:lnTo>
                      <a:pt x="1492" y="331"/>
                    </a:lnTo>
                    <a:lnTo>
                      <a:pt x="1439" y="293"/>
                    </a:lnTo>
                    <a:lnTo>
                      <a:pt x="1382" y="261"/>
                    </a:lnTo>
                    <a:lnTo>
                      <a:pt x="1323" y="232"/>
                    </a:lnTo>
                    <a:close/>
                    <a:moveTo>
                      <a:pt x="672" y="232"/>
                    </a:moveTo>
                    <a:lnTo>
                      <a:pt x="613" y="261"/>
                    </a:lnTo>
                    <a:lnTo>
                      <a:pt x="556" y="293"/>
                    </a:lnTo>
                    <a:lnTo>
                      <a:pt x="503" y="331"/>
                    </a:lnTo>
                    <a:lnTo>
                      <a:pt x="452" y="371"/>
                    </a:lnTo>
                    <a:lnTo>
                      <a:pt x="405" y="416"/>
                    </a:lnTo>
                    <a:lnTo>
                      <a:pt x="361" y="464"/>
                    </a:lnTo>
                    <a:lnTo>
                      <a:pt x="321" y="515"/>
                    </a:lnTo>
                    <a:lnTo>
                      <a:pt x="286" y="570"/>
                    </a:lnTo>
                    <a:lnTo>
                      <a:pt x="253" y="627"/>
                    </a:lnTo>
                    <a:lnTo>
                      <a:pt x="533" y="627"/>
                    </a:lnTo>
                    <a:lnTo>
                      <a:pt x="549" y="550"/>
                    </a:lnTo>
                    <a:lnTo>
                      <a:pt x="568" y="478"/>
                    </a:lnTo>
                    <a:lnTo>
                      <a:pt x="590" y="411"/>
                    </a:lnTo>
                    <a:lnTo>
                      <a:pt x="615" y="347"/>
                    </a:lnTo>
                    <a:lnTo>
                      <a:pt x="642" y="287"/>
                    </a:lnTo>
                    <a:lnTo>
                      <a:pt x="672" y="232"/>
                    </a:lnTo>
                    <a:close/>
                    <a:moveTo>
                      <a:pt x="997" y="166"/>
                    </a:moveTo>
                    <a:lnTo>
                      <a:pt x="969" y="169"/>
                    </a:lnTo>
                    <a:lnTo>
                      <a:pt x="940" y="180"/>
                    </a:lnTo>
                    <a:lnTo>
                      <a:pt x="911" y="198"/>
                    </a:lnTo>
                    <a:lnTo>
                      <a:pt x="883" y="222"/>
                    </a:lnTo>
                    <a:lnTo>
                      <a:pt x="856" y="253"/>
                    </a:lnTo>
                    <a:lnTo>
                      <a:pt x="829" y="290"/>
                    </a:lnTo>
                    <a:lnTo>
                      <a:pt x="803" y="334"/>
                    </a:lnTo>
                    <a:lnTo>
                      <a:pt x="779" y="381"/>
                    </a:lnTo>
                    <a:lnTo>
                      <a:pt x="757" y="436"/>
                    </a:lnTo>
                    <a:lnTo>
                      <a:pt x="736" y="495"/>
                    </a:lnTo>
                    <a:lnTo>
                      <a:pt x="717" y="559"/>
                    </a:lnTo>
                    <a:lnTo>
                      <a:pt x="701" y="627"/>
                    </a:lnTo>
                    <a:lnTo>
                      <a:pt x="1294" y="627"/>
                    </a:lnTo>
                    <a:lnTo>
                      <a:pt x="1278" y="559"/>
                    </a:lnTo>
                    <a:lnTo>
                      <a:pt x="1258" y="495"/>
                    </a:lnTo>
                    <a:lnTo>
                      <a:pt x="1238" y="436"/>
                    </a:lnTo>
                    <a:lnTo>
                      <a:pt x="1216" y="381"/>
                    </a:lnTo>
                    <a:lnTo>
                      <a:pt x="1191" y="334"/>
                    </a:lnTo>
                    <a:lnTo>
                      <a:pt x="1165" y="290"/>
                    </a:lnTo>
                    <a:lnTo>
                      <a:pt x="1139" y="253"/>
                    </a:lnTo>
                    <a:lnTo>
                      <a:pt x="1111" y="222"/>
                    </a:lnTo>
                    <a:lnTo>
                      <a:pt x="1083" y="198"/>
                    </a:lnTo>
                    <a:lnTo>
                      <a:pt x="1054" y="180"/>
                    </a:lnTo>
                    <a:lnTo>
                      <a:pt x="1026" y="169"/>
                    </a:lnTo>
                    <a:lnTo>
                      <a:pt x="997" y="166"/>
                    </a:lnTo>
                    <a:lnTo>
                      <a:pt x="997" y="166"/>
                    </a:lnTo>
                    <a:close/>
                    <a:moveTo>
                      <a:pt x="997" y="0"/>
                    </a:moveTo>
                    <a:lnTo>
                      <a:pt x="997" y="0"/>
                    </a:lnTo>
                    <a:lnTo>
                      <a:pt x="1076" y="3"/>
                    </a:lnTo>
                    <a:lnTo>
                      <a:pt x="1151" y="12"/>
                    </a:lnTo>
                    <a:lnTo>
                      <a:pt x="1226" y="27"/>
                    </a:lnTo>
                    <a:lnTo>
                      <a:pt x="1298" y="47"/>
                    </a:lnTo>
                    <a:lnTo>
                      <a:pt x="1368" y="72"/>
                    </a:lnTo>
                    <a:lnTo>
                      <a:pt x="1436" y="102"/>
                    </a:lnTo>
                    <a:lnTo>
                      <a:pt x="1501" y="138"/>
                    </a:lnTo>
                    <a:lnTo>
                      <a:pt x="1562" y="177"/>
                    </a:lnTo>
                    <a:lnTo>
                      <a:pt x="1621" y="221"/>
                    </a:lnTo>
                    <a:lnTo>
                      <a:pt x="1676" y="269"/>
                    </a:lnTo>
                    <a:lnTo>
                      <a:pt x="1728" y="320"/>
                    </a:lnTo>
                    <a:lnTo>
                      <a:pt x="1775" y="376"/>
                    </a:lnTo>
                    <a:lnTo>
                      <a:pt x="1818" y="435"/>
                    </a:lnTo>
                    <a:lnTo>
                      <a:pt x="1858" y="497"/>
                    </a:lnTo>
                    <a:lnTo>
                      <a:pt x="1893" y="562"/>
                    </a:lnTo>
                    <a:lnTo>
                      <a:pt x="1923" y="630"/>
                    </a:lnTo>
                    <a:lnTo>
                      <a:pt x="1949" y="700"/>
                    </a:lnTo>
                    <a:lnTo>
                      <a:pt x="1968" y="772"/>
                    </a:lnTo>
                    <a:lnTo>
                      <a:pt x="1983" y="847"/>
                    </a:lnTo>
                    <a:lnTo>
                      <a:pt x="1992" y="923"/>
                    </a:lnTo>
                    <a:lnTo>
                      <a:pt x="1995" y="1003"/>
                    </a:lnTo>
                    <a:lnTo>
                      <a:pt x="1992" y="1081"/>
                    </a:lnTo>
                    <a:lnTo>
                      <a:pt x="1983" y="1157"/>
                    </a:lnTo>
                    <a:lnTo>
                      <a:pt x="1968" y="1232"/>
                    </a:lnTo>
                    <a:lnTo>
                      <a:pt x="1949" y="1304"/>
                    </a:lnTo>
                    <a:lnTo>
                      <a:pt x="1923" y="1375"/>
                    </a:lnTo>
                    <a:lnTo>
                      <a:pt x="1893" y="1442"/>
                    </a:lnTo>
                    <a:lnTo>
                      <a:pt x="1858" y="1507"/>
                    </a:lnTo>
                    <a:lnTo>
                      <a:pt x="1818" y="1569"/>
                    </a:lnTo>
                    <a:lnTo>
                      <a:pt x="1775" y="1628"/>
                    </a:lnTo>
                    <a:lnTo>
                      <a:pt x="1728" y="1684"/>
                    </a:lnTo>
                    <a:lnTo>
                      <a:pt x="1676" y="1735"/>
                    </a:lnTo>
                    <a:lnTo>
                      <a:pt x="1621" y="1783"/>
                    </a:lnTo>
                    <a:lnTo>
                      <a:pt x="1562" y="1828"/>
                    </a:lnTo>
                    <a:lnTo>
                      <a:pt x="1501" y="1867"/>
                    </a:lnTo>
                    <a:lnTo>
                      <a:pt x="1436" y="1902"/>
                    </a:lnTo>
                    <a:lnTo>
                      <a:pt x="1368" y="1932"/>
                    </a:lnTo>
                    <a:lnTo>
                      <a:pt x="1298" y="1957"/>
                    </a:lnTo>
                    <a:lnTo>
                      <a:pt x="1226" y="1978"/>
                    </a:lnTo>
                    <a:lnTo>
                      <a:pt x="1151" y="1992"/>
                    </a:lnTo>
                    <a:lnTo>
                      <a:pt x="1076" y="2001"/>
                    </a:lnTo>
                    <a:lnTo>
                      <a:pt x="997" y="2004"/>
                    </a:lnTo>
                    <a:lnTo>
                      <a:pt x="997" y="2004"/>
                    </a:lnTo>
                    <a:lnTo>
                      <a:pt x="919" y="2001"/>
                    </a:lnTo>
                    <a:lnTo>
                      <a:pt x="844" y="1992"/>
                    </a:lnTo>
                    <a:lnTo>
                      <a:pt x="769" y="1978"/>
                    </a:lnTo>
                    <a:lnTo>
                      <a:pt x="696" y="1957"/>
                    </a:lnTo>
                    <a:lnTo>
                      <a:pt x="627" y="1932"/>
                    </a:lnTo>
                    <a:lnTo>
                      <a:pt x="559" y="1902"/>
                    </a:lnTo>
                    <a:lnTo>
                      <a:pt x="494" y="1867"/>
                    </a:lnTo>
                    <a:lnTo>
                      <a:pt x="433" y="1828"/>
                    </a:lnTo>
                    <a:lnTo>
                      <a:pt x="374" y="1783"/>
                    </a:lnTo>
                    <a:lnTo>
                      <a:pt x="319" y="1735"/>
                    </a:lnTo>
                    <a:lnTo>
                      <a:pt x="267" y="1684"/>
                    </a:lnTo>
                    <a:lnTo>
                      <a:pt x="220" y="1628"/>
                    </a:lnTo>
                    <a:lnTo>
                      <a:pt x="176" y="1569"/>
                    </a:lnTo>
                    <a:lnTo>
                      <a:pt x="136" y="1507"/>
                    </a:lnTo>
                    <a:lnTo>
                      <a:pt x="102" y="1442"/>
                    </a:lnTo>
                    <a:lnTo>
                      <a:pt x="72" y="1375"/>
                    </a:lnTo>
                    <a:lnTo>
                      <a:pt x="46" y="1304"/>
                    </a:lnTo>
                    <a:lnTo>
                      <a:pt x="26" y="1232"/>
                    </a:lnTo>
                    <a:lnTo>
                      <a:pt x="12" y="1157"/>
                    </a:lnTo>
                    <a:lnTo>
                      <a:pt x="3" y="1081"/>
                    </a:lnTo>
                    <a:lnTo>
                      <a:pt x="0" y="1003"/>
                    </a:lnTo>
                    <a:lnTo>
                      <a:pt x="3" y="923"/>
                    </a:lnTo>
                    <a:lnTo>
                      <a:pt x="12" y="847"/>
                    </a:lnTo>
                    <a:lnTo>
                      <a:pt x="26" y="772"/>
                    </a:lnTo>
                    <a:lnTo>
                      <a:pt x="46" y="700"/>
                    </a:lnTo>
                    <a:lnTo>
                      <a:pt x="72" y="630"/>
                    </a:lnTo>
                    <a:lnTo>
                      <a:pt x="102" y="562"/>
                    </a:lnTo>
                    <a:lnTo>
                      <a:pt x="136" y="497"/>
                    </a:lnTo>
                    <a:lnTo>
                      <a:pt x="176" y="435"/>
                    </a:lnTo>
                    <a:lnTo>
                      <a:pt x="220" y="376"/>
                    </a:lnTo>
                    <a:lnTo>
                      <a:pt x="267" y="320"/>
                    </a:lnTo>
                    <a:lnTo>
                      <a:pt x="319" y="269"/>
                    </a:lnTo>
                    <a:lnTo>
                      <a:pt x="374" y="221"/>
                    </a:lnTo>
                    <a:lnTo>
                      <a:pt x="433" y="177"/>
                    </a:lnTo>
                    <a:lnTo>
                      <a:pt x="494" y="138"/>
                    </a:lnTo>
                    <a:lnTo>
                      <a:pt x="559" y="102"/>
                    </a:lnTo>
                    <a:lnTo>
                      <a:pt x="627" y="72"/>
                    </a:lnTo>
                    <a:lnTo>
                      <a:pt x="696" y="47"/>
                    </a:lnTo>
                    <a:lnTo>
                      <a:pt x="769" y="27"/>
                    </a:lnTo>
                    <a:lnTo>
                      <a:pt x="844" y="12"/>
                    </a:lnTo>
                    <a:lnTo>
                      <a:pt x="919" y="3"/>
                    </a:lnTo>
                    <a:lnTo>
                      <a:pt x="99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112" name="Group 39"/>
            <p:cNvGrpSpPr>
              <a:grpSpLocks noChangeAspect="1"/>
            </p:cNvGrpSpPr>
            <p:nvPr/>
          </p:nvGrpSpPr>
          <p:grpSpPr bwMode="auto">
            <a:xfrm>
              <a:off x="10065775" y="4552187"/>
              <a:ext cx="451606" cy="453648"/>
              <a:chOff x="541" y="3502"/>
              <a:chExt cx="222" cy="223"/>
            </a:xfrm>
          </p:grpSpPr>
          <p:sp>
            <p:nvSpPr>
              <p:cNvPr id="113" name="Rectangle 40"/>
              <p:cNvSpPr>
                <a:spLocks noChangeArrowheads="1"/>
              </p:cNvSpPr>
              <p:nvPr/>
            </p:nvSpPr>
            <p:spPr bwMode="auto">
              <a:xfrm>
                <a:off x="541" y="3502"/>
                <a:ext cx="222" cy="223"/>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14" name="Rectangle 41"/>
              <p:cNvSpPr>
                <a:spLocks noChangeArrowheads="1"/>
              </p:cNvSpPr>
              <p:nvPr/>
            </p:nvSpPr>
            <p:spPr bwMode="auto">
              <a:xfrm>
                <a:off x="541" y="3502"/>
                <a:ext cx="222" cy="223"/>
              </a:xfrm>
              <a:prstGeom prst="rect">
                <a:avLst/>
              </a:prstGeom>
              <a:solidFill>
                <a:srgbClr val="FB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15" name="Freeform 42"/>
              <p:cNvSpPr>
                <a:spLocks/>
              </p:cNvSpPr>
              <p:nvPr/>
            </p:nvSpPr>
            <p:spPr bwMode="auto">
              <a:xfrm>
                <a:off x="619" y="3625"/>
                <a:ext cx="33" cy="33"/>
              </a:xfrm>
              <a:custGeom>
                <a:avLst/>
                <a:gdLst>
                  <a:gd name="T0" fmla="*/ 0 w 498"/>
                  <a:gd name="T1" fmla="*/ 0 h 501"/>
                  <a:gd name="T2" fmla="*/ 165 w 498"/>
                  <a:gd name="T3" fmla="*/ 0 h 501"/>
                  <a:gd name="T4" fmla="*/ 168 w 498"/>
                  <a:gd name="T5" fmla="*/ 45 h 501"/>
                  <a:gd name="T6" fmla="*/ 177 w 498"/>
                  <a:gd name="T7" fmla="*/ 89 h 501"/>
                  <a:gd name="T8" fmla="*/ 191 w 498"/>
                  <a:gd name="T9" fmla="*/ 131 h 501"/>
                  <a:gd name="T10" fmla="*/ 210 w 498"/>
                  <a:gd name="T11" fmla="*/ 169 h 501"/>
                  <a:gd name="T12" fmla="*/ 235 w 498"/>
                  <a:gd name="T13" fmla="*/ 205 h 501"/>
                  <a:gd name="T14" fmla="*/ 263 w 498"/>
                  <a:gd name="T15" fmla="*/ 237 h 501"/>
                  <a:gd name="T16" fmla="*/ 295 w 498"/>
                  <a:gd name="T17" fmla="*/ 265 h 501"/>
                  <a:gd name="T18" fmla="*/ 330 w 498"/>
                  <a:gd name="T19" fmla="*/ 289 h 501"/>
                  <a:gd name="T20" fmla="*/ 369 w 498"/>
                  <a:gd name="T21" fmla="*/ 309 h 501"/>
                  <a:gd name="T22" fmla="*/ 410 w 498"/>
                  <a:gd name="T23" fmla="*/ 323 h 501"/>
                  <a:gd name="T24" fmla="*/ 454 w 498"/>
                  <a:gd name="T25" fmla="*/ 332 h 501"/>
                  <a:gd name="T26" fmla="*/ 498 w 498"/>
                  <a:gd name="T27" fmla="*/ 335 h 501"/>
                  <a:gd name="T28" fmla="*/ 498 w 498"/>
                  <a:gd name="T29" fmla="*/ 501 h 501"/>
                  <a:gd name="T30" fmla="*/ 444 w 498"/>
                  <a:gd name="T31" fmla="*/ 497 h 501"/>
                  <a:gd name="T32" fmla="*/ 392 w 498"/>
                  <a:gd name="T33" fmla="*/ 488 h 501"/>
                  <a:gd name="T34" fmla="*/ 342 w 498"/>
                  <a:gd name="T35" fmla="*/ 474 h 501"/>
                  <a:gd name="T36" fmla="*/ 293 w 498"/>
                  <a:gd name="T37" fmla="*/ 456 h 501"/>
                  <a:gd name="T38" fmla="*/ 248 w 498"/>
                  <a:gd name="T39" fmla="*/ 432 h 501"/>
                  <a:gd name="T40" fmla="*/ 204 w 498"/>
                  <a:gd name="T41" fmla="*/ 403 h 501"/>
                  <a:gd name="T42" fmla="*/ 165 w 498"/>
                  <a:gd name="T43" fmla="*/ 371 h 501"/>
                  <a:gd name="T44" fmla="*/ 129 w 498"/>
                  <a:gd name="T45" fmla="*/ 335 h 501"/>
                  <a:gd name="T46" fmla="*/ 96 w 498"/>
                  <a:gd name="T47" fmla="*/ 295 h 501"/>
                  <a:gd name="T48" fmla="*/ 69 w 498"/>
                  <a:gd name="T49" fmla="*/ 252 h 501"/>
                  <a:gd name="T50" fmla="*/ 45 w 498"/>
                  <a:gd name="T51" fmla="*/ 207 h 501"/>
                  <a:gd name="T52" fmla="*/ 26 w 498"/>
                  <a:gd name="T53" fmla="*/ 158 h 501"/>
                  <a:gd name="T54" fmla="*/ 12 w 498"/>
                  <a:gd name="T55" fmla="*/ 107 h 501"/>
                  <a:gd name="T56" fmla="*/ 4 w 498"/>
                  <a:gd name="T57" fmla="*/ 55 h 501"/>
                  <a:gd name="T58" fmla="*/ 0 w 498"/>
                  <a:gd name="T59" fmla="*/ 0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98" h="501">
                    <a:moveTo>
                      <a:pt x="0" y="0"/>
                    </a:moveTo>
                    <a:lnTo>
                      <a:pt x="165" y="0"/>
                    </a:lnTo>
                    <a:lnTo>
                      <a:pt x="168" y="45"/>
                    </a:lnTo>
                    <a:lnTo>
                      <a:pt x="177" y="89"/>
                    </a:lnTo>
                    <a:lnTo>
                      <a:pt x="191" y="131"/>
                    </a:lnTo>
                    <a:lnTo>
                      <a:pt x="210" y="169"/>
                    </a:lnTo>
                    <a:lnTo>
                      <a:pt x="235" y="205"/>
                    </a:lnTo>
                    <a:lnTo>
                      <a:pt x="263" y="237"/>
                    </a:lnTo>
                    <a:lnTo>
                      <a:pt x="295" y="265"/>
                    </a:lnTo>
                    <a:lnTo>
                      <a:pt x="330" y="289"/>
                    </a:lnTo>
                    <a:lnTo>
                      <a:pt x="369" y="309"/>
                    </a:lnTo>
                    <a:lnTo>
                      <a:pt x="410" y="323"/>
                    </a:lnTo>
                    <a:lnTo>
                      <a:pt x="454" y="332"/>
                    </a:lnTo>
                    <a:lnTo>
                      <a:pt x="498" y="335"/>
                    </a:lnTo>
                    <a:lnTo>
                      <a:pt x="498" y="501"/>
                    </a:lnTo>
                    <a:lnTo>
                      <a:pt x="444" y="497"/>
                    </a:lnTo>
                    <a:lnTo>
                      <a:pt x="392" y="488"/>
                    </a:lnTo>
                    <a:lnTo>
                      <a:pt x="342" y="474"/>
                    </a:lnTo>
                    <a:lnTo>
                      <a:pt x="293" y="456"/>
                    </a:lnTo>
                    <a:lnTo>
                      <a:pt x="248" y="432"/>
                    </a:lnTo>
                    <a:lnTo>
                      <a:pt x="204" y="403"/>
                    </a:lnTo>
                    <a:lnTo>
                      <a:pt x="165" y="371"/>
                    </a:lnTo>
                    <a:lnTo>
                      <a:pt x="129" y="335"/>
                    </a:lnTo>
                    <a:lnTo>
                      <a:pt x="96" y="295"/>
                    </a:lnTo>
                    <a:lnTo>
                      <a:pt x="69" y="252"/>
                    </a:lnTo>
                    <a:lnTo>
                      <a:pt x="45" y="207"/>
                    </a:lnTo>
                    <a:lnTo>
                      <a:pt x="26" y="158"/>
                    </a:lnTo>
                    <a:lnTo>
                      <a:pt x="12" y="107"/>
                    </a:lnTo>
                    <a:lnTo>
                      <a:pt x="4" y="55"/>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6" name="Freeform 43"/>
              <p:cNvSpPr>
                <a:spLocks noEditPoints="1"/>
              </p:cNvSpPr>
              <p:nvPr/>
            </p:nvSpPr>
            <p:spPr bwMode="auto">
              <a:xfrm>
                <a:off x="597" y="3541"/>
                <a:ext cx="110" cy="139"/>
              </a:xfrm>
              <a:custGeom>
                <a:avLst/>
                <a:gdLst>
                  <a:gd name="T0" fmla="*/ 745 w 1659"/>
                  <a:gd name="T1" fmla="*/ 178 h 2085"/>
                  <a:gd name="T2" fmla="*/ 616 w 1659"/>
                  <a:gd name="T3" fmla="*/ 249 h 2085"/>
                  <a:gd name="T4" fmla="*/ 490 w 1659"/>
                  <a:gd name="T5" fmla="*/ 375 h 2085"/>
                  <a:gd name="T6" fmla="*/ 372 w 1659"/>
                  <a:gd name="T7" fmla="*/ 551 h 2085"/>
                  <a:gd name="T8" fmla="*/ 286 w 1659"/>
                  <a:gd name="T9" fmla="*/ 727 h 2085"/>
                  <a:gd name="T10" fmla="*/ 220 w 1659"/>
                  <a:gd name="T11" fmla="*/ 910 h 2085"/>
                  <a:gd name="T12" fmla="*/ 178 w 1659"/>
                  <a:gd name="T13" fmla="*/ 1090 h 2085"/>
                  <a:gd name="T14" fmla="*/ 164 w 1659"/>
                  <a:gd name="T15" fmla="*/ 1251 h 2085"/>
                  <a:gd name="T16" fmla="*/ 190 w 1659"/>
                  <a:gd name="T17" fmla="*/ 1438 h 2085"/>
                  <a:gd name="T18" fmla="*/ 265 w 1659"/>
                  <a:gd name="T19" fmla="*/ 1606 h 2085"/>
                  <a:gd name="T20" fmla="*/ 381 w 1659"/>
                  <a:gd name="T21" fmla="*/ 1744 h 2085"/>
                  <a:gd name="T22" fmla="*/ 529 w 1659"/>
                  <a:gd name="T23" fmla="*/ 1848 h 2085"/>
                  <a:gd name="T24" fmla="*/ 703 w 1659"/>
                  <a:gd name="T25" fmla="*/ 1908 h 2085"/>
                  <a:gd name="T26" fmla="*/ 894 w 1659"/>
                  <a:gd name="T27" fmla="*/ 1917 h 2085"/>
                  <a:gd name="T28" fmla="*/ 1074 w 1659"/>
                  <a:gd name="T29" fmla="*/ 1873 h 2085"/>
                  <a:gd name="T30" fmla="*/ 1233 w 1659"/>
                  <a:gd name="T31" fmla="*/ 1784 h 2085"/>
                  <a:gd name="T32" fmla="*/ 1360 w 1659"/>
                  <a:gd name="T33" fmla="*/ 1655 h 2085"/>
                  <a:gd name="T34" fmla="*/ 1449 w 1659"/>
                  <a:gd name="T35" fmla="*/ 1497 h 2085"/>
                  <a:gd name="T36" fmla="*/ 1492 w 1659"/>
                  <a:gd name="T37" fmla="*/ 1316 h 2085"/>
                  <a:gd name="T38" fmla="*/ 1489 w 1659"/>
                  <a:gd name="T39" fmla="*/ 1146 h 2085"/>
                  <a:gd name="T40" fmla="*/ 1455 w 1659"/>
                  <a:gd name="T41" fmla="*/ 971 h 2085"/>
                  <a:gd name="T42" fmla="*/ 1397 w 1659"/>
                  <a:gd name="T43" fmla="*/ 788 h 2085"/>
                  <a:gd name="T44" fmla="*/ 1318 w 1659"/>
                  <a:gd name="T45" fmla="*/ 608 h 2085"/>
                  <a:gd name="T46" fmla="*/ 1209 w 1659"/>
                  <a:gd name="T47" fmla="*/ 429 h 2085"/>
                  <a:gd name="T48" fmla="*/ 1085 w 1659"/>
                  <a:gd name="T49" fmla="*/ 285 h 2085"/>
                  <a:gd name="T50" fmla="*/ 957 w 1659"/>
                  <a:gd name="T51" fmla="*/ 196 h 2085"/>
                  <a:gd name="T52" fmla="*/ 829 w 1659"/>
                  <a:gd name="T53" fmla="*/ 165 h 2085"/>
                  <a:gd name="T54" fmla="*/ 938 w 1659"/>
                  <a:gd name="T55" fmla="*/ 13 h 2085"/>
                  <a:gd name="T56" fmla="*/ 1096 w 1659"/>
                  <a:gd name="T57" fmla="*/ 84 h 2085"/>
                  <a:gd name="T58" fmla="*/ 1248 w 1659"/>
                  <a:gd name="T59" fmla="*/ 214 h 2085"/>
                  <a:gd name="T60" fmla="*/ 1387 w 1659"/>
                  <a:gd name="T61" fmla="*/ 397 h 2085"/>
                  <a:gd name="T62" fmla="*/ 1496 w 1659"/>
                  <a:gd name="T63" fmla="*/ 598 h 2085"/>
                  <a:gd name="T64" fmla="*/ 1576 w 1659"/>
                  <a:gd name="T65" fmla="*/ 801 h 2085"/>
                  <a:gd name="T66" fmla="*/ 1631 w 1659"/>
                  <a:gd name="T67" fmla="*/ 1002 h 2085"/>
                  <a:gd name="T68" fmla="*/ 1657 w 1659"/>
                  <a:gd name="T69" fmla="*/ 1193 h 2085"/>
                  <a:gd name="T70" fmla="*/ 1647 w 1659"/>
                  <a:gd name="T71" fmla="*/ 1394 h 2085"/>
                  <a:gd name="T72" fmla="*/ 1588 w 1659"/>
                  <a:gd name="T73" fmla="*/ 1591 h 2085"/>
                  <a:gd name="T74" fmla="*/ 1483 w 1659"/>
                  <a:gd name="T75" fmla="*/ 1765 h 2085"/>
                  <a:gd name="T76" fmla="*/ 1341 w 1659"/>
                  <a:gd name="T77" fmla="*/ 1908 h 2085"/>
                  <a:gd name="T78" fmla="*/ 1168 w 1659"/>
                  <a:gd name="T79" fmla="*/ 2013 h 2085"/>
                  <a:gd name="T80" fmla="*/ 971 w 1659"/>
                  <a:gd name="T81" fmla="*/ 2073 h 2085"/>
                  <a:gd name="T82" fmla="*/ 758 w 1659"/>
                  <a:gd name="T83" fmla="*/ 2082 h 2085"/>
                  <a:gd name="T84" fmla="*/ 555 w 1659"/>
                  <a:gd name="T85" fmla="*/ 2038 h 2085"/>
                  <a:gd name="T86" fmla="*/ 373 w 1659"/>
                  <a:gd name="T87" fmla="*/ 1947 h 2085"/>
                  <a:gd name="T88" fmla="*/ 219 w 1659"/>
                  <a:gd name="T89" fmla="*/ 1816 h 2085"/>
                  <a:gd name="T90" fmla="*/ 101 w 1659"/>
                  <a:gd name="T91" fmla="*/ 1652 h 2085"/>
                  <a:gd name="T92" fmla="*/ 26 w 1659"/>
                  <a:gd name="T93" fmla="*/ 1462 h 2085"/>
                  <a:gd name="T94" fmla="*/ 0 w 1659"/>
                  <a:gd name="T95" fmla="*/ 1251 h 2085"/>
                  <a:gd name="T96" fmla="*/ 16 w 1659"/>
                  <a:gd name="T97" fmla="*/ 1068 h 2085"/>
                  <a:gd name="T98" fmla="*/ 61 w 1659"/>
                  <a:gd name="T99" fmla="*/ 869 h 2085"/>
                  <a:gd name="T100" fmla="*/ 134 w 1659"/>
                  <a:gd name="T101" fmla="*/ 665 h 2085"/>
                  <a:gd name="T102" fmla="*/ 229 w 1659"/>
                  <a:gd name="T103" fmla="*/ 470 h 2085"/>
                  <a:gd name="T104" fmla="*/ 364 w 1659"/>
                  <a:gd name="T105" fmla="*/ 269 h 2085"/>
                  <a:gd name="T106" fmla="*/ 511 w 1659"/>
                  <a:gd name="T107" fmla="*/ 122 h 2085"/>
                  <a:gd name="T108" fmla="*/ 668 w 1659"/>
                  <a:gd name="T109" fmla="*/ 30 h 2085"/>
                  <a:gd name="T110" fmla="*/ 829 w 1659"/>
                  <a:gd name="T111" fmla="*/ 0 h 2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59" h="2085">
                    <a:moveTo>
                      <a:pt x="829" y="165"/>
                    </a:moveTo>
                    <a:lnTo>
                      <a:pt x="788" y="168"/>
                    </a:lnTo>
                    <a:lnTo>
                      <a:pt x="745" y="178"/>
                    </a:lnTo>
                    <a:lnTo>
                      <a:pt x="702" y="196"/>
                    </a:lnTo>
                    <a:lnTo>
                      <a:pt x="659" y="219"/>
                    </a:lnTo>
                    <a:lnTo>
                      <a:pt x="616" y="249"/>
                    </a:lnTo>
                    <a:lnTo>
                      <a:pt x="574" y="285"/>
                    </a:lnTo>
                    <a:lnTo>
                      <a:pt x="531" y="326"/>
                    </a:lnTo>
                    <a:lnTo>
                      <a:pt x="490" y="375"/>
                    </a:lnTo>
                    <a:lnTo>
                      <a:pt x="450" y="429"/>
                    </a:lnTo>
                    <a:lnTo>
                      <a:pt x="410" y="488"/>
                    </a:lnTo>
                    <a:lnTo>
                      <a:pt x="372" y="551"/>
                    </a:lnTo>
                    <a:lnTo>
                      <a:pt x="342" y="608"/>
                    </a:lnTo>
                    <a:lnTo>
                      <a:pt x="313" y="667"/>
                    </a:lnTo>
                    <a:lnTo>
                      <a:pt x="286" y="727"/>
                    </a:lnTo>
                    <a:lnTo>
                      <a:pt x="262" y="788"/>
                    </a:lnTo>
                    <a:lnTo>
                      <a:pt x="241" y="849"/>
                    </a:lnTo>
                    <a:lnTo>
                      <a:pt x="220" y="910"/>
                    </a:lnTo>
                    <a:lnTo>
                      <a:pt x="204" y="971"/>
                    </a:lnTo>
                    <a:lnTo>
                      <a:pt x="190" y="1031"/>
                    </a:lnTo>
                    <a:lnTo>
                      <a:pt x="178" y="1090"/>
                    </a:lnTo>
                    <a:lnTo>
                      <a:pt x="170" y="1146"/>
                    </a:lnTo>
                    <a:lnTo>
                      <a:pt x="165" y="1200"/>
                    </a:lnTo>
                    <a:lnTo>
                      <a:pt x="164" y="1251"/>
                    </a:lnTo>
                    <a:lnTo>
                      <a:pt x="167" y="1316"/>
                    </a:lnTo>
                    <a:lnTo>
                      <a:pt x="176" y="1378"/>
                    </a:lnTo>
                    <a:lnTo>
                      <a:pt x="190" y="1438"/>
                    </a:lnTo>
                    <a:lnTo>
                      <a:pt x="210" y="1497"/>
                    </a:lnTo>
                    <a:lnTo>
                      <a:pt x="236" y="1553"/>
                    </a:lnTo>
                    <a:lnTo>
                      <a:pt x="265" y="1606"/>
                    </a:lnTo>
                    <a:lnTo>
                      <a:pt x="299" y="1655"/>
                    </a:lnTo>
                    <a:lnTo>
                      <a:pt x="338" y="1702"/>
                    </a:lnTo>
                    <a:lnTo>
                      <a:pt x="381" y="1744"/>
                    </a:lnTo>
                    <a:lnTo>
                      <a:pt x="426" y="1784"/>
                    </a:lnTo>
                    <a:lnTo>
                      <a:pt x="477" y="1818"/>
                    </a:lnTo>
                    <a:lnTo>
                      <a:pt x="529" y="1848"/>
                    </a:lnTo>
                    <a:lnTo>
                      <a:pt x="585" y="1873"/>
                    </a:lnTo>
                    <a:lnTo>
                      <a:pt x="642" y="1893"/>
                    </a:lnTo>
                    <a:lnTo>
                      <a:pt x="703" y="1908"/>
                    </a:lnTo>
                    <a:lnTo>
                      <a:pt x="765" y="1917"/>
                    </a:lnTo>
                    <a:lnTo>
                      <a:pt x="829" y="1920"/>
                    </a:lnTo>
                    <a:lnTo>
                      <a:pt x="894" y="1917"/>
                    </a:lnTo>
                    <a:lnTo>
                      <a:pt x="956" y="1908"/>
                    </a:lnTo>
                    <a:lnTo>
                      <a:pt x="1017" y="1893"/>
                    </a:lnTo>
                    <a:lnTo>
                      <a:pt x="1074" y="1873"/>
                    </a:lnTo>
                    <a:lnTo>
                      <a:pt x="1130" y="1848"/>
                    </a:lnTo>
                    <a:lnTo>
                      <a:pt x="1182" y="1818"/>
                    </a:lnTo>
                    <a:lnTo>
                      <a:pt x="1233" y="1784"/>
                    </a:lnTo>
                    <a:lnTo>
                      <a:pt x="1278" y="1744"/>
                    </a:lnTo>
                    <a:lnTo>
                      <a:pt x="1320" y="1702"/>
                    </a:lnTo>
                    <a:lnTo>
                      <a:pt x="1360" y="1655"/>
                    </a:lnTo>
                    <a:lnTo>
                      <a:pt x="1394" y="1606"/>
                    </a:lnTo>
                    <a:lnTo>
                      <a:pt x="1423" y="1553"/>
                    </a:lnTo>
                    <a:lnTo>
                      <a:pt x="1449" y="1497"/>
                    </a:lnTo>
                    <a:lnTo>
                      <a:pt x="1469" y="1438"/>
                    </a:lnTo>
                    <a:lnTo>
                      <a:pt x="1483" y="1378"/>
                    </a:lnTo>
                    <a:lnTo>
                      <a:pt x="1492" y="1316"/>
                    </a:lnTo>
                    <a:lnTo>
                      <a:pt x="1495" y="1251"/>
                    </a:lnTo>
                    <a:lnTo>
                      <a:pt x="1494" y="1200"/>
                    </a:lnTo>
                    <a:lnTo>
                      <a:pt x="1489" y="1146"/>
                    </a:lnTo>
                    <a:lnTo>
                      <a:pt x="1481" y="1090"/>
                    </a:lnTo>
                    <a:lnTo>
                      <a:pt x="1469" y="1031"/>
                    </a:lnTo>
                    <a:lnTo>
                      <a:pt x="1455" y="971"/>
                    </a:lnTo>
                    <a:lnTo>
                      <a:pt x="1438" y="910"/>
                    </a:lnTo>
                    <a:lnTo>
                      <a:pt x="1418" y="848"/>
                    </a:lnTo>
                    <a:lnTo>
                      <a:pt x="1397" y="788"/>
                    </a:lnTo>
                    <a:lnTo>
                      <a:pt x="1373" y="727"/>
                    </a:lnTo>
                    <a:lnTo>
                      <a:pt x="1347" y="667"/>
                    </a:lnTo>
                    <a:lnTo>
                      <a:pt x="1318" y="608"/>
                    </a:lnTo>
                    <a:lnTo>
                      <a:pt x="1288" y="551"/>
                    </a:lnTo>
                    <a:lnTo>
                      <a:pt x="1250" y="488"/>
                    </a:lnTo>
                    <a:lnTo>
                      <a:pt x="1209" y="429"/>
                    </a:lnTo>
                    <a:lnTo>
                      <a:pt x="1169" y="375"/>
                    </a:lnTo>
                    <a:lnTo>
                      <a:pt x="1128" y="326"/>
                    </a:lnTo>
                    <a:lnTo>
                      <a:pt x="1085" y="285"/>
                    </a:lnTo>
                    <a:lnTo>
                      <a:pt x="1043" y="249"/>
                    </a:lnTo>
                    <a:lnTo>
                      <a:pt x="1000" y="219"/>
                    </a:lnTo>
                    <a:lnTo>
                      <a:pt x="957" y="196"/>
                    </a:lnTo>
                    <a:lnTo>
                      <a:pt x="914" y="178"/>
                    </a:lnTo>
                    <a:lnTo>
                      <a:pt x="871" y="168"/>
                    </a:lnTo>
                    <a:lnTo>
                      <a:pt x="829" y="165"/>
                    </a:lnTo>
                    <a:close/>
                    <a:moveTo>
                      <a:pt x="829" y="0"/>
                    </a:moveTo>
                    <a:lnTo>
                      <a:pt x="883" y="3"/>
                    </a:lnTo>
                    <a:lnTo>
                      <a:pt x="938" y="13"/>
                    </a:lnTo>
                    <a:lnTo>
                      <a:pt x="991" y="30"/>
                    </a:lnTo>
                    <a:lnTo>
                      <a:pt x="1044" y="55"/>
                    </a:lnTo>
                    <a:lnTo>
                      <a:pt x="1096" y="84"/>
                    </a:lnTo>
                    <a:lnTo>
                      <a:pt x="1148" y="122"/>
                    </a:lnTo>
                    <a:lnTo>
                      <a:pt x="1198" y="164"/>
                    </a:lnTo>
                    <a:lnTo>
                      <a:pt x="1248" y="214"/>
                    </a:lnTo>
                    <a:lnTo>
                      <a:pt x="1295" y="269"/>
                    </a:lnTo>
                    <a:lnTo>
                      <a:pt x="1343" y="330"/>
                    </a:lnTo>
                    <a:lnTo>
                      <a:pt x="1387" y="397"/>
                    </a:lnTo>
                    <a:lnTo>
                      <a:pt x="1431" y="470"/>
                    </a:lnTo>
                    <a:lnTo>
                      <a:pt x="1465" y="533"/>
                    </a:lnTo>
                    <a:lnTo>
                      <a:pt x="1496" y="598"/>
                    </a:lnTo>
                    <a:lnTo>
                      <a:pt x="1525" y="665"/>
                    </a:lnTo>
                    <a:lnTo>
                      <a:pt x="1552" y="733"/>
                    </a:lnTo>
                    <a:lnTo>
                      <a:pt x="1576" y="801"/>
                    </a:lnTo>
                    <a:lnTo>
                      <a:pt x="1598" y="869"/>
                    </a:lnTo>
                    <a:lnTo>
                      <a:pt x="1616" y="937"/>
                    </a:lnTo>
                    <a:lnTo>
                      <a:pt x="1631" y="1002"/>
                    </a:lnTo>
                    <a:lnTo>
                      <a:pt x="1643" y="1068"/>
                    </a:lnTo>
                    <a:lnTo>
                      <a:pt x="1652" y="1132"/>
                    </a:lnTo>
                    <a:lnTo>
                      <a:pt x="1657" y="1193"/>
                    </a:lnTo>
                    <a:lnTo>
                      <a:pt x="1659" y="1251"/>
                    </a:lnTo>
                    <a:lnTo>
                      <a:pt x="1656" y="1323"/>
                    </a:lnTo>
                    <a:lnTo>
                      <a:pt x="1647" y="1394"/>
                    </a:lnTo>
                    <a:lnTo>
                      <a:pt x="1633" y="1462"/>
                    </a:lnTo>
                    <a:lnTo>
                      <a:pt x="1613" y="1528"/>
                    </a:lnTo>
                    <a:lnTo>
                      <a:pt x="1588" y="1591"/>
                    </a:lnTo>
                    <a:lnTo>
                      <a:pt x="1558" y="1652"/>
                    </a:lnTo>
                    <a:lnTo>
                      <a:pt x="1522" y="1710"/>
                    </a:lnTo>
                    <a:lnTo>
                      <a:pt x="1483" y="1765"/>
                    </a:lnTo>
                    <a:lnTo>
                      <a:pt x="1439" y="1816"/>
                    </a:lnTo>
                    <a:lnTo>
                      <a:pt x="1392" y="1864"/>
                    </a:lnTo>
                    <a:lnTo>
                      <a:pt x="1341" y="1908"/>
                    </a:lnTo>
                    <a:lnTo>
                      <a:pt x="1286" y="1947"/>
                    </a:lnTo>
                    <a:lnTo>
                      <a:pt x="1229" y="1983"/>
                    </a:lnTo>
                    <a:lnTo>
                      <a:pt x="1168" y="2013"/>
                    </a:lnTo>
                    <a:lnTo>
                      <a:pt x="1104" y="2038"/>
                    </a:lnTo>
                    <a:lnTo>
                      <a:pt x="1039" y="2059"/>
                    </a:lnTo>
                    <a:lnTo>
                      <a:pt x="971" y="2073"/>
                    </a:lnTo>
                    <a:lnTo>
                      <a:pt x="901" y="2082"/>
                    </a:lnTo>
                    <a:lnTo>
                      <a:pt x="829" y="2085"/>
                    </a:lnTo>
                    <a:lnTo>
                      <a:pt x="758" y="2082"/>
                    </a:lnTo>
                    <a:lnTo>
                      <a:pt x="688" y="2073"/>
                    </a:lnTo>
                    <a:lnTo>
                      <a:pt x="620" y="2059"/>
                    </a:lnTo>
                    <a:lnTo>
                      <a:pt x="555" y="2038"/>
                    </a:lnTo>
                    <a:lnTo>
                      <a:pt x="491" y="2013"/>
                    </a:lnTo>
                    <a:lnTo>
                      <a:pt x="430" y="1983"/>
                    </a:lnTo>
                    <a:lnTo>
                      <a:pt x="373" y="1947"/>
                    </a:lnTo>
                    <a:lnTo>
                      <a:pt x="318" y="1908"/>
                    </a:lnTo>
                    <a:lnTo>
                      <a:pt x="267" y="1864"/>
                    </a:lnTo>
                    <a:lnTo>
                      <a:pt x="219" y="1816"/>
                    </a:lnTo>
                    <a:lnTo>
                      <a:pt x="176" y="1765"/>
                    </a:lnTo>
                    <a:lnTo>
                      <a:pt x="137" y="1710"/>
                    </a:lnTo>
                    <a:lnTo>
                      <a:pt x="101" y="1652"/>
                    </a:lnTo>
                    <a:lnTo>
                      <a:pt x="71" y="1591"/>
                    </a:lnTo>
                    <a:lnTo>
                      <a:pt x="46" y="1528"/>
                    </a:lnTo>
                    <a:lnTo>
                      <a:pt x="26" y="1462"/>
                    </a:lnTo>
                    <a:lnTo>
                      <a:pt x="12" y="1394"/>
                    </a:lnTo>
                    <a:lnTo>
                      <a:pt x="3" y="1323"/>
                    </a:lnTo>
                    <a:lnTo>
                      <a:pt x="0" y="1251"/>
                    </a:lnTo>
                    <a:lnTo>
                      <a:pt x="1" y="1193"/>
                    </a:lnTo>
                    <a:lnTo>
                      <a:pt x="7" y="1132"/>
                    </a:lnTo>
                    <a:lnTo>
                      <a:pt x="16" y="1068"/>
                    </a:lnTo>
                    <a:lnTo>
                      <a:pt x="28" y="1003"/>
                    </a:lnTo>
                    <a:lnTo>
                      <a:pt x="43" y="937"/>
                    </a:lnTo>
                    <a:lnTo>
                      <a:pt x="61" y="869"/>
                    </a:lnTo>
                    <a:lnTo>
                      <a:pt x="83" y="801"/>
                    </a:lnTo>
                    <a:lnTo>
                      <a:pt x="106" y="733"/>
                    </a:lnTo>
                    <a:lnTo>
                      <a:pt x="134" y="665"/>
                    </a:lnTo>
                    <a:lnTo>
                      <a:pt x="163" y="598"/>
                    </a:lnTo>
                    <a:lnTo>
                      <a:pt x="194" y="533"/>
                    </a:lnTo>
                    <a:lnTo>
                      <a:pt x="229" y="470"/>
                    </a:lnTo>
                    <a:lnTo>
                      <a:pt x="272" y="397"/>
                    </a:lnTo>
                    <a:lnTo>
                      <a:pt x="317" y="330"/>
                    </a:lnTo>
                    <a:lnTo>
                      <a:pt x="364" y="269"/>
                    </a:lnTo>
                    <a:lnTo>
                      <a:pt x="411" y="214"/>
                    </a:lnTo>
                    <a:lnTo>
                      <a:pt x="461" y="164"/>
                    </a:lnTo>
                    <a:lnTo>
                      <a:pt x="511" y="122"/>
                    </a:lnTo>
                    <a:lnTo>
                      <a:pt x="563" y="84"/>
                    </a:lnTo>
                    <a:lnTo>
                      <a:pt x="615" y="55"/>
                    </a:lnTo>
                    <a:lnTo>
                      <a:pt x="668" y="30"/>
                    </a:lnTo>
                    <a:lnTo>
                      <a:pt x="721" y="13"/>
                    </a:lnTo>
                    <a:lnTo>
                      <a:pt x="775" y="3"/>
                    </a:lnTo>
                    <a:lnTo>
                      <a:pt x="82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117" name="Gruppieren 116"/>
            <p:cNvGrpSpPr>
              <a:grpSpLocks noChangeAspect="1"/>
            </p:cNvGrpSpPr>
            <p:nvPr/>
          </p:nvGrpSpPr>
          <p:grpSpPr>
            <a:xfrm>
              <a:off x="9167260" y="2764894"/>
              <a:ext cx="453648" cy="453648"/>
              <a:chOff x="11941660" y="5107283"/>
              <a:chExt cx="348117" cy="348117"/>
            </a:xfrm>
          </p:grpSpPr>
          <p:sp>
            <p:nvSpPr>
              <p:cNvPr id="118" name="Rectangle 53"/>
              <p:cNvSpPr>
                <a:spLocks noChangeArrowheads="1"/>
              </p:cNvSpPr>
              <p:nvPr/>
            </p:nvSpPr>
            <p:spPr bwMode="auto">
              <a:xfrm>
                <a:off x="11941660" y="5107283"/>
                <a:ext cx="348117" cy="348117"/>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19" name="Rectangle 54"/>
              <p:cNvSpPr>
                <a:spLocks noChangeArrowheads="1"/>
              </p:cNvSpPr>
              <p:nvPr/>
            </p:nvSpPr>
            <p:spPr bwMode="auto">
              <a:xfrm>
                <a:off x="11941660" y="5107283"/>
                <a:ext cx="348117" cy="348117"/>
              </a:xfrm>
              <a:prstGeom prst="rect">
                <a:avLst/>
              </a:prstGeom>
              <a:solidFill>
                <a:srgbClr val="99D0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20" name="Freeform 55"/>
              <p:cNvSpPr>
                <a:spLocks noEditPoints="1"/>
              </p:cNvSpPr>
              <p:nvPr/>
            </p:nvSpPr>
            <p:spPr bwMode="auto">
              <a:xfrm>
                <a:off x="12002541" y="5177531"/>
                <a:ext cx="251331" cy="216988"/>
              </a:xfrm>
              <a:custGeom>
                <a:avLst/>
                <a:gdLst>
                  <a:gd name="T0" fmla="*/ 2110 w 2419"/>
                  <a:gd name="T1" fmla="*/ 618 h 2086"/>
                  <a:gd name="T2" fmla="*/ 2125 w 2419"/>
                  <a:gd name="T3" fmla="*/ 852 h 2086"/>
                  <a:gd name="T4" fmla="*/ 2079 w 2419"/>
                  <a:gd name="T5" fmla="*/ 1071 h 2086"/>
                  <a:gd name="T6" fmla="*/ 1938 w 2419"/>
                  <a:gd name="T7" fmla="*/ 972 h 2086"/>
                  <a:gd name="T8" fmla="*/ 1962 w 2419"/>
                  <a:gd name="T9" fmla="*/ 793 h 2086"/>
                  <a:gd name="T10" fmla="*/ 1938 w 2419"/>
                  <a:gd name="T11" fmla="*/ 613 h 2086"/>
                  <a:gd name="T12" fmla="*/ 1920 w 2419"/>
                  <a:gd name="T13" fmla="*/ 165 h 2086"/>
                  <a:gd name="T14" fmla="*/ 1791 w 2419"/>
                  <a:gd name="T15" fmla="*/ 216 h 2086"/>
                  <a:gd name="T16" fmla="*/ 1685 w 2419"/>
                  <a:gd name="T17" fmla="*/ 352 h 2086"/>
                  <a:gd name="T18" fmla="*/ 1612 w 2419"/>
                  <a:gd name="T19" fmla="*/ 551 h 2086"/>
                  <a:gd name="T20" fmla="*/ 1585 w 2419"/>
                  <a:gd name="T21" fmla="*/ 793 h 2086"/>
                  <a:gd name="T22" fmla="*/ 1612 w 2419"/>
                  <a:gd name="T23" fmla="*/ 1034 h 2086"/>
                  <a:gd name="T24" fmla="*/ 1685 w 2419"/>
                  <a:gd name="T25" fmla="*/ 1234 h 2086"/>
                  <a:gd name="T26" fmla="*/ 1791 w 2419"/>
                  <a:gd name="T27" fmla="*/ 1369 h 2086"/>
                  <a:gd name="T28" fmla="*/ 1920 w 2419"/>
                  <a:gd name="T29" fmla="*/ 1419 h 2086"/>
                  <a:gd name="T30" fmla="*/ 2048 w 2419"/>
                  <a:gd name="T31" fmla="*/ 1369 h 2086"/>
                  <a:gd name="T32" fmla="*/ 2155 w 2419"/>
                  <a:gd name="T33" fmla="*/ 1234 h 2086"/>
                  <a:gd name="T34" fmla="*/ 2228 w 2419"/>
                  <a:gd name="T35" fmla="*/ 1034 h 2086"/>
                  <a:gd name="T36" fmla="*/ 2254 w 2419"/>
                  <a:gd name="T37" fmla="*/ 793 h 2086"/>
                  <a:gd name="T38" fmla="*/ 2228 w 2419"/>
                  <a:gd name="T39" fmla="*/ 551 h 2086"/>
                  <a:gd name="T40" fmla="*/ 2155 w 2419"/>
                  <a:gd name="T41" fmla="*/ 352 h 2086"/>
                  <a:gd name="T42" fmla="*/ 2048 w 2419"/>
                  <a:gd name="T43" fmla="*/ 216 h 2086"/>
                  <a:gd name="T44" fmla="*/ 1920 w 2419"/>
                  <a:gd name="T45" fmla="*/ 165 h 2086"/>
                  <a:gd name="T46" fmla="*/ 606 w 2419"/>
                  <a:gd name="T47" fmla="*/ 194 h 2086"/>
                  <a:gd name="T48" fmla="*/ 394 w 2419"/>
                  <a:gd name="T49" fmla="*/ 309 h 2086"/>
                  <a:gd name="T50" fmla="*/ 241 w 2419"/>
                  <a:gd name="T51" fmla="*/ 494 h 2086"/>
                  <a:gd name="T52" fmla="*/ 169 w 2419"/>
                  <a:gd name="T53" fmla="*/ 729 h 2086"/>
                  <a:gd name="T54" fmla="*/ 1420 w 2419"/>
                  <a:gd name="T55" fmla="*/ 793 h 2086"/>
                  <a:gd name="T56" fmla="*/ 1453 w 2419"/>
                  <a:gd name="T57" fmla="*/ 502 h 2086"/>
                  <a:gd name="T58" fmla="*/ 1547 w 2419"/>
                  <a:gd name="T59" fmla="*/ 261 h 2086"/>
                  <a:gd name="T60" fmla="*/ 793 w 2419"/>
                  <a:gd name="T61" fmla="*/ 0 h 2086"/>
                  <a:gd name="T62" fmla="*/ 1920 w 2419"/>
                  <a:gd name="T63" fmla="*/ 0 h 2086"/>
                  <a:gd name="T64" fmla="*/ 2096 w 2419"/>
                  <a:gd name="T65" fmla="*/ 49 h 2086"/>
                  <a:gd name="T66" fmla="*/ 2244 w 2419"/>
                  <a:gd name="T67" fmla="*/ 185 h 2086"/>
                  <a:gd name="T68" fmla="*/ 2353 w 2419"/>
                  <a:gd name="T69" fmla="*/ 389 h 2086"/>
                  <a:gd name="T70" fmla="*/ 2412 w 2419"/>
                  <a:gd name="T71" fmla="*/ 648 h 2086"/>
                  <a:gd name="T72" fmla="*/ 2412 w 2419"/>
                  <a:gd name="T73" fmla="*/ 937 h 2086"/>
                  <a:gd name="T74" fmla="*/ 2353 w 2419"/>
                  <a:gd name="T75" fmla="*/ 1195 h 2086"/>
                  <a:gd name="T76" fmla="*/ 2244 w 2419"/>
                  <a:gd name="T77" fmla="*/ 1401 h 2086"/>
                  <a:gd name="T78" fmla="*/ 2096 w 2419"/>
                  <a:gd name="T79" fmla="*/ 1536 h 2086"/>
                  <a:gd name="T80" fmla="*/ 1920 w 2419"/>
                  <a:gd name="T81" fmla="*/ 1584 h 2086"/>
                  <a:gd name="T82" fmla="*/ 1755 w 2419"/>
                  <a:gd name="T83" fmla="*/ 1542 h 2086"/>
                  <a:gd name="T84" fmla="*/ 1616 w 2419"/>
                  <a:gd name="T85" fmla="*/ 1424 h 2086"/>
                  <a:gd name="T86" fmla="*/ 0 w 2419"/>
                  <a:gd name="T87" fmla="*/ 793 h 2086"/>
                  <a:gd name="T88" fmla="*/ 50 w 2419"/>
                  <a:gd name="T89" fmla="*/ 516 h 2086"/>
                  <a:gd name="T90" fmla="*/ 186 w 2419"/>
                  <a:gd name="T91" fmla="*/ 282 h 2086"/>
                  <a:gd name="T92" fmla="*/ 393 w 2419"/>
                  <a:gd name="T93" fmla="*/ 109 h 2086"/>
                  <a:gd name="T94" fmla="*/ 651 w 2419"/>
                  <a:gd name="T95" fmla="*/ 13 h 2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19" h="2086">
                    <a:moveTo>
                      <a:pt x="2058" y="464"/>
                    </a:moveTo>
                    <a:lnTo>
                      <a:pt x="2079" y="513"/>
                    </a:lnTo>
                    <a:lnTo>
                      <a:pt x="2096" y="565"/>
                    </a:lnTo>
                    <a:lnTo>
                      <a:pt x="2110" y="618"/>
                    </a:lnTo>
                    <a:lnTo>
                      <a:pt x="2119" y="675"/>
                    </a:lnTo>
                    <a:lnTo>
                      <a:pt x="2125" y="733"/>
                    </a:lnTo>
                    <a:lnTo>
                      <a:pt x="2127" y="793"/>
                    </a:lnTo>
                    <a:lnTo>
                      <a:pt x="2125" y="852"/>
                    </a:lnTo>
                    <a:lnTo>
                      <a:pt x="2119" y="910"/>
                    </a:lnTo>
                    <a:lnTo>
                      <a:pt x="2110" y="966"/>
                    </a:lnTo>
                    <a:lnTo>
                      <a:pt x="2096" y="1020"/>
                    </a:lnTo>
                    <a:lnTo>
                      <a:pt x="2079" y="1071"/>
                    </a:lnTo>
                    <a:lnTo>
                      <a:pt x="2058" y="1120"/>
                    </a:lnTo>
                    <a:lnTo>
                      <a:pt x="1910" y="1049"/>
                    </a:lnTo>
                    <a:lnTo>
                      <a:pt x="1925" y="1012"/>
                    </a:lnTo>
                    <a:lnTo>
                      <a:pt x="1938" y="972"/>
                    </a:lnTo>
                    <a:lnTo>
                      <a:pt x="1949" y="930"/>
                    </a:lnTo>
                    <a:lnTo>
                      <a:pt x="1956" y="885"/>
                    </a:lnTo>
                    <a:lnTo>
                      <a:pt x="1961" y="839"/>
                    </a:lnTo>
                    <a:lnTo>
                      <a:pt x="1962" y="793"/>
                    </a:lnTo>
                    <a:lnTo>
                      <a:pt x="1961" y="746"/>
                    </a:lnTo>
                    <a:lnTo>
                      <a:pt x="1956" y="699"/>
                    </a:lnTo>
                    <a:lnTo>
                      <a:pt x="1949" y="656"/>
                    </a:lnTo>
                    <a:lnTo>
                      <a:pt x="1938" y="613"/>
                    </a:lnTo>
                    <a:lnTo>
                      <a:pt x="1925" y="573"/>
                    </a:lnTo>
                    <a:lnTo>
                      <a:pt x="1910" y="536"/>
                    </a:lnTo>
                    <a:lnTo>
                      <a:pt x="2058" y="464"/>
                    </a:lnTo>
                    <a:close/>
                    <a:moveTo>
                      <a:pt x="1920" y="165"/>
                    </a:moveTo>
                    <a:lnTo>
                      <a:pt x="1886" y="168"/>
                    </a:lnTo>
                    <a:lnTo>
                      <a:pt x="1853" y="178"/>
                    </a:lnTo>
                    <a:lnTo>
                      <a:pt x="1821" y="194"/>
                    </a:lnTo>
                    <a:lnTo>
                      <a:pt x="1791" y="216"/>
                    </a:lnTo>
                    <a:lnTo>
                      <a:pt x="1762" y="242"/>
                    </a:lnTo>
                    <a:lnTo>
                      <a:pt x="1734" y="274"/>
                    </a:lnTo>
                    <a:lnTo>
                      <a:pt x="1708" y="310"/>
                    </a:lnTo>
                    <a:lnTo>
                      <a:pt x="1685" y="352"/>
                    </a:lnTo>
                    <a:lnTo>
                      <a:pt x="1662" y="396"/>
                    </a:lnTo>
                    <a:lnTo>
                      <a:pt x="1643" y="445"/>
                    </a:lnTo>
                    <a:lnTo>
                      <a:pt x="1626" y="497"/>
                    </a:lnTo>
                    <a:lnTo>
                      <a:pt x="1612" y="551"/>
                    </a:lnTo>
                    <a:lnTo>
                      <a:pt x="1600" y="608"/>
                    </a:lnTo>
                    <a:lnTo>
                      <a:pt x="1592" y="668"/>
                    </a:lnTo>
                    <a:lnTo>
                      <a:pt x="1586" y="730"/>
                    </a:lnTo>
                    <a:lnTo>
                      <a:pt x="1585" y="793"/>
                    </a:lnTo>
                    <a:lnTo>
                      <a:pt x="1586" y="856"/>
                    </a:lnTo>
                    <a:lnTo>
                      <a:pt x="1592" y="917"/>
                    </a:lnTo>
                    <a:lnTo>
                      <a:pt x="1600" y="976"/>
                    </a:lnTo>
                    <a:lnTo>
                      <a:pt x="1612" y="1034"/>
                    </a:lnTo>
                    <a:lnTo>
                      <a:pt x="1626" y="1089"/>
                    </a:lnTo>
                    <a:lnTo>
                      <a:pt x="1643" y="1140"/>
                    </a:lnTo>
                    <a:lnTo>
                      <a:pt x="1662" y="1189"/>
                    </a:lnTo>
                    <a:lnTo>
                      <a:pt x="1685" y="1234"/>
                    </a:lnTo>
                    <a:lnTo>
                      <a:pt x="1708" y="1274"/>
                    </a:lnTo>
                    <a:lnTo>
                      <a:pt x="1734" y="1311"/>
                    </a:lnTo>
                    <a:lnTo>
                      <a:pt x="1762" y="1342"/>
                    </a:lnTo>
                    <a:lnTo>
                      <a:pt x="1791" y="1369"/>
                    </a:lnTo>
                    <a:lnTo>
                      <a:pt x="1821" y="1391"/>
                    </a:lnTo>
                    <a:lnTo>
                      <a:pt x="1853" y="1407"/>
                    </a:lnTo>
                    <a:lnTo>
                      <a:pt x="1886" y="1416"/>
                    </a:lnTo>
                    <a:lnTo>
                      <a:pt x="1920" y="1419"/>
                    </a:lnTo>
                    <a:lnTo>
                      <a:pt x="1953" y="1416"/>
                    </a:lnTo>
                    <a:lnTo>
                      <a:pt x="1987" y="1407"/>
                    </a:lnTo>
                    <a:lnTo>
                      <a:pt x="2018" y="1391"/>
                    </a:lnTo>
                    <a:lnTo>
                      <a:pt x="2048" y="1369"/>
                    </a:lnTo>
                    <a:lnTo>
                      <a:pt x="2078" y="1342"/>
                    </a:lnTo>
                    <a:lnTo>
                      <a:pt x="2105" y="1311"/>
                    </a:lnTo>
                    <a:lnTo>
                      <a:pt x="2132" y="1274"/>
                    </a:lnTo>
                    <a:lnTo>
                      <a:pt x="2155" y="1234"/>
                    </a:lnTo>
                    <a:lnTo>
                      <a:pt x="2177" y="1189"/>
                    </a:lnTo>
                    <a:lnTo>
                      <a:pt x="2196" y="1140"/>
                    </a:lnTo>
                    <a:lnTo>
                      <a:pt x="2214" y="1089"/>
                    </a:lnTo>
                    <a:lnTo>
                      <a:pt x="2228" y="1034"/>
                    </a:lnTo>
                    <a:lnTo>
                      <a:pt x="2239" y="976"/>
                    </a:lnTo>
                    <a:lnTo>
                      <a:pt x="2248" y="917"/>
                    </a:lnTo>
                    <a:lnTo>
                      <a:pt x="2253" y="856"/>
                    </a:lnTo>
                    <a:lnTo>
                      <a:pt x="2254" y="793"/>
                    </a:lnTo>
                    <a:lnTo>
                      <a:pt x="2253" y="730"/>
                    </a:lnTo>
                    <a:lnTo>
                      <a:pt x="2248" y="668"/>
                    </a:lnTo>
                    <a:lnTo>
                      <a:pt x="2239" y="608"/>
                    </a:lnTo>
                    <a:lnTo>
                      <a:pt x="2228" y="551"/>
                    </a:lnTo>
                    <a:lnTo>
                      <a:pt x="2214" y="497"/>
                    </a:lnTo>
                    <a:lnTo>
                      <a:pt x="2196" y="445"/>
                    </a:lnTo>
                    <a:lnTo>
                      <a:pt x="2177" y="396"/>
                    </a:lnTo>
                    <a:lnTo>
                      <a:pt x="2155" y="352"/>
                    </a:lnTo>
                    <a:lnTo>
                      <a:pt x="2132" y="310"/>
                    </a:lnTo>
                    <a:lnTo>
                      <a:pt x="2105" y="274"/>
                    </a:lnTo>
                    <a:lnTo>
                      <a:pt x="2078" y="242"/>
                    </a:lnTo>
                    <a:lnTo>
                      <a:pt x="2048" y="216"/>
                    </a:lnTo>
                    <a:lnTo>
                      <a:pt x="2018" y="194"/>
                    </a:lnTo>
                    <a:lnTo>
                      <a:pt x="1987" y="178"/>
                    </a:lnTo>
                    <a:lnTo>
                      <a:pt x="1953" y="168"/>
                    </a:lnTo>
                    <a:lnTo>
                      <a:pt x="1920" y="165"/>
                    </a:lnTo>
                    <a:close/>
                    <a:moveTo>
                      <a:pt x="793" y="165"/>
                    </a:moveTo>
                    <a:lnTo>
                      <a:pt x="729" y="168"/>
                    </a:lnTo>
                    <a:lnTo>
                      <a:pt x="667" y="178"/>
                    </a:lnTo>
                    <a:lnTo>
                      <a:pt x="606" y="194"/>
                    </a:lnTo>
                    <a:lnTo>
                      <a:pt x="549" y="215"/>
                    </a:lnTo>
                    <a:lnTo>
                      <a:pt x="494" y="241"/>
                    </a:lnTo>
                    <a:lnTo>
                      <a:pt x="442" y="273"/>
                    </a:lnTo>
                    <a:lnTo>
                      <a:pt x="394" y="309"/>
                    </a:lnTo>
                    <a:lnTo>
                      <a:pt x="350" y="349"/>
                    </a:lnTo>
                    <a:lnTo>
                      <a:pt x="309" y="393"/>
                    </a:lnTo>
                    <a:lnTo>
                      <a:pt x="273" y="442"/>
                    </a:lnTo>
                    <a:lnTo>
                      <a:pt x="241" y="494"/>
                    </a:lnTo>
                    <a:lnTo>
                      <a:pt x="215" y="548"/>
                    </a:lnTo>
                    <a:lnTo>
                      <a:pt x="193" y="606"/>
                    </a:lnTo>
                    <a:lnTo>
                      <a:pt x="178" y="666"/>
                    </a:lnTo>
                    <a:lnTo>
                      <a:pt x="169" y="729"/>
                    </a:lnTo>
                    <a:lnTo>
                      <a:pt x="165" y="793"/>
                    </a:lnTo>
                    <a:lnTo>
                      <a:pt x="165" y="1921"/>
                    </a:lnTo>
                    <a:lnTo>
                      <a:pt x="1420" y="1921"/>
                    </a:lnTo>
                    <a:lnTo>
                      <a:pt x="1420" y="793"/>
                    </a:lnTo>
                    <a:lnTo>
                      <a:pt x="1422" y="716"/>
                    </a:lnTo>
                    <a:lnTo>
                      <a:pt x="1428" y="642"/>
                    </a:lnTo>
                    <a:lnTo>
                      <a:pt x="1439" y="571"/>
                    </a:lnTo>
                    <a:lnTo>
                      <a:pt x="1453" y="502"/>
                    </a:lnTo>
                    <a:lnTo>
                      <a:pt x="1472" y="436"/>
                    </a:lnTo>
                    <a:lnTo>
                      <a:pt x="1493" y="374"/>
                    </a:lnTo>
                    <a:lnTo>
                      <a:pt x="1518" y="315"/>
                    </a:lnTo>
                    <a:lnTo>
                      <a:pt x="1547" y="261"/>
                    </a:lnTo>
                    <a:lnTo>
                      <a:pt x="1577" y="211"/>
                    </a:lnTo>
                    <a:lnTo>
                      <a:pt x="1612" y="165"/>
                    </a:lnTo>
                    <a:lnTo>
                      <a:pt x="793" y="165"/>
                    </a:lnTo>
                    <a:close/>
                    <a:moveTo>
                      <a:pt x="793" y="0"/>
                    </a:moveTo>
                    <a:lnTo>
                      <a:pt x="1870" y="0"/>
                    </a:lnTo>
                    <a:lnTo>
                      <a:pt x="1870" y="4"/>
                    </a:lnTo>
                    <a:lnTo>
                      <a:pt x="1894" y="1"/>
                    </a:lnTo>
                    <a:lnTo>
                      <a:pt x="1920" y="0"/>
                    </a:lnTo>
                    <a:lnTo>
                      <a:pt x="1966" y="3"/>
                    </a:lnTo>
                    <a:lnTo>
                      <a:pt x="2011" y="12"/>
                    </a:lnTo>
                    <a:lnTo>
                      <a:pt x="2055" y="28"/>
                    </a:lnTo>
                    <a:lnTo>
                      <a:pt x="2096" y="49"/>
                    </a:lnTo>
                    <a:lnTo>
                      <a:pt x="2136" y="75"/>
                    </a:lnTo>
                    <a:lnTo>
                      <a:pt x="2174" y="107"/>
                    </a:lnTo>
                    <a:lnTo>
                      <a:pt x="2210" y="143"/>
                    </a:lnTo>
                    <a:lnTo>
                      <a:pt x="2244" y="185"/>
                    </a:lnTo>
                    <a:lnTo>
                      <a:pt x="2275" y="230"/>
                    </a:lnTo>
                    <a:lnTo>
                      <a:pt x="2304" y="279"/>
                    </a:lnTo>
                    <a:lnTo>
                      <a:pt x="2329" y="333"/>
                    </a:lnTo>
                    <a:lnTo>
                      <a:pt x="2353" y="389"/>
                    </a:lnTo>
                    <a:lnTo>
                      <a:pt x="2373" y="450"/>
                    </a:lnTo>
                    <a:lnTo>
                      <a:pt x="2389" y="513"/>
                    </a:lnTo>
                    <a:lnTo>
                      <a:pt x="2402" y="580"/>
                    </a:lnTo>
                    <a:lnTo>
                      <a:pt x="2412" y="648"/>
                    </a:lnTo>
                    <a:lnTo>
                      <a:pt x="2417" y="720"/>
                    </a:lnTo>
                    <a:lnTo>
                      <a:pt x="2419" y="793"/>
                    </a:lnTo>
                    <a:lnTo>
                      <a:pt x="2417" y="866"/>
                    </a:lnTo>
                    <a:lnTo>
                      <a:pt x="2412" y="937"/>
                    </a:lnTo>
                    <a:lnTo>
                      <a:pt x="2402" y="1006"/>
                    </a:lnTo>
                    <a:lnTo>
                      <a:pt x="2389" y="1071"/>
                    </a:lnTo>
                    <a:lnTo>
                      <a:pt x="2373" y="1135"/>
                    </a:lnTo>
                    <a:lnTo>
                      <a:pt x="2353" y="1195"/>
                    </a:lnTo>
                    <a:lnTo>
                      <a:pt x="2329" y="1252"/>
                    </a:lnTo>
                    <a:lnTo>
                      <a:pt x="2304" y="1306"/>
                    </a:lnTo>
                    <a:lnTo>
                      <a:pt x="2275" y="1355"/>
                    </a:lnTo>
                    <a:lnTo>
                      <a:pt x="2244" y="1401"/>
                    </a:lnTo>
                    <a:lnTo>
                      <a:pt x="2210" y="1441"/>
                    </a:lnTo>
                    <a:lnTo>
                      <a:pt x="2174" y="1478"/>
                    </a:lnTo>
                    <a:lnTo>
                      <a:pt x="2136" y="1509"/>
                    </a:lnTo>
                    <a:lnTo>
                      <a:pt x="2096" y="1536"/>
                    </a:lnTo>
                    <a:lnTo>
                      <a:pt x="2055" y="1557"/>
                    </a:lnTo>
                    <a:lnTo>
                      <a:pt x="2011" y="1572"/>
                    </a:lnTo>
                    <a:lnTo>
                      <a:pt x="1966" y="1581"/>
                    </a:lnTo>
                    <a:lnTo>
                      <a:pt x="1920" y="1584"/>
                    </a:lnTo>
                    <a:lnTo>
                      <a:pt x="1877" y="1582"/>
                    </a:lnTo>
                    <a:lnTo>
                      <a:pt x="1836" y="1574"/>
                    </a:lnTo>
                    <a:lnTo>
                      <a:pt x="1795" y="1560"/>
                    </a:lnTo>
                    <a:lnTo>
                      <a:pt x="1755" y="1542"/>
                    </a:lnTo>
                    <a:lnTo>
                      <a:pt x="1718" y="1520"/>
                    </a:lnTo>
                    <a:lnTo>
                      <a:pt x="1681" y="1492"/>
                    </a:lnTo>
                    <a:lnTo>
                      <a:pt x="1648" y="1460"/>
                    </a:lnTo>
                    <a:lnTo>
                      <a:pt x="1616" y="1424"/>
                    </a:lnTo>
                    <a:lnTo>
                      <a:pt x="1585" y="1385"/>
                    </a:lnTo>
                    <a:lnTo>
                      <a:pt x="1585" y="2086"/>
                    </a:lnTo>
                    <a:lnTo>
                      <a:pt x="0" y="2086"/>
                    </a:lnTo>
                    <a:lnTo>
                      <a:pt x="0" y="793"/>
                    </a:lnTo>
                    <a:lnTo>
                      <a:pt x="4" y="721"/>
                    </a:lnTo>
                    <a:lnTo>
                      <a:pt x="13" y="650"/>
                    </a:lnTo>
                    <a:lnTo>
                      <a:pt x="28" y="582"/>
                    </a:lnTo>
                    <a:lnTo>
                      <a:pt x="50" y="516"/>
                    </a:lnTo>
                    <a:lnTo>
                      <a:pt x="77" y="453"/>
                    </a:lnTo>
                    <a:lnTo>
                      <a:pt x="108" y="393"/>
                    </a:lnTo>
                    <a:lnTo>
                      <a:pt x="146" y="336"/>
                    </a:lnTo>
                    <a:lnTo>
                      <a:pt x="186" y="282"/>
                    </a:lnTo>
                    <a:lnTo>
                      <a:pt x="233" y="232"/>
                    </a:lnTo>
                    <a:lnTo>
                      <a:pt x="283" y="187"/>
                    </a:lnTo>
                    <a:lnTo>
                      <a:pt x="336" y="145"/>
                    </a:lnTo>
                    <a:lnTo>
                      <a:pt x="393" y="109"/>
                    </a:lnTo>
                    <a:lnTo>
                      <a:pt x="453" y="76"/>
                    </a:lnTo>
                    <a:lnTo>
                      <a:pt x="517" y="50"/>
                    </a:lnTo>
                    <a:lnTo>
                      <a:pt x="583" y="28"/>
                    </a:lnTo>
                    <a:lnTo>
                      <a:pt x="651" y="13"/>
                    </a:lnTo>
                    <a:lnTo>
                      <a:pt x="721" y="3"/>
                    </a:lnTo>
                    <a:lnTo>
                      <a:pt x="79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121" name="Group 260"/>
            <p:cNvGrpSpPr>
              <a:grpSpLocks noChangeAspect="1"/>
            </p:cNvGrpSpPr>
            <p:nvPr/>
          </p:nvGrpSpPr>
          <p:grpSpPr bwMode="auto">
            <a:xfrm>
              <a:off x="9622717" y="3667921"/>
              <a:ext cx="451619" cy="453648"/>
              <a:chOff x="3091" y="3933"/>
              <a:chExt cx="222" cy="223"/>
            </a:xfrm>
          </p:grpSpPr>
          <p:sp>
            <p:nvSpPr>
              <p:cNvPr id="122" name="Rectangle 261"/>
              <p:cNvSpPr>
                <a:spLocks noChangeArrowheads="1"/>
              </p:cNvSpPr>
              <p:nvPr/>
            </p:nvSpPr>
            <p:spPr bwMode="auto">
              <a:xfrm>
                <a:off x="3091" y="3933"/>
                <a:ext cx="222" cy="223"/>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23" name="Rectangle 262"/>
              <p:cNvSpPr>
                <a:spLocks noChangeArrowheads="1"/>
              </p:cNvSpPr>
              <p:nvPr/>
            </p:nvSpPr>
            <p:spPr bwMode="auto">
              <a:xfrm>
                <a:off x="3091" y="3933"/>
                <a:ext cx="222" cy="223"/>
              </a:xfrm>
              <a:prstGeom prst="rect">
                <a:avLst/>
              </a:prstGeom>
              <a:solidFill>
                <a:srgbClr val="95C1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24" name="Freeform 263"/>
              <p:cNvSpPr>
                <a:spLocks noEditPoints="1"/>
              </p:cNvSpPr>
              <p:nvPr/>
            </p:nvSpPr>
            <p:spPr bwMode="auto">
              <a:xfrm>
                <a:off x="3141" y="3964"/>
                <a:ext cx="122" cy="153"/>
              </a:xfrm>
              <a:custGeom>
                <a:avLst/>
                <a:gdLst>
                  <a:gd name="T0" fmla="*/ 642 w 1827"/>
                  <a:gd name="T1" fmla="*/ 676 h 2295"/>
                  <a:gd name="T2" fmla="*/ 425 w 1827"/>
                  <a:gd name="T3" fmla="*/ 807 h 2295"/>
                  <a:gd name="T4" fmla="*/ 264 w 1827"/>
                  <a:gd name="T5" fmla="*/ 1002 h 2295"/>
                  <a:gd name="T6" fmla="*/ 176 w 1827"/>
                  <a:gd name="T7" fmla="*/ 1244 h 2295"/>
                  <a:gd name="T8" fmla="*/ 176 w 1827"/>
                  <a:gd name="T9" fmla="*/ 1513 h 2295"/>
                  <a:gd name="T10" fmla="*/ 267 w 1827"/>
                  <a:gd name="T11" fmla="*/ 1757 h 2295"/>
                  <a:gd name="T12" fmla="*/ 431 w 1827"/>
                  <a:gd name="T13" fmla="*/ 1953 h 2295"/>
                  <a:gd name="T14" fmla="*/ 653 w 1827"/>
                  <a:gd name="T15" fmla="*/ 2082 h 2295"/>
                  <a:gd name="T16" fmla="*/ 913 w 1827"/>
                  <a:gd name="T17" fmla="*/ 2130 h 2295"/>
                  <a:gd name="T18" fmla="*/ 1174 w 1827"/>
                  <a:gd name="T19" fmla="*/ 2082 h 2295"/>
                  <a:gd name="T20" fmla="*/ 1395 w 1827"/>
                  <a:gd name="T21" fmla="*/ 1953 h 2295"/>
                  <a:gd name="T22" fmla="*/ 1560 w 1827"/>
                  <a:gd name="T23" fmla="*/ 1757 h 2295"/>
                  <a:gd name="T24" fmla="*/ 1651 w 1827"/>
                  <a:gd name="T25" fmla="*/ 1513 h 2295"/>
                  <a:gd name="T26" fmla="*/ 1651 w 1827"/>
                  <a:gd name="T27" fmla="*/ 1244 h 2295"/>
                  <a:gd name="T28" fmla="*/ 1563 w 1827"/>
                  <a:gd name="T29" fmla="*/ 1002 h 2295"/>
                  <a:gd name="T30" fmla="*/ 1401 w 1827"/>
                  <a:gd name="T31" fmla="*/ 807 h 2295"/>
                  <a:gd name="T32" fmla="*/ 1185 w 1827"/>
                  <a:gd name="T33" fmla="*/ 676 h 2295"/>
                  <a:gd name="T34" fmla="*/ 996 w 1827"/>
                  <a:gd name="T35" fmla="*/ 951 h 2295"/>
                  <a:gd name="T36" fmla="*/ 1121 w 1827"/>
                  <a:gd name="T37" fmla="*/ 891 h 2295"/>
                  <a:gd name="T38" fmla="*/ 1188 w 1827"/>
                  <a:gd name="T39" fmla="*/ 1045 h 2295"/>
                  <a:gd name="T40" fmla="*/ 1011 w 1827"/>
                  <a:gd name="T41" fmla="*/ 1116 h 2295"/>
                  <a:gd name="T42" fmla="*/ 864 w 1827"/>
                  <a:gd name="T43" fmla="*/ 1123 h 2295"/>
                  <a:gd name="T44" fmla="*/ 679 w 1827"/>
                  <a:gd name="T45" fmla="*/ 1069 h 2295"/>
                  <a:gd name="T46" fmla="*/ 680 w 1827"/>
                  <a:gd name="T47" fmla="*/ 869 h 2295"/>
                  <a:gd name="T48" fmla="*/ 797 w 1827"/>
                  <a:gd name="T49" fmla="*/ 941 h 2295"/>
                  <a:gd name="T50" fmla="*/ 1133 w 1827"/>
                  <a:gd name="T51" fmla="*/ 169 h 2295"/>
                  <a:gd name="T52" fmla="*/ 1035 w 1827"/>
                  <a:gd name="T53" fmla="*/ 225 h 2295"/>
                  <a:gd name="T54" fmla="*/ 996 w 1827"/>
                  <a:gd name="T55" fmla="*/ 334 h 2295"/>
                  <a:gd name="T56" fmla="*/ 1179 w 1827"/>
                  <a:gd name="T57" fmla="*/ 449 h 2295"/>
                  <a:gd name="T58" fmla="*/ 1265 w 1827"/>
                  <a:gd name="T59" fmla="*/ 376 h 2295"/>
                  <a:gd name="T60" fmla="*/ 1288 w 1827"/>
                  <a:gd name="T61" fmla="*/ 165 h 2295"/>
                  <a:gd name="T62" fmla="*/ 1453 w 1827"/>
                  <a:gd name="T63" fmla="*/ 292 h 2295"/>
                  <a:gd name="T64" fmla="*/ 1406 w 1827"/>
                  <a:gd name="T65" fmla="*/ 460 h 2295"/>
                  <a:gd name="T66" fmla="*/ 1384 w 1827"/>
                  <a:gd name="T67" fmla="*/ 591 h 2295"/>
                  <a:gd name="T68" fmla="*/ 1601 w 1827"/>
                  <a:gd name="T69" fmla="*/ 775 h 2295"/>
                  <a:gd name="T70" fmla="*/ 1754 w 1827"/>
                  <a:gd name="T71" fmla="*/ 1016 h 2295"/>
                  <a:gd name="T72" fmla="*/ 1824 w 1827"/>
                  <a:gd name="T73" fmla="*/ 1301 h 2295"/>
                  <a:gd name="T74" fmla="*/ 1800 w 1827"/>
                  <a:gd name="T75" fmla="*/ 1598 h 2295"/>
                  <a:gd name="T76" fmla="*/ 1690 w 1827"/>
                  <a:gd name="T77" fmla="*/ 1860 h 2295"/>
                  <a:gd name="T78" fmla="*/ 1507 w 1827"/>
                  <a:gd name="T79" fmla="*/ 2073 h 2295"/>
                  <a:gd name="T80" fmla="*/ 1268 w 1827"/>
                  <a:gd name="T81" fmla="*/ 2222 h 2295"/>
                  <a:gd name="T82" fmla="*/ 989 w 1827"/>
                  <a:gd name="T83" fmla="*/ 2292 h 2295"/>
                  <a:gd name="T84" fmla="*/ 694 w 1827"/>
                  <a:gd name="T85" fmla="*/ 2268 h 2295"/>
                  <a:gd name="T86" fmla="*/ 433 w 1827"/>
                  <a:gd name="T87" fmla="*/ 2157 h 2295"/>
                  <a:gd name="T88" fmla="*/ 220 w 1827"/>
                  <a:gd name="T89" fmla="*/ 1974 h 2295"/>
                  <a:gd name="T90" fmla="*/ 71 w 1827"/>
                  <a:gd name="T91" fmla="*/ 1734 h 2295"/>
                  <a:gd name="T92" fmla="*/ 3 w 1827"/>
                  <a:gd name="T93" fmla="*/ 1453 h 2295"/>
                  <a:gd name="T94" fmla="*/ 26 w 1827"/>
                  <a:gd name="T95" fmla="*/ 1158 h 2295"/>
                  <a:gd name="T96" fmla="*/ 136 w 1827"/>
                  <a:gd name="T97" fmla="*/ 896 h 2295"/>
                  <a:gd name="T98" fmla="*/ 317 w 1827"/>
                  <a:gd name="T99" fmla="*/ 683 h 2295"/>
                  <a:gd name="T100" fmla="*/ 553 w 1827"/>
                  <a:gd name="T101" fmla="*/ 534 h 2295"/>
                  <a:gd name="T102" fmla="*/ 831 w 1827"/>
                  <a:gd name="T103" fmla="*/ 463 h 2295"/>
                  <a:gd name="T104" fmla="*/ 857 w 1827"/>
                  <a:gd name="T105" fmla="*/ 204 h 2295"/>
                  <a:gd name="T106" fmla="*/ 960 w 1827"/>
                  <a:gd name="T107" fmla="*/ 70 h 2295"/>
                  <a:gd name="T108" fmla="*/ 1118 w 1827"/>
                  <a:gd name="T109" fmla="*/ 3 h 2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27" h="2295">
                    <a:moveTo>
                      <a:pt x="831" y="630"/>
                    </a:moveTo>
                    <a:lnTo>
                      <a:pt x="766" y="640"/>
                    </a:lnTo>
                    <a:lnTo>
                      <a:pt x="703" y="655"/>
                    </a:lnTo>
                    <a:lnTo>
                      <a:pt x="642" y="676"/>
                    </a:lnTo>
                    <a:lnTo>
                      <a:pt x="583" y="702"/>
                    </a:lnTo>
                    <a:lnTo>
                      <a:pt x="528" y="733"/>
                    </a:lnTo>
                    <a:lnTo>
                      <a:pt x="475" y="768"/>
                    </a:lnTo>
                    <a:lnTo>
                      <a:pt x="425" y="807"/>
                    </a:lnTo>
                    <a:lnTo>
                      <a:pt x="379" y="851"/>
                    </a:lnTo>
                    <a:lnTo>
                      <a:pt x="337" y="897"/>
                    </a:lnTo>
                    <a:lnTo>
                      <a:pt x="298" y="948"/>
                    </a:lnTo>
                    <a:lnTo>
                      <a:pt x="264" y="1002"/>
                    </a:lnTo>
                    <a:lnTo>
                      <a:pt x="235" y="1058"/>
                    </a:lnTo>
                    <a:lnTo>
                      <a:pt x="211" y="1118"/>
                    </a:lnTo>
                    <a:lnTo>
                      <a:pt x="190" y="1180"/>
                    </a:lnTo>
                    <a:lnTo>
                      <a:pt x="176" y="1244"/>
                    </a:lnTo>
                    <a:lnTo>
                      <a:pt x="167" y="1310"/>
                    </a:lnTo>
                    <a:lnTo>
                      <a:pt x="164" y="1377"/>
                    </a:lnTo>
                    <a:lnTo>
                      <a:pt x="167" y="1446"/>
                    </a:lnTo>
                    <a:lnTo>
                      <a:pt x="176" y="1513"/>
                    </a:lnTo>
                    <a:lnTo>
                      <a:pt x="191" y="1576"/>
                    </a:lnTo>
                    <a:lnTo>
                      <a:pt x="212" y="1639"/>
                    </a:lnTo>
                    <a:lnTo>
                      <a:pt x="237" y="1699"/>
                    </a:lnTo>
                    <a:lnTo>
                      <a:pt x="267" y="1757"/>
                    </a:lnTo>
                    <a:lnTo>
                      <a:pt x="301" y="1811"/>
                    </a:lnTo>
                    <a:lnTo>
                      <a:pt x="341" y="1861"/>
                    </a:lnTo>
                    <a:lnTo>
                      <a:pt x="384" y="1909"/>
                    </a:lnTo>
                    <a:lnTo>
                      <a:pt x="431" y="1953"/>
                    </a:lnTo>
                    <a:lnTo>
                      <a:pt x="482" y="1992"/>
                    </a:lnTo>
                    <a:lnTo>
                      <a:pt x="536" y="2027"/>
                    </a:lnTo>
                    <a:lnTo>
                      <a:pt x="593" y="2057"/>
                    </a:lnTo>
                    <a:lnTo>
                      <a:pt x="653" y="2082"/>
                    </a:lnTo>
                    <a:lnTo>
                      <a:pt x="714" y="2103"/>
                    </a:lnTo>
                    <a:lnTo>
                      <a:pt x="779" y="2118"/>
                    </a:lnTo>
                    <a:lnTo>
                      <a:pt x="845" y="2127"/>
                    </a:lnTo>
                    <a:lnTo>
                      <a:pt x="913" y="2130"/>
                    </a:lnTo>
                    <a:lnTo>
                      <a:pt x="982" y="2127"/>
                    </a:lnTo>
                    <a:lnTo>
                      <a:pt x="1048" y="2118"/>
                    </a:lnTo>
                    <a:lnTo>
                      <a:pt x="1112" y="2103"/>
                    </a:lnTo>
                    <a:lnTo>
                      <a:pt x="1174" y="2082"/>
                    </a:lnTo>
                    <a:lnTo>
                      <a:pt x="1234" y="2057"/>
                    </a:lnTo>
                    <a:lnTo>
                      <a:pt x="1291" y="2027"/>
                    </a:lnTo>
                    <a:lnTo>
                      <a:pt x="1345" y="1992"/>
                    </a:lnTo>
                    <a:lnTo>
                      <a:pt x="1395" y="1953"/>
                    </a:lnTo>
                    <a:lnTo>
                      <a:pt x="1443" y="1909"/>
                    </a:lnTo>
                    <a:lnTo>
                      <a:pt x="1486" y="1861"/>
                    </a:lnTo>
                    <a:lnTo>
                      <a:pt x="1525" y="1811"/>
                    </a:lnTo>
                    <a:lnTo>
                      <a:pt x="1560" y="1757"/>
                    </a:lnTo>
                    <a:lnTo>
                      <a:pt x="1590" y="1699"/>
                    </a:lnTo>
                    <a:lnTo>
                      <a:pt x="1615" y="1639"/>
                    </a:lnTo>
                    <a:lnTo>
                      <a:pt x="1635" y="1576"/>
                    </a:lnTo>
                    <a:lnTo>
                      <a:pt x="1651" y="1513"/>
                    </a:lnTo>
                    <a:lnTo>
                      <a:pt x="1660" y="1446"/>
                    </a:lnTo>
                    <a:lnTo>
                      <a:pt x="1663" y="1377"/>
                    </a:lnTo>
                    <a:lnTo>
                      <a:pt x="1660" y="1310"/>
                    </a:lnTo>
                    <a:lnTo>
                      <a:pt x="1651" y="1244"/>
                    </a:lnTo>
                    <a:lnTo>
                      <a:pt x="1636" y="1180"/>
                    </a:lnTo>
                    <a:lnTo>
                      <a:pt x="1616" y="1118"/>
                    </a:lnTo>
                    <a:lnTo>
                      <a:pt x="1592" y="1058"/>
                    </a:lnTo>
                    <a:lnTo>
                      <a:pt x="1563" y="1002"/>
                    </a:lnTo>
                    <a:lnTo>
                      <a:pt x="1529" y="948"/>
                    </a:lnTo>
                    <a:lnTo>
                      <a:pt x="1490" y="897"/>
                    </a:lnTo>
                    <a:lnTo>
                      <a:pt x="1448" y="851"/>
                    </a:lnTo>
                    <a:lnTo>
                      <a:pt x="1401" y="807"/>
                    </a:lnTo>
                    <a:lnTo>
                      <a:pt x="1352" y="768"/>
                    </a:lnTo>
                    <a:lnTo>
                      <a:pt x="1299" y="733"/>
                    </a:lnTo>
                    <a:lnTo>
                      <a:pt x="1244" y="702"/>
                    </a:lnTo>
                    <a:lnTo>
                      <a:pt x="1185" y="676"/>
                    </a:lnTo>
                    <a:lnTo>
                      <a:pt x="1124" y="655"/>
                    </a:lnTo>
                    <a:lnTo>
                      <a:pt x="1060" y="640"/>
                    </a:lnTo>
                    <a:lnTo>
                      <a:pt x="996" y="630"/>
                    </a:lnTo>
                    <a:lnTo>
                      <a:pt x="996" y="951"/>
                    </a:lnTo>
                    <a:lnTo>
                      <a:pt x="1030" y="941"/>
                    </a:lnTo>
                    <a:lnTo>
                      <a:pt x="1062" y="928"/>
                    </a:lnTo>
                    <a:lnTo>
                      <a:pt x="1093" y="911"/>
                    </a:lnTo>
                    <a:lnTo>
                      <a:pt x="1121" y="891"/>
                    </a:lnTo>
                    <a:lnTo>
                      <a:pt x="1146" y="869"/>
                    </a:lnTo>
                    <a:lnTo>
                      <a:pt x="1262" y="986"/>
                    </a:lnTo>
                    <a:lnTo>
                      <a:pt x="1227" y="1017"/>
                    </a:lnTo>
                    <a:lnTo>
                      <a:pt x="1188" y="1045"/>
                    </a:lnTo>
                    <a:lnTo>
                      <a:pt x="1148" y="1069"/>
                    </a:lnTo>
                    <a:lnTo>
                      <a:pt x="1104" y="1089"/>
                    </a:lnTo>
                    <a:lnTo>
                      <a:pt x="1058" y="1105"/>
                    </a:lnTo>
                    <a:lnTo>
                      <a:pt x="1011" y="1116"/>
                    </a:lnTo>
                    <a:lnTo>
                      <a:pt x="962" y="1123"/>
                    </a:lnTo>
                    <a:lnTo>
                      <a:pt x="913" y="1125"/>
                    </a:lnTo>
                    <a:lnTo>
                      <a:pt x="913" y="1125"/>
                    </a:lnTo>
                    <a:lnTo>
                      <a:pt x="864" y="1123"/>
                    </a:lnTo>
                    <a:lnTo>
                      <a:pt x="815" y="1116"/>
                    </a:lnTo>
                    <a:lnTo>
                      <a:pt x="768" y="1105"/>
                    </a:lnTo>
                    <a:lnTo>
                      <a:pt x="722" y="1089"/>
                    </a:lnTo>
                    <a:lnTo>
                      <a:pt x="679" y="1069"/>
                    </a:lnTo>
                    <a:lnTo>
                      <a:pt x="637" y="1045"/>
                    </a:lnTo>
                    <a:lnTo>
                      <a:pt x="599" y="1017"/>
                    </a:lnTo>
                    <a:lnTo>
                      <a:pt x="564" y="986"/>
                    </a:lnTo>
                    <a:lnTo>
                      <a:pt x="680" y="869"/>
                    </a:lnTo>
                    <a:lnTo>
                      <a:pt x="706" y="891"/>
                    </a:lnTo>
                    <a:lnTo>
                      <a:pt x="734" y="912"/>
                    </a:lnTo>
                    <a:lnTo>
                      <a:pt x="765" y="928"/>
                    </a:lnTo>
                    <a:lnTo>
                      <a:pt x="797" y="941"/>
                    </a:lnTo>
                    <a:lnTo>
                      <a:pt x="831" y="951"/>
                    </a:lnTo>
                    <a:lnTo>
                      <a:pt x="831" y="630"/>
                    </a:lnTo>
                    <a:close/>
                    <a:moveTo>
                      <a:pt x="1163" y="165"/>
                    </a:moveTo>
                    <a:lnTo>
                      <a:pt x="1133" y="169"/>
                    </a:lnTo>
                    <a:lnTo>
                      <a:pt x="1105" y="176"/>
                    </a:lnTo>
                    <a:lnTo>
                      <a:pt x="1078" y="189"/>
                    </a:lnTo>
                    <a:lnTo>
                      <a:pt x="1055" y="205"/>
                    </a:lnTo>
                    <a:lnTo>
                      <a:pt x="1035" y="225"/>
                    </a:lnTo>
                    <a:lnTo>
                      <a:pt x="1019" y="249"/>
                    </a:lnTo>
                    <a:lnTo>
                      <a:pt x="1006" y="275"/>
                    </a:lnTo>
                    <a:lnTo>
                      <a:pt x="999" y="303"/>
                    </a:lnTo>
                    <a:lnTo>
                      <a:pt x="996" y="334"/>
                    </a:lnTo>
                    <a:lnTo>
                      <a:pt x="996" y="459"/>
                    </a:lnTo>
                    <a:lnTo>
                      <a:pt x="1121" y="459"/>
                    </a:lnTo>
                    <a:lnTo>
                      <a:pt x="1151" y="457"/>
                    </a:lnTo>
                    <a:lnTo>
                      <a:pt x="1179" y="449"/>
                    </a:lnTo>
                    <a:lnTo>
                      <a:pt x="1206" y="437"/>
                    </a:lnTo>
                    <a:lnTo>
                      <a:pt x="1229" y="420"/>
                    </a:lnTo>
                    <a:lnTo>
                      <a:pt x="1249" y="400"/>
                    </a:lnTo>
                    <a:lnTo>
                      <a:pt x="1265" y="376"/>
                    </a:lnTo>
                    <a:lnTo>
                      <a:pt x="1278" y="350"/>
                    </a:lnTo>
                    <a:lnTo>
                      <a:pt x="1285" y="322"/>
                    </a:lnTo>
                    <a:lnTo>
                      <a:pt x="1288" y="292"/>
                    </a:lnTo>
                    <a:lnTo>
                      <a:pt x="1288" y="165"/>
                    </a:lnTo>
                    <a:lnTo>
                      <a:pt x="1163" y="165"/>
                    </a:lnTo>
                    <a:close/>
                    <a:moveTo>
                      <a:pt x="1163" y="0"/>
                    </a:moveTo>
                    <a:lnTo>
                      <a:pt x="1453" y="0"/>
                    </a:lnTo>
                    <a:lnTo>
                      <a:pt x="1453" y="292"/>
                    </a:lnTo>
                    <a:lnTo>
                      <a:pt x="1450" y="337"/>
                    </a:lnTo>
                    <a:lnTo>
                      <a:pt x="1441" y="380"/>
                    </a:lnTo>
                    <a:lnTo>
                      <a:pt x="1427" y="422"/>
                    </a:lnTo>
                    <a:lnTo>
                      <a:pt x="1406" y="460"/>
                    </a:lnTo>
                    <a:lnTo>
                      <a:pt x="1382" y="497"/>
                    </a:lnTo>
                    <a:lnTo>
                      <a:pt x="1354" y="528"/>
                    </a:lnTo>
                    <a:lnTo>
                      <a:pt x="1322" y="557"/>
                    </a:lnTo>
                    <a:lnTo>
                      <a:pt x="1384" y="591"/>
                    </a:lnTo>
                    <a:lnTo>
                      <a:pt x="1444" y="631"/>
                    </a:lnTo>
                    <a:lnTo>
                      <a:pt x="1500" y="674"/>
                    </a:lnTo>
                    <a:lnTo>
                      <a:pt x="1553" y="723"/>
                    </a:lnTo>
                    <a:lnTo>
                      <a:pt x="1601" y="775"/>
                    </a:lnTo>
                    <a:lnTo>
                      <a:pt x="1647" y="830"/>
                    </a:lnTo>
                    <a:lnTo>
                      <a:pt x="1687" y="889"/>
                    </a:lnTo>
                    <a:lnTo>
                      <a:pt x="1722" y="951"/>
                    </a:lnTo>
                    <a:lnTo>
                      <a:pt x="1754" y="1016"/>
                    </a:lnTo>
                    <a:lnTo>
                      <a:pt x="1779" y="1084"/>
                    </a:lnTo>
                    <a:lnTo>
                      <a:pt x="1800" y="1155"/>
                    </a:lnTo>
                    <a:lnTo>
                      <a:pt x="1814" y="1227"/>
                    </a:lnTo>
                    <a:lnTo>
                      <a:pt x="1824" y="1301"/>
                    </a:lnTo>
                    <a:lnTo>
                      <a:pt x="1827" y="1377"/>
                    </a:lnTo>
                    <a:lnTo>
                      <a:pt x="1824" y="1453"/>
                    </a:lnTo>
                    <a:lnTo>
                      <a:pt x="1815" y="1526"/>
                    </a:lnTo>
                    <a:lnTo>
                      <a:pt x="1800" y="1598"/>
                    </a:lnTo>
                    <a:lnTo>
                      <a:pt x="1780" y="1667"/>
                    </a:lnTo>
                    <a:lnTo>
                      <a:pt x="1755" y="1734"/>
                    </a:lnTo>
                    <a:lnTo>
                      <a:pt x="1724" y="1798"/>
                    </a:lnTo>
                    <a:lnTo>
                      <a:pt x="1690" y="1860"/>
                    </a:lnTo>
                    <a:lnTo>
                      <a:pt x="1651" y="1919"/>
                    </a:lnTo>
                    <a:lnTo>
                      <a:pt x="1606" y="1974"/>
                    </a:lnTo>
                    <a:lnTo>
                      <a:pt x="1559" y="2026"/>
                    </a:lnTo>
                    <a:lnTo>
                      <a:pt x="1507" y="2073"/>
                    </a:lnTo>
                    <a:lnTo>
                      <a:pt x="1453" y="2118"/>
                    </a:lnTo>
                    <a:lnTo>
                      <a:pt x="1394" y="2157"/>
                    </a:lnTo>
                    <a:lnTo>
                      <a:pt x="1333" y="2192"/>
                    </a:lnTo>
                    <a:lnTo>
                      <a:pt x="1268" y="2222"/>
                    </a:lnTo>
                    <a:lnTo>
                      <a:pt x="1202" y="2247"/>
                    </a:lnTo>
                    <a:lnTo>
                      <a:pt x="1133" y="2268"/>
                    </a:lnTo>
                    <a:lnTo>
                      <a:pt x="1061" y="2283"/>
                    </a:lnTo>
                    <a:lnTo>
                      <a:pt x="989" y="2292"/>
                    </a:lnTo>
                    <a:lnTo>
                      <a:pt x="913" y="2295"/>
                    </a:lnTo>
                    <a:lnTo>
                      <a:pt x="838" y="2292"/>
                    </a:lnTo>
                    <a:lnTo>
                      <a:pt x="766" y="2283"/>
                    </a:lnTo>
                    <a:lnTo>
                      <a:pt x="694" y="2268"/>
                    </a:lnTo>
                    <a:lnTo>
                      <a:pt x="625" y="2247"/>
                    </a:lnTo>
                    <a:lnTo>
                      <a:pt x="558" y="2222"/>
                    </a:lnTo>
                    <a:lnTo>
                      <a:pt x="494" y="2192"/>
                    </a:lnTo>
                    <a:lnTo>
                      <a:pt x="433" y="2157"/>
                    </a:lnTo>
                    <a:lnTo>
                      <a:pt x="374" y="2118"/>
                    </a:lnTo>
                    <a:lnTo>
                      <a:pt x="320" y="2073"/>
                    </a:lnTo>
                    <a:lnTo>
                      <a:pt x="268" y="2026"/>
                    </a:lnTo>
                    <a:lnTo>
                      <a:pt x="220" y="1974"/>
                    </a:lnTo>
                    <a:lnTo>
                      <a:pt x="176" y="1919"/>
                    </a:lnTo>
                    <a:lnTo>
                      <a:pt x="137" y="1860"/>
                    </a:lnTo>
                    <a:lnTo>
                      <a:pt x="102" y="1798"/>
                    </a:lnTo>
                    <a:lnTo>
                      <a:pt x="71" y="1734"/>
                    </a:lnTo>
                    <a:lnTo>
                      <a:pt x="46" y="1667"/>
                    </a:lnTo>
                    <a:lnTo>
                      <a:pt x="27" y="1598"/>
                    </a:lnTo>
                    <a:lnTo>
                      <a:pt x="12" y="1526"/>
                    </a:lnTo>
                    <a:lnTo>
                      <a:pt x="3" y="1453"/>
                    </a:lnTo>
                    <a:lnTo>
                      <a:pt x="0" y="1377"/>
                    </a:lnTo>
                    <a:lnTo>
                      <a:pt x="3" y="1303"/>
                    </a:lnTo>
                    <a:lnTo>
                      <a:pt x="12" y="1230"/>
                    </a:lnTo>
                    <a:lnTo>
                      <a:pt x="26" y="1158"/>
                    </a:lnTo>
                    <a:lnTo>
                      <a:pt x="46" y="1089"/>
                    </a:lnTo>
                    <a:lnTo>
                      <a:pt x="71" y="1022"/>
                    </a:lnTo>
                    <a:lnTo>
                      <a:pt x="101" y="958"/>
                    </a:lnTo>
                    <a:lnTo>
                      <a:pt x="136" y="896"/>
                    </a:lnTo>
                    <a:lnTo>
                      <a:pt x="174" y="839"/>
                    </a:lnTo>
                    <a:lnTo>
                      <a:pt x="218" y="783"/>
                    </a:lnTo>
                    <a:lnTo>
                      <a:pt x="265" y="731"/>
                    </a:lnTo>
                    <a:lnTo>
                      <a:pt x="317" y="683"/>
                    </a:lnTo>
                    <a:lnTo>
                      <a:pt x="371" y="640"/>
                    </a:lnTo>
                    <a:lnTo>
                      <a:pt x="429" y="600"/>
                    </a:lnTo>
                    <a:lnTo>
                      <a:pt x="489" y="565"/>
                    </a:lnTo>
                    <a:lnTo>
                      <a:pt x="553" y="534"/>
                    </a:lnTo>
                    <a:lnTo>
                      <a:pt x="619" y="509"/>
                    </a:lnTo>
                    <a:lnTo>
                      <a:pt x="688" y="488"/>
                    </a:lnTo>
                    <a:lnTo>
                      <a:pt x="759" y="473"/>
                    </a:lnTo>
                    <a:lnTo>
                      <a:pt x="831" y="463"/>
                    </a:lnTo>
                    <a:lnTo>
                      <a:pt x="831" y="334"/>
                    </a:lnTo>
                    <a:lnTo>
                      <a:pt x="834" y="288"/>
                    </a:lnTo>
                    <a:lnTo>
                      <a:pt x="843" y="245"/>
                    </a:lnTo>
                    <a:lnTo>
                      <a:pt x="857" y="204"/>
                    </a:lnTo>
                    <a:lnTo>
                      <a:pt x="877" y="165"/>
                    </a:lnTo>
                    <a:lnTo>
                      <a:pt x="900" y="130"/>
                    </a:lnTo>
                    <a:lnTo>
                      <a:pt x="928" y="98"/>
                    </a:lnTo>
                    <a:lnTo>
                      <a:pt x="960" y="70"/>
                    </a:lnTo>
                    <a:lnTo>
                      <a:pt x="996" y="46"/>
                    </a:lnTo>
                    <a:lnTo>
                      <a:pt x="1034" y="27"/>
                    </a:lnTo>
                    <a:lnTo>
                      <a:pt x="1074" y="12"/>
                    </a:lnTo>
                    <a:lnTo>
                      <a:pt x="1118" y="3"/>
                    </a:lnTo>
                    <a:lnTo>
                      <a:pt x="116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125" name="Group 298"/>
            <p:cNvGrpSpPr>
              <a:grpSpLocks noChangeAspect="1"/>
            </p:cNvGrpSpPr>
            <p:nvPr/>
          </p:nvGrpSpPr>
          <p:grpSpPr bwMode="auto">
            <a:xfrm>
              <a:off x="8721616" y="3432257"/>
              <a:ext cx="453648" cy="453648"/>
              <a:chOff x="4936" y="3933"/>
              <a:chExt cx="223" cy="223"/>
            </a:xfrm>
          </p:grpSpPr>
          <p:sp>
            <p:nvSpPr>
              <p:cNvPr id="126" name="Rectangle 299"/>
              <p:cNvSpPr>
                <a:spLocks noChangeArrowheads="1"/>
              </p:cNvSpPr>
              <p:nvPr/>
            </p:nvSpPr>
            <p:spPr bwMode="auto">
              <a:xfrm>
                <a:off x="4936" y="3933"/>
                <a:ext cx="223" cy="223"/>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27" name="Rectangle 300"/>
              <p:cNvSpPr>
                <a:spLocks noChangeArrowheads="1"/>
              </p:cNvSpPr>
              <p:nvPr/>
            </p:nvSpPr>
            <p:spPr bwMode="auto">
              <a:xfrm>
                <a:off x="4936" y="3933"/>
                <a:ext cx="223" cy="223"/>
              </a:xfrm>
              <a:prstGeom prst="rect">
                <a:avLst/>
              </a:prstGeom>
              <a:solidFill>
                <a:srgbClr val="95C1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28" name="Freeform 301"/>
              <p:cNvSpPr>
                <a:spLocks noEditPoints="1"/>
              </p:cNvSpPr>
              <p:nvPr/>
            </p:nvSpPr>
            <p:spPr bwMode="auto">
              <a:xfrm>
                <a:off x="5003" y="3965"/>
                <a:ext cx="89" cy="163"/>
              </a:xfrm>
              <a:custGeom>
                <a:avLst/>
                <a:gdLst>
                  <a:gd name="T0" fmla="*/ 249 w 1335"/>
                  <a:gd name="T1" fmla="*/ 1868 h 2453"/>
                  <a:gd name="T2" fmla="*/ 272 w 1335"/>
                  <a:gd name="T3" fmla="*/ 1973 h 2453"/>
                  <a:gd name="T4" fmla="*/ 335 w 1335"/>
                  <a:gd name="T5" fmla="*/ 2057 h 2453"/>
                  <a:gd name="T6" fmla="*/ 427 w 1335"/>
                  <a:gd name="T7" fmla="*/ 2108 h 2453"/>
                  <a:gd name="T8" fmla="*/ 580 w 1335"/>
                  <a:gd name="T9" fmla="*/ 2119 h 2453"/>
                  <a:gd name="T10" fmla="*/ 559 w 1335"/>
                  <a:gd name="T11" fmla="*/ 1924 h 2453"/>
                  <a:gd name="T12" fmla="*/ 496 w 1335"/>
                  <a:gd name="T13" fmla="*/ 1843 h 2453"/>
                  <a:gd name="T14" fmla="*/ 405 w 1335"/>
                  <a:gd name="T15" fmla="*/ 1794 h 2453"/>
                  <a:gd name="T16" fmla="*/ 997 w 1335"/>
                  <a:gd name="T17" fmla="*/ 1662 h 2453"/>
                  <a:gd name="T18" fmla="*/ 883 w 1335"/>
                  <a:gd name="T19" fmla="*/ 1689 h 2453"/>
                  <a:gd name="T20" fmla="*/ 797 w 1335"/>
                  <a:gd name="T21" fmla="*/ 1761 h 2453"/>
                  <a:gd name="T22" fmla="*/ 751 w 1335"/>
                  <a:gd name="T23" fmla="*/ 1865 h 2453"/>
                  <a:gd name="T24" fmla="*/ 867 w 1335"/>
                  <a:gd name="T25" fmla="*/ 1995 h 2453"/>
                  <a:gd name="T26" fmla="*/ 967 w 1335"/>
                  <a:gd name="T27" fmla="*/ 1957 h 2453"/>
                  <a:gd name="T28" fmla="*/ 1041 w 1335"/>
                  <a:gd name="T29" fmla="*/ 1883 h 2453"/>
                  <a:gd name="T30" fmla="*/ 1079 w 1335"/>
                  <a:gd name="T31" fmla="*/ 1783 h 2453"/>
                  <a:gd name="T32" fmla="*/ 997 w 1335"/>
                  <a:gd name="T33" fmla="*/ 1662 h 2453"/>
                  <a:gd name="T34" fmla="*/ 419 w 1335"/>
                  <a:gd name="T35" fmla="*/ 1136 h 2453"/>
                  <a:gd name="T36" fmla="*/ 562 w 1335"/>
                  <a:gd name="T37" fmla="*/ 1190 h 2453"/>
                  <a:gd name="T38" fmla="*/ 722 w 1335"/>
                  <a:gd name="T39" fmla="*/ 1200 h 2453"/>
                  <a:gd name="T40" fmla="*/ 875 w 1335"/>
                  <a:gd name="T41" fmla="*/ 1157 h 2453"/>
                  <a:gd name="T42" fmla="*/ 1004 w 1335"/>
                  <a:gd name="T43" fmla="*/ 1073 h 2453"/>
                  <a:gd name="T44" fmla="*/ 1101 w 1335"/>
                  <a:gd name="T45" fmla="*/ 953 h 2453"/>
                  <a:gd name="T46" fmla="*/ 1158 w 1335"/>
                  <a:gd name="T47" fmla="*/ 807 h 2453"/>
                  <a:gd name="T48" fmla="*/ 1169 w 1335"/>
                  <a:gd name="T49" fmla="*/ 316 h 2453"/>
                  <a:gd name="T50" fmla="*/ 169 w 1335"/>
                  <a:gd name="T51" fmla="*/ 754 h 2453"/>
                  <a:gd name="T52" fmla="*/ 209 w 1335"/>
                  <a:gd name="T53" fmla="*/ 904 h 2453"/>
                  <a:gd name="T54" fmla="*/ 551 w 1335"/>
                  <a:gd name="T55" fmla="*/ 700 h 2453"/>
                  <a:gd name="T56" fmla="*/ 491 w 1335"/>
                  <a:gd name="T57" fmla="*/ 407 h 2453"/>
                  <a:gd name="T58" fmla="*/ 668 w 1335"/>
                  <a:gd name="T59" fmla="*/ 231 h 2453"/>
                  <a:gd name="T60" fmla="*/ 1194 w 1335"/>
                  <a:gd name="T61" fmla="*/ 57 h 2453"/>
                  <a:gd name="T62" fmla="*/ 1332 w 1335"/>
                  <a:gd name="T63" fmla="*/ 764 h 2453"/>
                  <a:gd name="T64" fmla="*/ 1290 w 1335"/>
                  <a:gd name="T65" fmla="*/ 941 h 2453"/>
                  <a:gd name="T66" fmla="*/ 1204 w 1335"/>
                  <a:gd name="T67" fmla="*/ 1097 h 2453"/>
                  <a:gd name="T68" fmla="*/ 1080 w 1335"/>
                  <a:gd name="T69" fmla="*/ 1224 h 2453"/>
                  <a:gd name="T70" fmla="*/ 927 w 1335"/>
                  <a:gd name="T71" fmla="*/ 1315 h 2453"/>
                  <a:gd name="T72" fmla="*/ 751 w 1335"/>
                  <a:gd name="T73" fmla="*/ 1362 h 2453"/>
                  <a:gd name="T74" fmla="*/ 825 w 1335"/>
                  <a:gd name="T75" fmla="*/ 1534 h 2453"/>
                  <a:gd name="T76" fmla="*/ 951 w 1335"/>
                  <a:gd name="T77" fmla="*/ 1500 h 2453"/>
                  <a:gd name="T78" fmla="*/ 1247 w 1335"/>
                  <a:gd name="T79" fmla="*/ 1746 h 2453"/>
                  <a:gd name="T80" fmla="*/ 1223 w 1335"/>
                  <a:gd name="T81" fmla="*/ 1887 h 2453"/>
                  <a:gd name="T82" fmla="*/ 1155 w 1335"/>
                  <a:gd name="T83" fmla="*/ 2006 h 2453"/>
                  <a:gd name="T84" fmla="*/ 1054 w 1335"/>
                  <a:gd name="T85" fmla="*/ 2098 h 2453"/>
                  <a:gd name="T86" fmla="*/ 926 w 1335"/>
                  <a:gd name="T87" fmla="*/ 2152 h 2453"/>
                  <a:gd name="T88" fmla="*/ 751 w 1335"/>
                  <a:gd name="T89" fmla="*/ 2162 h 2453"/>
                  <a:gd name="T90" fmla="*/ 585 w 1335"/>
                  <a:gd name="T91" fmla="*/ 2284 h 2453"/>
                  <a:gd name="T92" fmla="*/ 405 w 1335"/>
                  <a:gd name="T93" fmla="*/ 2273 h 2453"/>
                  <a:gd name="T94" fmla="*/ 277 w 1335"/>
                  <a:gd name="T95" fmla="*/ 2219 h 2453"/>
                  <a:gd name="T96" fmla="*/ 175 w 1335"/>
                  <a:gd name="T97" fmla="*/ 2128 h 2453"/>
                  <a:gd name="T98" fmla="*/ 108 w 1335"/>
                  <a:gd name="T99" fmla="*/ 2007 h 2453"/>
                  <a:gd name="T100" fmla="*/ 84 w 1335"/>
                  <a:gd name="T101" fmla="*/ 1868 h 2453"/>
                  <a:gd name="T102" fmla="*/ 380 w 1335"/>
                  <a:gd name="T103" fmla="*/ 1620 h 2453"/>
                  <a:gd name="T104" fmla="*/ 510 w 1335"/>
                  <a:gd name="T105" fmla="*/ 1657 h 2453"/>
                  <a:gd name="T106" fmla="*/ 585 w 1335"/>
                  <a:gd name="T107" fmla="*/ 1362 h 2453"/>
                  <a:gd name="T108" fmla="*/ 409 w 1335"/>
                  <a:gd name="T109" fmla="*/ 1315 h 2453"/>
                  <a:gd name="T110" fmla="*/ 256 w 1335"/>
                  <a:gd name="T111" fmla="*/ 1224 h 2453"/>
                  <a:gd name="T112" fmla="*/ 132 w 1335"/>
                  <a:gd name="T113" fmla="*/ 1097 h 2453"/>
                  <a:gd name="T114" fmla="*/ 46 w 1335"/>
                  <a:gd name="T115" fmla="*/ 941 h 2453"/>
                  <a:gd name="T116" fmla="*/ 4 w 1335"/>
                  <a:gd name="T117" fmla="*/ 764 h 2453"/>
                  <a:gd name="T118" fmla="*/ 142 w 1335"/>
                  <a:gd name="T119" fmla="*/ 57 h 2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35" h="2453">
                    <a:moveTo>
                      <a:pt x="333" y="1783"/>
                    </a:moveTo>
                    <a:lnTo>
                      <a:pt x="249" y="1783"/>
                    </a:lnTo>
                    <a:lnTo>
                      <a:pt x="249" y="1868"/>
                    </a:lnTo>
                    <a:lnTo>
                      <a:pt x="252" y="1904"/>
                    </a:lnTo>
                    <a:lnTo>
                      <a:pt x="259" y="1939"/>
                    </a:lnTo>
                    <a:lnTo>
                      <a:pt x="272" y="1973"/>
                    </a:lnTo>
                    <a:lnTo>
                      <a:pt x="289" y="2004"/>
                    </a:lnTo>
                    <a:lnTo>
                      <a:pt x="311" y="2032"/>
                    </a:lnTo>
                    <a:lnTo>
                      <a:pt x="335" y="2057"/>
                    </a:lnTo>
                    <a:lnTo>
                      <a:pt x="363" y="2078"/>
                    </a:lnTo>
                    <a:lnTo>
                      <a:pt x="394" y="2096"/>
                    </a:lnTo>
                    <a:lnTo>
                      <a:pt x="427" y="2108"/>
                    </a:lnTo>
                    <a:lnTo>
                      <a:pt x="463" y="2116"/>
                    </a:lnTo>
                    <a:lnTo>
                      <a:pt x="500" y="2119"/>
                    </a:lnTo>
                    <a:lnTo>
                      <a:pt x="580" y="2119"/>
                    </a:lnTo>
                    <a:lnTo>
                      <a:pt x="580" y="1992"/>
                    </a:lnTo>
                    <a:lnTo>
                      <a:pt x="572" y="1958"/>
                    </a:lnTo>
                    <a:lnTo>
                      <a:pt x="559" y="1924"/>
                    </a:lnTo>
                    <a:lnTo>
                      <a:pt x="542" y="1895"/>
                    </a:lnTo>
                    <a:lnTo>
                      <a:pt x="520" y="1868"/>
                    </a:lnTo>
                    <a:lnTo>
                      <a:pt x="496" y="1843"/>
                    </a:lnTo>
                    <a:lnTo>
                      <a:pt x="468" y="1822"/>
                    </a:lnTo>
                    <a:lnTo>
                      <a:pt x="437" y="1806"/>
                    </a:lnTo>
                    <a:lnTo>
                      <a:pt x="405" y="1794"/>
                    </a:lnTo>
                    <a:lnTo>
                      <a:pt x="369" y="1785"/>
                    </a:lnTo>
                    <a:lnTo>
                      <a:pt x="333" y="1783"/>
                    </a:lnTo>
                    <a:close/>
                    <a:moveTo>
                      <a:pt x="997" y="1662"/>
                    </a:moveTo>
                    <a:lnTo>
                      <a:pt x="957" y="1665"/>
                    </a:lnTo>
                    <a:lnTo>
                      <a:pt x="919" y="1674"/>
                    </a:lnTo>
                    <a:lnTo>
                      <a:pt x="883" y="1689"/>
                    </a:lnTo>
                    <a:lnTo>
                      <a:pt x="851" y="1708"/>
                    </a:lnTo>
                    <a:lnTo>
                      <a:pt x="823" y="1733"/>
                    </a:lnTo>
                    <a:lnTo>
                      <a:pt x="797" y="1761"/>
                    </a:lnTo>
                    <a:lnTo>
                      <a:pt x="777" y="1794"/>
                    </a:lnTo>
                    <a:lnTo>
                      <a:pt x="761" y="1828"/>
                    </a:lnTo>
                    <a:lnTo>
                      <a:pt x="751" y="1865"/>
                    </a:lnTo>
                    <a:lnTo>
                      <a:pt x="751" y="1997"/>
                    </a:lnTo>
                    <a:lnTo>
                      <a:pt x="831" y="1997"/>
                    </a:lnTo>
                    <a:lnTo>
                      <a:pt x="867" y="1995"/>
                    </a:lnTo>
                    <a:lnTo>
                      <a:pt x="903" y="1987"/>
                    </a:lnTo>
                    <a:lnTo>
                      <a:pt x="936" y="1974"/>
                    </a:lnTo>
                    <a:lnTo>
                      <a:pt x="967" y="1957"/>
                    </a:lnTo>
                    <a:lnTo>
                      <a:pt x="995" y="1936"/>
                    </a:lnTo>
                    <a:lnTo>
                      <a:pt x="1020" y="1911"/>
                    </a:lnTo>
                    <a:lnTo>
                      <a:pt x="1041" y="1883"/>
                    </a:lnTo>
                    <a:lnTo>
                      <a:pt x="1059" y="1852"/>
                    </a:lnTo>
                    <a:lnTo>
                      <a:pt x="1071" y="1819"/>
                    </a:lnTo>
                    <a:lnTo>
                      <a:pt x="1079" y="1783"/>
                    </a:lnTo>
                    <a:lnTo>
                      <a:pt x="1082" y="1746"/>
                    </a:lnTo>
                    <a:lnTo>
                      <a:pt x="1082" y="1662"/>
                    </a:lnTo>
                    <a:lnTo>
                      <a:pt x="997" y="1662"/>
                    </a:lnTo>
                    <a:close/>
                    <a:moveTo>
                      <a:pt x="1169" y="316"/>
                    </a:moveTo>
                    <a:lnTo>
                      <a:pt x="377" y="1108"/>
                    </a:lnTo>
                    <a:lnTo>
                      <a:pt x="419" y="1136"/>
                    </a:lnTo>
                    <a:lnTo>
                      <a:pt x="465" y="1159"/>
                    </a:lnTo>
                    <a:lnTo>
                      <a:pt x="512" y="1177"/>
                    </a:lnTo>
                    <a:lnTo>
                      <a:pt x="562" y="1190"/>
                    </a:lnTo>
                    <a:lnTo>
                      <a:pt x="615" y="1200"/>
                    </a:lnTo>
                    <a:lnTo>
                      <a:pt x="667" y="1202"/>
                    </a:lnTo>
                    <a:lnTo>
                      <a:pt x="722" y="1200"/>
                    </a:lnTo>
                    <a:lnTo>
                      <a:pt x="776" y="1190"/>
                    </a:lnTo>
                    <a:lnTo>
                      <a:pt x="827" y="1176"/>
                    </a:lnTo>
                    <a:lnTo>
                      <a:pt x="875" y="1157"/>
                    </a:lnTo>
                    <a:lnTo>
                      <a:pt x="921" y="1134"/>
                    </a:lnTo>
                    <a:lnTo>
                      <a:pt x="964" y="1105"/>
                    </a:lnTo>
                    <a:lnTo>
                      <a:pt x="1004" y="1073"/>
                    </a:lnTo>
                    <a:lnTo>
                      <a:pt x="1040" y="1036"/>
                    </a:lnTo>
                    <a:lnTo>
                      <a:pt x="1073" y="997"/>
                    </a:lnTo>
                    <a:lnTo>
                      <a:pt x="1101" y="953"/>
                    </a:lnTo>
                    <a:lnTo>
                      <a:pt x="1125" y="908"/>
                    </a:lnTo>
                    <a:lnTo>
                      <a:pt x="1144" y="859"/>
                    </a:lnTo>
                    <a:lnTo>
                      <a:pt x="1158" y="807"/>
                    </a:lnTo>
                    <a:lnTo>
                      <a:pt x="1167" y="755"/>
                    </a:lnTo>
                    <a:lnTo>
                      <a:pt x="1169" y="700"/>
                    </a:lnTo>
                    <a:lnTo>
                      <a:pt x="1169" y="316"/>
                    </a:lnTo>
                    <a:close/>
                    <a:moveTo>
                      <a:pt x="166" y="316"/>
                    </a:moveTo>
                    <a:lnTo>
                      <a:pt x="166" y="700"/>
                    </a:lnTo>
                    <a:lnTo>
                      <a:pt x="169" y="754"/>
                    </a:lnTo>
                    <a:lnTo>
                      <a:pt x="177" y="806"/>
                    </a:lnTo>
                    <a:lnTo>
                      <a:pt x="191" y="856"/>
                    </a:lnTo>
                    <a:lnTo>
                      <a:pt x="209" y="904"/>
                    </a:lnTo>
                    <a:lnTo>
                      <a:pt x="233" y="949"/>
                    </a:lnTo>
                    <a:lnTo>
                      <a:pt x="260" y="992"/>
                    </a:lnTo>
                    <a:lnTo>
                      <a:pt x="551" y="700"/>
                    </a:lnTo>
                    <a:lnTo>
                      <a:pt x="166" y="316"/>
                    </a:lnTo>
                    <a:close/>
                    <a:moveTo>
                      <a:pt x="668" y="231"/>
                    </a:moveTo>
                    <a:lnTo>
                      <a:pt x="491" y="407"/>
                    </a:lnTo>
                    <a:lnTo>
                      <a:pt x="667" y="583"/>
                    </a:lnTo>
                    <a:lnTo>
                      <a:pt x="848" y="403"/>
                    </a:lnTo>
                    <a:lnTo>
                      <a:pt x="668" y="231"/>
                    </a:lnTo>
                    <a:close/>
                    <a:moveTo>
                      <a:pt x="666" y="0"/>
                    </a:moveTo>
                    <a:lnTo>
                      <a:pt x="965" y="286"/>
                    </a:lnTo>
                    <a:lnTo>
                      <a:pt x="1194" y="57"/>
                    </a:lnTo>
                    <a:lnTo>
                      <a:pt x="1335" y="116"/>
                    </a:lnTo>
                    <a:lnTo>
                      <a:pt x="1335" y="700"/>
                    </a:lnTo>
                    <a:lnTo>
                      <a:pt x="1332" y="764"/>
                    </a:lnTo>
                    <a:lnTo>
                      <a:pt x="1323" y="824"/>
                    </a:lnTo>
                    <a:lnTo>
                      <a:pt x="1309" y="884"/>
                    </a:lnTo>
                    <a:lnTo>
                      <a:pt x="1290" y="941"/>
                    </a:lnTo>
                    <a:lnTo>
                      <a:pt x="1266" y="996"/>
                    </a:lnTo>
                    <a:lnTo>
                      <a:pt x="1237" y="1048"/>
                    </a:lnTo>
                    <a:lnTo>
                      <a:pt x="1204" y="1097"/>
                    </a:lnTo>
                    <a:lnTo>
                      <a:pt x="1166" y="1143"/>
                    </a:lnTo>
                    <a:lnTo>
                      <a:pt x="1125" y="1185"/>
                    </a:lnTo>
                    <a:lnTo>
                      <a:pt x="1080" y="1224"/>
                    </a:lnTo>
                    <a:lnTo>
                      <a:pt x="1032" y="1258"/>
                    </a:lnTo>
                    <a:lnTo>
                      <a:pt x="981" y="1289"/>
                    </a:lnTo>
                    <a:lnTo>
                      <a:pt x="927" y="1315"/>
                    </a:lnTo>
                    <a:lnTo>
                      <a:pt x="870" y="1335"/>
                    </a:lnTo>
                    <a:lnTo>
                      <a:pt x="811" y="1352"/>
                    </a:lnTo>
                    <a:lnTo>
                      <a:pt x="751" y="1362"/>
                    </a:lnTo>
                    <a:lnTo>
                      <a:pt x="751" y="1578"/>
                    </a:lnTo>
                    <a:lnTo>
                      <a:pt x="786" y="1554"/>
                    </a:lnTo>
                    <a:lnTo>
                      <a:pt x="825" y="1534"/>
                    </a:lnTo>
                    <a:lnTo>
                      <a:pt x="865" y="1518"/>
                    </a:lnTo>
                    <a:lnTo>
                      <a:pt x="908" y="1507"/>
                    </a:lnTo>
                    <a:lnTo>
                      <a:pt x="951" y="1500"/>
                    </a:lnTo>
                    <a:lnTo>
                      <a:pt x="997" y="1497"/>
                    </a:lnTo>
                    <a:lnTo>
                      <a:pt x="1247" y="1497"/>
                    </a:lnTo>
                    <a:lnTo>
                      <a:pt x="1247" y="1746"/>
                    </a:lnTo>
                    <a:lnTo>
                      <a:pt x="1244" y="1795"/>
                    </a:lnTo>
                    <a:lnTo>
                      <a:pt x="1236" y="1842"/>
                    </a:lnTo>
                    <a:lnTo>
                      <a:pt x="1223" y="1887"/>
                    </a:lnTo>
                    <a:lnTo>
                      <a:pt x="1205" y="1929"/>
                    </a:lnTo>
                    <a:lnTo>
                      <a:pt x="1182" y="1970"/>
                    </a:lnTo>
                    <a:lnTo>
                      <a:pt x="1155" y="2006"/>
                    </a:lnTo>
                    <a:lnTo>
                      <a:pt x="1125" y="2041"/>
                    </a:lnTo>
                    <a:lnTo>
                      <a:pt x="1091" y="2071"/>
                    </a:lnTo>
                    <a:lnTo>
                      <a:pt x="1054" y="2098"/>
                    </a:lnTo>
                    <a:lnTo>
                      <a:pt x="1013" y="2121"/>
                    </a:lnTo>
                    <a:lnTo>
                      <a:pt x="971" y="2138"/>
                    </a:lnTo>
                    <a:lnTo>
                      <a:pt x="926" y="2152"/>
                    </a:lnTo>
                    <a:lnTo>
                      <a:pt x="879" y="2160"/>
                    </a:lnTo>
                    <a:lnTo>
                      <a:pt x="831" y="2162"/>
                    </a:lnTo>
                    <a:lnTo>
                      <a:pt x="751" y="2162"/>
                    </a:lnTo>
                    <a:lnTo>
                      <a:pt x="751" y="2453"/>
                    </a:lnTo>
                    <a:lnTo>
                      <a:pt x="585" y="2453"/>
                    </a:lnTo>
                    <a:lnTo>
                      <a:pt x="585" y="2284"/>
                    </a:lnTo>
                    <a:lnTo>
                      <a:pt x="500" y="2284"/>
                    </a:lnTo>
                    <a:lnTo>
                      <a:pt x="452" y="2281"/>
                    </a:lnTo>
                    <a:lnTo>
                      <a:pt x="405" y="2273"/>
                    </a:lnTo>
                    <a:lnTo>
                      <a:pt x="359" y="2260"/>
                    </a:lnTo>
                    <a:lnTo>
                      <a:pt x="317" y="2242"/>
                    </a:lnTo>
                    <a:lnTo>
                      <a:pt x="277" y="2219"/>
                    </a:lnTo>
                    <a:lnTo>
                      <a:pt x="240" y="2192"/>
                    </a:lnTo>
                    <a:lnTo>
                      <a:pt x="205" y="2161"/>
                    </a:lnTo>
                    <a:lnTo>
                      <a:pt x="175" y="2128"/>
                    </a:lnTo>
                    <a:lnTo>
                      <a:pt x="148" y="2091"/>
                    </a:lnTo>
                    <a:lnTo>
                      <a:pt x="126" y="2050"/>
                    </a:lnTo>
                    <a:lnTo>
                      <a:pt x="108" y="2007"/>
                    </a:lnTo>
                    <a:lnTo>
                      <a:pt x="95" y="1963"/>
                    </a:lnTo>
                    <a:lnTo>
                      <a:pt x="87" y="1916"/>
                    </a:lnTo>
                    <a:lnTo>
                      <a:pt x="84" y="1868"/>
                    </a:lnTo>
                    <a:lnTo>
                      <a:pt x="84" y="1618"/>
                    </a:lnTo>
                    <a:lnTo>
                      <a:pt x="333" y="1618"/>
                    </a:lnTo>
                    <a:lnTo>
                      <a:pt x="380" y="1620"/>
                    </a:lnTo>
                    <a:lnTo>
                      <a:pt x="425" y="1628"/>
                    </a:lnTo>
                    <a:lnTo>
                      <a:pt x="469" y="1640"/>
                    </a:lnTo>
                    <a:lnTo>
                      <a:pt x="510" y="1657"/>
                    </a:lnTo>
                    <a:lnTo>
                      <a:pt x="549" y="1678"/>
                    </a:lnTo>
                    <a:lnTo>
                      <a:pt x="585" y="1703"/>
                    </a:lnTo>
                    <a:lnTo>
                      <a:pt x="585" y="1362"/>
                    </a:lnTo>
                    <a:lnTo>
                      <a:pt x="525" y="1352"/>
                    </a:lnTo>
                    <a:lnTo>
                      <a:pt x="466" y="1335"/>
                    </a:lnTo>
                    <a:lnTo>
                      <a:pt x="409" y="1315"/>
                    </a:lnTo>
                    <a:lnTo>
                      <a:pt x="355" y="1289"/>
                    </a:lnTo>
                    <a:lnTo>
                      <a:pt x="304" y="1258"/>
                    </a:lnTo>
                    <a:lnTo>
                      <a:pt x="256" y="1224"/>
                    </a:lnTo>
                    <a:lnTo>
                      <a:pt x="211" y="1185"/>
                    </a:lnTo>
                    <a:lnTo>
                      <a:pt x="170" y="1143"/>
                    </a:lnTo>
                    <a:lnTo>
                      <a:pt x="132" y="1097"/>
                    </a:lnTo>
                    <a:lnTo>
                      <a:pt x="99" y="1048"/>
                    </a:lnTo>
                    <a:lnTo>
                      <a:pt x="70" y="996"/>
                    </a:lnTo>
                    <a:lnTo>
                      <a:pt x="46" y="941"/>
                    </a:lnTo>
                    <a:lnTo>
                      <a:pt x="27" y="884"/>
                    </a:lnTo>
                    <a:lnTo>
                      <a:pt x="13" y="824"/>
                    </a:lnTo>
                    <a:lnTo>
                      <a:pt x="4" y="764"/>
                    </a:lnTo>
                    <a:lnTo>
                      <a:pt x="0" y="700"/>
                    </a:lnTo>
                    <a:lnTo>
                      <a:pt x="0" y="116"/>
                    </a:lnTo>
                    <a:lnTo>
                      <a:pt x="142" y="57"/>
                    </a:lnTo>
                    <a:lnTo>
                      <a:pt x="375" y="290"/>
                    </a:lnTo>
                    <a:lnTo>
                      <a:pt x="66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129" name="Group 113"/>
            <p:cNvGrpSpPr>
              <a:grpSpLocks noChangeAspect="1"/>
            </p:cNvGrpSpPr>
            <p:nvPr/>
          </p:nvGrpSpPr>
          <p:grpSpPr bwMode="auto">
            <a:xfrm>
              <a:off x="9171111" y="4115052"/>
              <a:ext cx="451606" cy="453648"/>
              <a:chOff x="3442" y="3502"/>
              <a:chExt cx="222" cy="223"/>
            </a:xfrm>
          </p:grpSpPr>
          <p:sp>
            <p:nvSpPr>
              <p:cNvPr id="130" name="Rectangle 114"/>
              <p:cNvSpPr>
                <a:spLocks noChangeArrowheads="1"/>
              </p:cNvSpPr>
              <p:nvPr/>
            </p:nvSpPr>
            <p:spPr bwMode="auto">
              <a:xfrm>
                <a:off x="3442" y="3502"/>
                <a:ext cx="222" cy="223"/>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31" name="Rectangle 115"/>
              <p:cNvSpPr>
                <a:spLocks noChangeArrowheads="1"/>
              </p:cNvSpPr>
              <p:nvPr/>
            </p:nvSpPr>
            <p:spPr bwMode="auto">
              <a:xfrm>
                <a:off x="3442" y="3502"/>
                <a:ext cx="222" cy="223"/>
              </a:xfrm>
              <a:prstGeom prst="rect">
                <a:avLst/>
              </a:prstGeom>
              <a:solidFill>
                <a:srgbClr val="FB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32" name="Rectangle 116"/>
              <p:cNvSpPr>
                <a:spLocks noChangeArrowheads="1"/>
              </p:cNvSpPr>
              <p:nvPr/>
            </p:nvSpPr>
            <p:spPr bwMode="auto">
              <a:xfrm>
                <a:off x="3534" y="3612"/>
                <a:ext cx="11" cy="7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133" name="Freeform 117"/>
              <p:cNvSpPr>
                <a:spLocks noEditPoints="1"/>
              </p:cNvSpPr>
              <p:nvPr/>
            </p:nvSpPr>
            <p:spPr bwMode="auto">
              <a:xfrm>
                <a:off x="3515" y="3525"/>
                <a:ext cx="76" cy="178"/>
              </a:xfrm>
              <a:custGeom>
                <a:avLst/>
                <a:gdLst>
                  <a:gd name="T0" fmla="*/ 394 w 1145"/>
                  <a:gd name="T1" fmla="*/ 555 h 2673"/>
                  <a:gd name="T2" fmla="*/ 362 w 1145"/>
                  <a:gd name="T3" fmla="*/ 685 h 2673"/>
                  <a:gd name="T4" fmla="*/ 307 w 1145"/>
                  <a:gd name="T5" fmla="*/ 828 h 2673"/>
                  <a:gd name="T6" fmla="*/ 247 w 1145"/>
                  <a:gd name="T7" fmla="*/ 967 h 2673"/>
                  <a:gd name="T8" fmla="*/ 196 w 1145"/>
                  <a:gd name="T9" fmla="*/ 1103 h 2673"/>
                  <a:gd name="T10" fmla="*/ 166 w 1145"/>
                  <a:gd name="T11" fmla="*/ 1229 h 2673"/>
                  <a:gd name="T12" fmla="*/ 167 w 1145"/>
                  <a:gd name="T13" fmla="*/ 2387 h 2673"/>
                  <a:gd name="T14" fmla="*/ 208 w 1145"/>
                  <a:gd name="T15" fmla="*/ 2464 h 2673"/>
                  <a:gd name="T16" fmla="*/ 284 w 1145"/>
                  <a:gd name="T17" fmla="*/ 2504 h 2673"/>
                  <a:gd name="T18" fmla="*/ 861 w 1145"/>
                  <a:gd name="T19" fmla="*/ 2504 h 2673"/>
                  <a:gd name="T20" fmla="*/ 935 w 1145"/>
                  <a:gd name="T21" fmla="*/ 2465 h 2673"/>
                  <a:gd name="T22" fmla="*/ 977 w 1145"/>
                  <a:gd name="T23" fmla="*/ 2390 h 2673"/>
                  <a:gd name="T24" fmla="*/ 981 w 1145"/>
                  <a:gd name="T25" fmla="*/ 1267 h 2673"/>
                  <a:gd name="T26" fmla="*/ 962 w 1145"/>
                  <a:gd name="T27" fmla="*/ 1147 h 2673"/>
                  <a:gd name="T28" fmla="*/ 916 w 1145"/>
                  <a:gd name="T29" fmla="*/ 1012 h 2673"/>
                  <a:gd name="T30" fmla="*/ 860 w 1145"/>
                  <a:gd name="T31" fmla="*/ 877 h 2673"/>
                  <a:gd name="T32" fmla="*/ 799 w 1145"/>
                  <a:gd name="T33" fmla="*/ 730 h 2673"/>
                  <a:gd name="T34" fmla="*/ 758 w 1145"/>
                  <a:gd name="T35" fmla="*/ 597 h 2673"/>
                  <a:gd name="T36" fmla="*/ 748 w 1145"/>
                  <a:gd name="T37" fmla="*/ 477 h 2673"/>
                  <a:gd name="T38" fmla="*/ 296 w 1145"/>
                  <a:gd name="T39" fmla="*/ 312 h 2673"/>
                  <a:gd name="T40" fmla="*/ 296 w 1145"/>
                  <a:gd name="T41" fmla="*/ 165 h 2673"/>
                  <a:gd name="T42" fmla="*/ 1013 w 1145"/>
                  <a:gd name="T43" fmla="*/ 477 h 2673"/>
                  <a:gd name="T44" fmla="*/ 914 w 1145"/>
                  <a:gd name="T45" fmla="*/ 540 h 2673"/>
                  <a:gd name="T46" fmla="*/ 937 w 1145"/>
                  <a:gd name="T47" fmla="*/ 630 h 2673"/>
                  <a:gd name="T48" fmla="*/ 979 w 1145"/>
                  <a:gd name="T49" fmla="*/ 736 h 2673"/>
                  <a:gd name="T50" fmla="*/ 1035 w 1145"/>
                  <a:gd name="T51" fmla="*/ 869 h 2673"/>
                  <a:gd name="T52" fmla="*/ 1103 w 1145"/>
                  <a:gd name="T53" fmla="*/ 1044 h 2673"/>
                  <a:gd name="T54" fmla="*/ 1142 w 1145"/>
                  <a:gd name="T55" fmla="*/ 1212 h 2673"/>
                  <a:gd name="T56" fmla="*/ 1145 w 1145"/>
                  <a:gd name="T57" fmla="*/ 2356 h 2673"/>
                  <a:gd name="T58" fmla="*/ 1121 w 1145"/>
                  <a:gd name="T59" fmla="*/ 2479 h 2673"/>
                  <a:gd name="T60" fmla="*/ 1053 w 1145"/>
                  <a:gd name="T61" fmla="*/ 2580 h 2673"/>
                  <a:gd name="T62" fmla="*/ 952 w 1145"/>
                  <a:gd name="T63" fmla="*/ 2648 h 2673"/>
                  <a:gd name="T64" fmla="*/ 830 w 1145"/>
                  <a:gd name="T65" fmla="*/ 2673 h 2673"/>
                  <a:gd name="T66" fmla="*/ 231 w 1145"/>
                  <a:gd name="T67" fmla="*/ 2661 h 2673"/>
                  <a:gd name="T68" fmla="*/ 122 w 1145"/>
                  <a:gd name="T69" fmla="*/ 2607 h 2673"/>
                  <a:gd name="T70" fmla="*/ 42 w 1145"/>
                  <a:gd name="T71" fmla="*/ 2516 h 2673"/>
                  <a:gd name="T72" fmla="*/ 2 w 1145"/>
                  <a:gd name="T73" fmla="*/ 2399 h 2673"/>
                  <a:gd name="T74" fmla="*/ 3 w 1145"/>
                  <a:gd name="T75" fmla="*/ 1212 h 2673"/>
                  <a:gd name="T76" fmla="*/ 42 w 1145"/>
                  <a:gd name="T77" fmla="*/ 1044 h 2673"/>
                  <a:gd name="T78" fmla="*/ 109 w 1145"/>
                  <a:gd name="T79" fmla="*/ 869 h 2673"/>
                  <a:gd name="T80" fmla="*/ 166 w 1145"/>
                  <a:gd name="T81" fmla="*/ 736 h 2673"/>
                  <a:gd name="T82" fmla="*/ 207 w 1145"/>
                  <a:gd name="T83" fmla="*/ 630 h 2673"/>
                  <a:gd name="T84" fmla="*/ 231 w 1145"/>
                  <a:gd name="T85" fmla="*/ 540 h 2673"/>
                  <a:gd name="T86" fmla="*/ 132 w 1145"/>
                  <a:gd name="T87" fmla="*/ 477 h 2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45" h="2673">
                    <a:moveTo>
                      <a:pt x="396" y="477"/>
                    </a:moveTo>
                    <a:lnTo>
                      <a:pt x="396" y="517"/>
                    </a:lnTo>
                    <a:lnTo>
                      <a:pt x="394" y="555"/>
                    </a:lnTo>
                    <a:lnTo>
                      <a:pt x="387" y="597"/>
                    </a:lnTo>
                    <a:lnTo>
                      <a:pt x="376" y="639"/>
                    </a:lnTo>
                    <a:lnTo>
                      <a:pt x="362" y="685"/>
                    </a:lnTo>
                    <a:lnTo>
                      <a:pt x="346" y="730"/>
                    </a:lnTo>
                    <a:lnTo>
                      <a:pt x="327" y="778"/>
                    </a:lnTo>
                    <a:lnTo>
                      <a:pt x="307" y="828"/>
                    </a:lnTo>
                    <a:lnTo>
                      <a:pt x="285" y="877"/>
                    </a:lnTo>
                    <a:lnTo>
                      <a:pt x="266" y="922"/>
                    </a:lnTo>
                    <a:lnTo>
                      <a:pt x="247" y="967"/>
                    </a:lnTo>
                    <a:lnTo>
                      <a:pt x="229" y="1012"/>
                    </a:lnTo>
                    <a:lnTo>
                      <a:pt x="211" y="1058"/>
                    </a:lnTo>
                    <a:lnTo>
                      <a:pt x="196" y="1103"/>
                    </a:lnTo>
                    <a:lnTo>
                      <a:pt x="182" y="1147"/>
                    </a:lnTo>
                    <a:lnTo>
                      <a:pt x="172" y="1189"/>
                    </a:lnTo>
                    <a:lnTo>
                      <a:pt x="166" y="1229"/>
                    </a:lnTo>
                    <a:lnTo>
                      <a:pt x="164" y="1267"/>
                    </a:lnTo>
                    <a:lnTo>
                      <a:pt x="164" y="2356"/>
                    </a:lnTo>
                    <a:lnTo>
                      <a:pt x="167" y="2387"/>
                    </a:lnTo>
                    <a:lnTo>
                      <a:pt x="175" y="2415"/>
                    </a:lnTo>
                    <a:lnTo>
                      <a:pt x="190" y="2440"/>
                    </a:lnTo>
                    <a:lnTo>
                      <a:pt x="208" y="2464"/>
                    </a:lnTo>
                    <a:lnTo>
                      <a:pt x="230" y="2482"/>
                    </a:lnTo>
                    <a:lnTo>
                      <a:pt x="256" y="2496"/>
                    </a:lnTo>
                    <a:lnTo>
                      <a:pt x="284" y="2504"/>
                    </a:lnTo>
                    <a:lnTo>
                      <a:pt x="315" y="2507"/>
                    </a:lnTo>
                    <a:lnTo>
                      <a:pt x="830" y="2507"/>
                    </a:lnTo>
                    <a:lnTo>
                      <a:pt x="861" y="2504"/>
                    </a:lnTo>
                    <a:lnTo>
                      <a:pt x="888" y="2496"/>
                    </a:lnTo>
                    <a:lnTo>
                      <a:pt x="913" y="2482"/>
                    </a:lnTo>
                    <a:lnTo>
                      <a:pt x="935" y="2465"/>
                    </a:lnTo>
                    <a:lnTo>
                      <a:pt x="953" y="2442"/>
                    </a:lnTo>
                    <a:lnTo>
                      <a:pt x="968" y="2418"/>
                    </a:lnTo>
                    <a:lnTo>
                      <a:pt x="977" y="2390"/>
                    </a:lnTo>
                    <a:lnTo>
                      <a:pt x="981" y="2360"/>
                    </a:lnTo>
                    <a:lnTo>
                      <a:pt x="981" y="2356"/>
                    </a:lnTo>
                    <a:lnTo>
                      <a:pt x="981" y="1267"/>
                    </a:lnTo>
                    <a:lnTo>
                      <a:pt x="979" y="1229"/>
                    </a:lnTo>
                    <a:lnTo>
                      <a:pt x="973" y="1189"/>
                    </a:lnTo>
                    <a:lnTo>
                      <a:pt x="962" y="1147"/>
                    </a:lnTo>
                    <a:lnTo>
                      <a:pt x="949" y="1103"/>
                    </a:lnTo>
                    <a:lnTo>
                      <a:pt x="933" y="1058"/>
                    </a:lnTo>
                    <a:lnTo>
                      <a:pt x="916" y="1012"/>
                    </a:lnTo>
                    <a:lnTo>
                      <a:pt x="898" y="967"/>
                    </a:lnTo>
                    <a:lnTo>
                      <a:pt x="879" y="922"/>
                    </a:lnTo>
                    <a:lnTo>
                      <a:pt x="860" y="877"/>
                    </a:lnTo>
                    <a:lnTo>
                      <a:pt x="838" y="828"/>
                    </a:lnTo>
                    <a:lnTo>
                      <a:pt x="818" y="778"/>
                    </a:lnTo>
                    <a:lnTo>
                      <a:pt x="799" y="730"/>
                    </a:lnTo>
                    <a:lnTo>
                      <a:pt x="782" y="685"/>
                    </a:lnTo>
                    <a:lnTo>
                      <a:pt x="768" y="639"/>
                    </a:lnTo>
                    <a:lnTo>
                      <a:pt x="758" y="597"/>
                    </a:lnTo>
                    <a:lnTo>
                      <a:pt x="751" y="555"/>
                    </a:lnTo>
                    <a:lnTo>
                      <a:pt x="748" y="517"/>
                    </a:lnTo>
                    <a:lnTo>
                      <a:pt x="748" y="477"/>
                    </a:lnTo>
                    <a:lnTo>
                      <a:pt x="396" y="477"/>
                    </a:lnTo>
                    <a:close/>
                    <a:moveTo>
                      <a:pt x="296" y="165"/>
                    </a:moveTo>
                    <a:lnTo>
                      <a:pt x="296" y="312"/>
                    </a:lnTo>
                    <a:lnTo>
                      <a:pt x="848" y="312"/>
                    </a:lnTo>
                    <a:lnTo>
                      <a:pt x="848" y="165"/>
                    </a:lnTo>
                    <a:lnTo>
                      <a:pt x="296" y="165"/>
                    </a:lnTo>
                    <a:close/>
                    <a:moveTo>
                      <a:pt x="132" y="0"/>
                    </a:moveTo>
                    <a:lnTo>
                      <a:pt x="1013" y="0"/>
                    </a:lnTo>
                    <a:lnTo>
                      <a:pt x="1013" y="477"/>
                    </a:lnTo>
                    <a:lnTo>
                      <a:pt x="913" y="477"/>
                    </a:lnTo>
                    <a:lnTo>
                      <a:pt x="913" y="517"/>
                    </a:lnTo>
                    <a:lnTo>
                      <a:pt x="914" y="540"/>
                    </a:lnTo>
                    <a:lnTo>
                      <a:pt x="919" y="567"/>
                    </a:lnTo>
                    <a:lnTo>
                      <a:pt x="927" y="598"/>
                    </a:lnTo>
                    <a:lnTo>
                      <a:pt x="937" y="630"/>
                    </a:lnTo>
                    <a:lnTo>
                      <a:pt x="950" y="665"/>
                    </a:lnTo>
                    <a:lnTo>
                      <a:pt x="964" y="700"/>
                    </a:lnTo>
                    <a:lnTo>
                      <a:pt x="979" y="736"/>
                    </a:lnTo>
                    <a:lnTo>
                      <a:pt x="995" y="774"/>
                    </a:lnTo>
                    <a:lnTo>
                      <a:pt x="1011" y="811"/>
                    </a:lnTo>
                    <a:lnTo>
                      <a:pt x="1035" y="869"/>
                    </a:lnTo>
                    <a:lnTo>
                      <a:pt x="1059" y="927"/>
                    </a:lnTo>
                    <a:lnTo>
                      <a:pt x="1083" y="986"/>
                    </a:lnTo>
                    <a:lnTo>
                      <a:pt x="1103" y="1044"/>
                    </a:lnTo>
                    <a:lnTo>
                      <a:pt x="1120" y="1100"/>
                    </a:lnTo>
                    <a:lnTo>
                      <a:pt x="1134" y="1157"/>
                    </a:lnTo>
                    <a:lnTo>
                      <a:pt x="1142" y="1212"/>
                    </a:lnTo>
                    <a:lnTo>
                      <a:pt x="1145" y="1267"/>
                    </a:lnTo>
                    <a:lnTo>
                      <a:pt x="1145" y="2279"/>
                    </a:lnTo>
                    <a:lnTo>
                      <a:pt x="1145" y="2356"/>
                    </a:lnTo>
                    <a:lnTo>
                      <a:pt x="1142" y="2399"/>
                    </a:lnTo>
                    <a:lnTo>
                      <a:pt x="1134" y="2440"/>
                    </a:lnTo>
                    <a:lnTo>
                      <a:pt x="1121" y="2479"/>
                    </a:lnTo>
                    <a:lnTo>
                      <a:pt x="1103" y="2516"/>
                    </a:lnTo>
                    <a:lnTo>
                      <a:pt x="1080" y="2550"/>
                    </a:lnTo>
                    <a:lnTo>
                      <a:pt x="1053" y="2580"/>
                    </a:lnTo>
                    <a:lnTo>
                      <a:pt x="1023" y="2607"/>
                    </a:lnTo>
                    <a:lnTo>
                      <a:pt x="990" y="2630"/>
                    </a:lnTo>
                    <a:lnTo>
                      <a:pt x="952" y="2648"/>
                    </a:lnTo>
                    <a:lnTo>
                      <a:pt x="914" y="2661"/>
                    </a:lnTo>
                    <a:lnTo>
                      <a:pt x="873" y="2669"/>
                    </a:lnTo>
                    <a:lnTo>
                      <a:pt x="830" y="2673"/>
                    </a:lnTo>
                    <a:lnTo>
                      <a:pt x="315" y="2673"/>
                    </a:lnTo>
                    <a:lnTo>
                      <a:pt x="271" y="2669"/>
                    </a:lnTo>
                    <a:lnTo>
                      <a:pt x="231" y="2661"/>
                    </a:lnTo>
                    <a:lnTo>
                      <a:pt x="192" y="2648"/>
                    </a:lnTo>
                    <a:lnTo>
                      <a:pt x="155" y="2630"/>
                    </a:lnTo>
                    <a:lnTo>
                      <a:pt x="122" y="2607"/>
                    </a:lnTo>
                    <a:lnTo>
                      <a:pt x="92" y="2580"/>
                    </a:lnTo>
                    <a:lnTo>
                      <a:pt x="65" y="2550"/>
                    </a:lnTo>
                    <a:lnTo>
                      <a:pt x="42" y="2516"/>
                    </a:lnTo>
                    <a:lnTo>
                      <a:pt x="24" y="2479"/>
                    </a:lnTo>
                    <a:lnTo>
                      <a:pt x="11" y="2440"/>
                    </a:lnTo>
                    <a:lnTo>
                      <a:pt x="2" y="2399"/>
                    </a:lnTo>
                    <a:lnTo>
                      <a:pt x="0" y="2356"/>
                    </a:lnTo>
                    <a:lnTo>
                      <a:pt x="0" y="1267"/>
                    </a:lnTo>
                    <a:lnTo>
                      <a:pt x="3" y="1212"/>
                    </a:lnTo>
                    <a:lnTo>
                      <a:pt x="11" y="1157"/>
                    </a:lnTo>
                    <a:lnTo>
                      <a:pt x="24" y="1100"/>
                    </a:lnTo>
                    <a:lnTo>
                      <a:pt x="42" y="1044"/>
                    </a:lnTo>
                    <a:lnTo>
                      <a:pt x="62" y="986"/>
                    </a:lnTo>
                    <a:lnTo>
                      <a:pt x="85" y="927"/>
                    </a:lnTo>
                    <a:lnTo>
                      <a:pt x="109" y="869"/>
                    </a:lnTo>
                    <a:lnTo>
                      <a:pt x="134" y="811"/>
                    </a:lnTo>
                    <a:lnTo>
                      <a:pt x="150" y="774"/>
                    </a:lnTo>
                    <a:lnTo>
                      <a:pt x="166" y="736"/>
                    </a:lnTo>
                    <a:lnTo>
                      <a:pt x="180" y="700"/>
                    </a:lnTo>
                    <a:lnTo>
                      <a:pt x="195" y="665"/>
                    </a:lnTo>
                    <a:lnTo>
                      <a:pt x="207" y="630"/>
                    </a:lnTo>
                    <a:lnTo>
                      <a:pt x="218" y="598"/>
                    </a:lnTo>
                    <a:lnTo>
                      <a:pt x="226" y="567"/>
                    </a:lnTo>
                    <a:lnTo>
                      <a:pt x="231" y="540"/>
                    </a:lnTo>
                    <a:lnTo>
                      <a:pt x="232" y="517"/>
                    </a:lnTo>
                    <a:lnTo>
                      <a:pt x="232" y="477"/>
                    </a:lnTo>
                    <a:lnTo>
                      <a:pt x="132" y="477"/>
                    </a:lnTo>
                    <a:lnTo>
                      <a:pt x="13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134" name="Group 292"/>
            <p:cNvGrpSpPr>
              <a:grpSpLocks noChangeAspect="1"/>
            </p:cNvGrpSpPr>
            <p:nvPr/>
          </p:nvGrpSpPr>
          <p:grpSpPr bwMode="auto">
            <a:xfrm>
              <a:off x="4768164" y="4434493"/>
              <a:ext cx="451619" cy="453648"/>
              <a:chOff x="4629" y="3933"/>
              <a:chExt cx="222" cy="223"/>
            </a:xfrm>
          </p:grpSpPr>
          <p:sp>
            <p:nvSpPr>
              <p:cNvPr id="135" name="Rectangle 293"/>
              <p:cNvSpPr>
                <a:spLocks noChangeArrowheads="1"/>
              </p:cNvSpPr>
              <p:nvPr/>
            </p:nvSpPr>
            <p:spPr bwMode="auto">
              <a:xfrm>
                <a:off x="4629" y="3933"/>
                <a:ext cx="222" cy="223"/>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36" name="Rectangle 294"/>
              <p:cNvSpPr>
                <a:spLocks noChangeArrowheads="1"/>
              </p:cNvSpPr>
              <p:nvPr/>
            </p:nvSpPr>
            <p:spPr bwMode="auto">
              <a:xfrm>
                <a:off x="4629" y="3933"/>
                <a:ext cx="222" cy="22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37" name="Freeform 295"/>
              <p:cNvSpPr>
                <a:spLocks noEditPoints="1"/>
              </p:cNvSpPr>
              <p:nvPr/>
            </p:nvSpPr>
            <p:spPr bwMode="auto">
              <a:xfrm>
                <a:off x="4696" y="3956"/>
                <a:ext cx="88" cy="177"/>
              </a:xfrm>
              <a:custGeom>
                <a:avLst/>
                <a:gdLst>
                  <a:gd name="T0" fmla="*/ 545 w 1316"/>
                  <a:gd name="T1" fmla="*/ 491 h 2657"/>
                  <a:gd name="T2" fmla="*/ 392 w 1316"/>
                  <a:gd name="T3" fmla="*/ 645 h 2657"/>
                  <a:gd name="T4" fmla="*/ 245 w 1316"/>
                  <a:gd name="T5" fmla="*/ 903 h 2657"/>
                  <a:gd name="T6" fmla="*/ 173 w 1316"/>
                  <a:gd name="T7" fmla="*/ 1184 h 2657"/>
                  <a:gd name="T8" fmla="*/ 173 w 1316"/>
                  <a:gd name="T9" fmla="*/ 1472 h 2657"/>
                  <a:gd name="T10" fmla="*/ 245 w 1316"/>
                  <a:gd name="T11" fmla="*/ 1753 h 2657"/>
                  <a:gd name="T12" fmla="*/ 392 w 1316"/>
                  <a:gd name="T13" fmla="*/ 2011 h 2657"/>
                  <a:gd name="T14" fmla="*/ 545 w 1316"/>
                  <a:gd name="T15" fmla="*/ 2165 h 2657"/>
                  <a:gd name="T16" fmla="*/ 673 w 1316"/>
                  <a:gd name="T17" fmla="*/ 2185 h 2657"/>
                  <a:gd name="T18" fmla="*/ 787 w 1316"/>
                  <a:gd name="T19" fmla="*/ 2126 h 2657"/>
                  <a:gd name="T20" fmla="*/ 846 w 1316"/>
                  <a:gd name="T21" fmla="*/ 2010 h 2657"/>
                  <a:gd name="T22" fmla="*/ 827 w 1316"/>
                  <a:gd name="T23" fmla="*/ 1884 h 2657"/>
                  <a:gd name="T24" fmla="*/ 709 w 1316"/>
                  <a:gd name="T25" fmla="*/ 1737 h 2657"/>
                  <a:gd name="T26" fmla="*/ 610 w 1316"/>
                  <a:gd name="T27" fmla="*/ 1526 h 2657"/>
                  <a:gd name="T28" fmla="*/ 581 w 1316"/>
                  <a:gd name="T29" fmla="*/ 1299 h 2657"/>
                  <a:gd name="T30" fmla="*/ 628 w 1316"/>
                  <a:gd name="T31" fmla="*/ 1075 h 2657"/>
                  <a:gd name="T32" fmla="*/ 747 w 1316"/>
                  <a:gd name="T33" fmla="*/ 871 h 2657"/>
                  <a:gd name="T34" fmla="*/ 839 w 1316"/>
                  <a:gd name="T35" fmla="*/ 744 h 2657"/>
                  <a:gd name="T36" fmla="*/ 839 w 1316"/>
                  <a:gd name="T37" fmla="*/ 613 h 2657"/>
                  <a:gd name="T38" fmla="*/ 762 w 1316"/>
                  <a:gd name="T39" fmla="*/ 509 h 2657"/>
                  <a:gd name="T40" fmla="*/ 640 w 1316"/>
                  <a:gd name="T41" fmla="*/ 469 h 2657"/>
                  <a:gd name="T42" fmla="*/ 977 w 1316"/>
                  <a:gd name="T43" fmla="*/ 104 h 2657"/>
                  <a:gd name="T44" fmla="*/ 1013 w 1316"/>
                  <a:gd name="T45" fmla="*/ 264 h 2657"/>
                  <a:gd name="T46" fmla="*/ 1135 w 1316"/>
                  <a:gd name="T47" fmla="*/ 313 h 2657"/>
                  <a:gd name="T48" fmla="*/ 1284 w 1316"/>
                  <a:gd name="T49" fmla="*/ 385 h 2657"/>
                  <a:gd name="T50" fmla="*/ 1146 w 1316"/>
                  <a:gd name="T51" fmla="*/ 491 h 2657"/>
                  <a:gd name="T52" fmla="*/ 1020 w 1316"/>
                  <a:gd name="T53" fmla="*/ 471 h 2657"/>
                  <a:gd name="T54" fmla="*/ 995 w 1316"/>
                  <a:gd name="T55" fmla="*/ 560 h 2657"/>
                  <a:gd name="T56" fmla="*/ 1011 w 1316"/>
                  <a:gd name="T57" fmla="*/ 721 h 2657"/>
                  <a:gd name="T58" fmla="*/ 957 w 1316"/>
                  <a:gd name="T59" fmla="*/ 877 h 2657"/>
                  <a:gd name="T60" fmla="*/ 835 w 1316"/>
                  <a:gd name="T61" fmla="*/ 1029 h 2657"/>
                  <a:gd name="T62" fmla="*/ 756 w 1316"/>
                  <a:gd name="T63" fmla="*/ 1224 h 2657"/>
                  <a:gd name="T64" fmla="*/ 756 w 1316"/>
                  <a:gd name="T65" fmla="*/ 1432 h 2657"/>
                  <a:gd name="T66" fmla="*/ 835 w 1316"/>
                  <a:gd name="T67" fmla="*/ 1628 h 2657"/>
                  <a:gd name="T68" fmla="*/ 957 w 1316"/>
                  <a:gd name="T69" fmla="*/ 1779 h 2657"/>
                  <a:gd name="T70" fmla="*/ 1010 w 1316"/>
                  <a:gd name="T71" fmla="*/ 1933 h 2657"/>
                  <a:gd name="T72" fmla="*/ 995 w 1316"/>
                  <a:gd name="T73" fmla="*/ 2093 h 2657"/>
                  <a:gd name="T74" fmla="*/ 1020 w 1316"/>
                  <a:gd name="T75" fmla="*/ 2185 h 2657"/>
                  <a:gd name="T76" fmla="*/ 1146 w 1316"/>
                  <a:gd name="T77" fmla="*/ 2165 h 2657"/>
                  <a:gd name="T78" fmla="*/ 1285 w 1316"/>
                  <a:gd name="T79" fmla="*/ 2271 h 2657"/>
                  <a:gd name="T80" fmla="*/ 1135 w 1316"/>
                  <a:gd name="T81" fmla="*/ 2344 h 2657"/>
                  <a:gd name="T82" fmla="*/ 1013 w 1316"/>
                  <a:gd name="T83" fmla="*/ 2392 h 2657"/>
                  <a:gd name="T84" fmla="*/ 977 w 1316"/>
                  <a:gd name="T85" fmla="*/ 2554 h 2657"/>
                  <a:gd name="T86" fmla="*/ 787 w 1316"/>
                  <a:gd name="T87" fmla="*/ 2540 h 2657"/>
                  <a:gd name="T88" fmla="*/ 846 w 1316"/>
                  <a:gd name="T89" fmla="*/ 2425 h 2657"/>
                  <a:gd name="T90" fmla="*/ 829 w 1316"/>
                  <a:gd name="T91" fmla="*/ 2302 h 2657"/>
                  <a:gd name="T92" fmla="*/ 680 w 1316"/>
                  <a:gd name="T93" fmla="*/ 2351 h 2657"/>
                  <a:gd name="T94" fmla="*/ 517 w 1316"/>
                  <a:gd name="T95" fmla="*/ 2332 h 2657"/>
                  <a:gd name="T96" fmla="*/ 375 w 1316"/>
                  <a:gd name="T97" fmla="*/ 2243 h 2657"/>
                  <a:gd name="T98" fmla="*/ 174 w 1316"/>
                  <a:gd name="T99" fmla="*/ 1979 h 2657"/>
                  <a:gd name="T100" fmla="*/ 47 w 1316"/>
                  <a:gd name="T101" fmla="*/ 1682 h 2657"/>
                  <a:gd name="T102" fmla="*/ 0 w 1316"/>
                  <a:gd name="T103" fmla="*/ 1368 h 2657"/>
                  <a:gd name="T104" fmla="*/ 28 w 1316"/>
                  <a:gd name="T105" fmla="*/ 1052 h 2657"/>
                  <a:gd name="T106" fmla="*/ 134 w 1316"/>
                  <a:gd name="T107" fmla="*/ 749 h 2657"/>
                  <a:gd name="T108" fmla="*/ 318 w 1316"/>
                  <a:gd name="T109" fmla="*/ 475 h 2657"/>
                  <a:gd name="T110" fmla="*/ 478 w 1316"/>
                  <a:gd name="T111" fmla="*/ 340 h 2657"/>
                  <a:gd name="T112" fmla="*/ 640 w 1316"/>
                  <a:gd name="T113" fmla="*/ 303 h 2657"/>
                  <a:gd name="T114" fmla="*/ 793 w 1316"/>
                  <a:gd name="T115" fmla="*/ 336 h 2657"/>
                  <a:gd name="T116" fmla="*/ 849 w 1316"/>
                  <a:gd name="T117" fmla="*/ 262 h 2657"/>
                  <a:gd name="T118" fmla="*/ 809 w 1316"/>
                  <a:gd name="T119" fmla="*/ 142 h 2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16" h="2657">
                    <a:moveTo>
                      <a:pt x="640" y="469"/>
                    </a:moveTo>
                    <a:lnTo>
                      <a:pt x="607" y="471"/>
                    </a:lnTo>
                    <a:lnTo>
                      <a:pt x="575" y="479"/>
                    </a:lnTo>
                    <a:lnTo>
                      <a:pt x="545" y="491"/>
                    </a:lnTo>
                    <a:lnTo>
                      <a:pt x="518" y="509"/>
                    </a:lnTo>
                    <a:lnTo>
                      <a:pt x="492" y="530"/>
                    </a:lnTo>
                    <a:lnTo>
                      <a:pt x="440" y="587"/>
                    </a:lnTo>
                    <a:lnTo>
                      <a:pt x="392" y="645"/>
                    </a:lnTo>
                    <a:lnTo>
                      <a:pt x="348" y="707"/>
                    </a:lnTo>
                    <a:lnTo>
                      <a:pt x="310" y="770"/>
                    </a:lnTo>
                    <a:lnTo>
                      <a:pt x="276" y="836"/>
                    </a:lnTo>
                    <a:lnTo>
                      <a:pt x="245" y="903"/>
                    </a:lnTo>
                    <a:lnTo>
                      <a:pt x="220" y="972"/>
                    </a:lnTo>
                    <a:lnTo>
                      <a:pt x="200" y="1042"/>
                    </a:lnTo>
                    <a:lnTo>
                      <a:pt x="184" y="1113"/>
                    </a:lnTo>
                    <a:lnTo>
                      <a:pt x="173" y="1184"/>
                    </a:lnTo>
                    <a:lnTo>
                      <a:pt x="166" y="1256"/>
                    </a:lnTo>
                    <a:lnTo>
                      <a:pt x="164" y="1329"/>
                    </a:lnTo>
                    <a:lnTo>
                      <a:pt x="166" y="1401"/>
                    </a:lnTo>
                    <a:lnTo>
                      <a:pt x="173" y="1472"/>
                    </a:lnTo>
                    <a:lnTo>
                      <a:pt x="184" y="1543"/>
                    </a:lnTo>
                    <a:lnTo>
                      <a:pt x="200" y="1614"/>
                    </a:lnTo>
                    <a:lnTo>
                      <a:pt x="220" y="1684"/>
                    </a:lnTo>
                    <a:lnTo>
                      <a:pt x="245" y="1753"/>
                    </a:lnTo>
                    <a:lnTo>
                      <a:pt x="276" y="1820"/>
                    </a:lnTo>
                    <a:lnTo>
                      <a:pt x="310" y="1886"/>
                    </a:lnTo>
                    <a:lnTo>
                      <a:pt x="348" y="1949"/>
                    </a:lnTo>
                    <a:lnTo>
                      <a:pt x="392" y="2011"/>
                    </a:lnTo>
                    <a:lnTo>
                      <a:pt x="440" y="2070"/>
                    </a:lnTo>
                    <a:lnTo>
                      <a:pt x="492" y="2126"/>
                    </a:lnTo>
                    <a:lnTo>
                      <a:pt x="518" y="2148"/>
                    </a:lnTo>
                    <a:lnTo>
                      <a:pt x="545" y="2165"/>
                    </a:lnTo>
                    <a:lnTo>
                      <a:pt x="575" y="2178"/>
                    </a:lnTo>
                    <a:lnTo>
                      <a:pt x="607" y="2185"/>
                    </a:lnTo>
                    <a:lnTo>
                      <a:pt x="640" y="2188"/>
                    </a:lnTo>
                    <a:lnTo>
                      <a:pt x="673" y="2185"/>
                    </a:lnTo>
                    <a:lnTo>
                      <a:pt x="704" y="2178"/>
                    </a:lnTo>
                    <a:lnTo>
                      <a:pt x="735" y="2165"/>
                    </a:lnTo>
                    <a:lnTo>
                      <a:pt x="762" y="2148"/>
                    </a:lnTo>
                    <a:lnTo>
                      <a:pt x="787" y="2126"/>
                    </a:lnTo>
                    <a:lnTo>
                      <a:pt x="809" y="2100"/>
                    </a:lnTo>
                    <a:lnTo>
                      <a:pt x="827" y="2072"/>
                    </a:lnTo>
                    <a:lnTo>
                      <a:pt x="839" y="2041"/>
                    </a:lnTo>
                    <a:lnTo>
                      <a:pt x="846" y="2010"/>
                    </a:lnTo>
                    <a:lnTo>
                      <a:pt x="849" y="1978"/>
                    </a:lnTo>
                    <a:lnTo>
                      <a:pt x="846" y="1946"/>
                    </a:lnTo>
                    <a:lnTo>
                      <a:pt x="839" y="1914"/>
                    </a:lnTo>
                    <a:lnTo>
                      <a:pt x="827" y="1884"/>
                    </a:lnTo>
                    <a:lnTo>
                      <a:pt x="809" y="1856"/>
                    </a:lnTo>
                    <a:lnTo>
                      <a:pt x="787" y="1829"/>
                    </a:lnTo>
                    <a:lnTo>
                      <a:pt x="747" y="1785"/>
                    </a:lnTo>
                    <a:lnTo>
                      <a:pt x="709" y="1737"/>
                    </a:lnTo>
                    <a:lnTo>
                      <a:pt x="678" y="1687"/>
                    </a:lnTo>
                    <a:lnTo>
                      <a:pt x="650" y="1635"/>
                    </a:lnTo>
                    <a:lnTo>
                      <a:pt x="628" y="1582"/>
                    </a:lnTo>
                    <a:lnTo>
                      <a:pt x="610" y="1526"/>
                    </a:lnTo>
                    <a:lnTo>
                      <a:pt x="595" y="1470"/>
                    </a:lnTo>
                    <a:lnTo>
                      <a:pt x="586" y="1414"/>
                    </a:lnTo>
                    <a:lnTo>
                      <a:pt x="581" y="1357"/>
                    </a:lnTo>
                    <a:lnTo>
                      <a:pt x="581" y="1299"/>
                    </a:lnTo>
                    <a:lnTo>
                      <a:pt x="586" y="1242"/>
                    </a:lnTo>
                    <a:lnTo>
                      <a:pt x="595" y="1186"/>
                    </a:lnTo>
                    <a:lnTo>
                      <a:pt x="610" y="1130"/>
                    </a:lnTo>
                    <a:lnTo>
                      <a:pt x="628" y="1075"/>
                    </a:lnTo>
                    <a:lnTo>
                      <a:pt x="650" y="1021"/>
                    </a:lnTo>
                    <a:lnTo>
                      <a:pt x="678" y="970"/>
                    </a:lnTo>
                    <a:lnTo>
                      <a:pt x="709" y="919"/>
                    </a:lnTo>
                    <a:lnTo>
                      <a:pt x="747" y="871"/>
                    </a:lnTo>
                    <a:lnTo>
                      <a:pt x="787" y="827"/>
                    </a:lnTo>
                    <a:lnTo>
                      <a:pt x="809" y="801"/>
                    </a:lnTo>
                    <a:lnTo>
                      <a:pt x="827" y="773"/>
                    </a:lnTo>
                    <a:lnTo>
                      <a:pt x="839" y="744"/>
                    </a:lnTo>
                    <a:lnTo>
                      <a:pt x="846" y="711"/>
                    </a:lnTo>
                    <a:lnTo>
                      <a:pt x="849" y="679"/>
                    </a:lnTo>
                    <a:lnTo>
                      <a:pt x="846" y="645"/>
                    </a:lnTo>
                    <a:lnTo>
                      <a:pt x="839" y="613"/>
                    </a:lnTo>
                    <a:lnTo>
                      <a:pt x="827" y="584"/>
                    </a:lnTo>
                    <a:lnTo>
                      <a:pt x="809" y="555"/>
                    </a:lnTo>
                    <a:lnTo>
                      <a:pt x="787" y="530"/>
                    </a:lnTo>
                    <a:lnTo>
                      <a:pt x="762" y="509"/>
                    </a:lnTo>
                    <a:lnTo>
                      <a:pt x="735" y="491"/>
                    </a:lnTo>
                    <a:lnTo>
                      <a:pt x="704" y="479"/>
                    </a:lnTo>
                    <a:lnTo>
                      <a:pt x="673" y="471"/>
                    </a:lnTo>
                    <a:lnTo>
                      <a:pt x="640" y="469"/>
                    </a:lnTo>
                    <a:close/>
                    <a:moveTo>
                      <a:pt x="904" y="0"/>
                    </a:moveTo>
                    <a:lnTo>
                      <a:pt x="932" y="32"/>
                    </a:lnTo>
                    <a:lnTo>
                      <a:pt x="958" y="67"/>
                    </a:lnTo>
                    <a:lnTo>
                      <a:pt x="977" y="104"/>
                    </a:lnTo>
                    <a:lnTo>
                      <a:pt x="993" y="143"/>
                    </a:lnTo>
                    <a:lnTo>
                      <a:pt x="1004" y="182"/>
                    </a:lnTo>
                    <a:lnTo>
                      <a:pt x="1011" y="224"/>
                    </a:lnTo>
                    <a:lnTo>
                      <a:pt x="1013" y="264"/>
                    </a:lnTo>
                    <a:lnTo>
                      <a:pt x="1011" y="306"/>
                    </a:lnTo>
                    <a:lnTo>
                      <a:pt x="1052" y="303"/>
                    </a:lnTo>
                    <a:lnTo>
                      <a:pt x="1094" y="306"/>
                    </a:lnTo>
                    <a:lnTo>
                      <a:pt x="1135" y="313"/>
                    </a:lnTo>
                    <a:lnTo>
                      <a:pt x="1176" y="324"/>
                    </a:lnTo>
                    <a:lnTo>
                      <a:pt x="1214" y="340"/>
                    </a:lnTo>
                    <a:lnTo>
                      <a:pt x="1250" y="361"/>
                    </a:lnTo>
                    <a:lnTo>
                      <a:pt x="1284" y="385"/>
                    </a:lnTo>
                    <a:lnTo>
                      <a:pt x="1316" y="413"/>
                    </a:lnTo>
                    <a:lnTo>
                      <a:pt x="1199" y="530"/>
                    </a:lnTo>
                    <a:lnTo>
                      <a:pt x="1175" y="509"/>
                    </a:lnTo>
                    <a:lnTo>
                      <a:pt x="1146" y="491"/>
                    </a:lnTo>
                    <a:lnTo>
                      <a:pt x="1116" y="479"/>
                    </a:lnTo>
                    <a:lnTo>
                      <a:pt x="1085" y="471"/>
                    </a:lnTo>
                    <a:lnTo>
                      <a:pt x="1052" y="468"/>
                    </a:lnTo>
                    <a:lnTo>
                      <a:pt x="1020" y="471"/>
                    </a:lnTo>
                    <a:lnTo>
                      <a:pt x="991" y="478"/>
                    </a:lnTo>
                    <a:lnTo>
                      <a:pt x="962" y="489"/>
                    </a:lnTo>
                    <a:lnTo>
                      <a:pt x="980" y="524"/>
                    </a:lnTo>
                    <a:lnTo>
                      <a:pt x="995" y="560"/>
                    </a:lnTo>
                    <a:lnTo>
                      <a:pt x="1005" y="599"/>
                    </a:lnTo>
                    <a:lnTo>
                      <a:pt x="1011" y="638"/>
                    </a:lnTo>
                    <a:lnTo>
                      <a:pt x="1013" y="679"/>
                    </a:lnTo>
                    <a:lnTo>
                      <a:pt x="1011" y="721"/>
                    </a:lnTo>
                    <a:lnTo>
                      <a:pt x="1004" y="762"/>
                    </a:lnTo>
                    <a:lnTo>
                      <a:pt x="992" y="802"/>
                    </a:lnTo>
                    <a:lnTo>
                      <a:pt x="977" y="841"/>
                    </a:lnTo>
                    <a:lnTo>
                      <a:pt x="957" y="877"/>
                    </a:lnTo>
                    <a:lnTo>
                      <a:pt x="932" y="912"/>
                    </a:lnTo>
                    <a:lnTo>
                      <a:pt x="904" y="943"/>
                    </a:lnTo>
                    <a:lnTo>
                      <a:pt x="867" y="985"/>
                    </a:lnTo>
                    <a:lnTo>
                      <a:pt x="835" y="1029"/>
                    </a:lnTo>
                    <a:lnTo>
                      <a:pt x="807" y="1075"/>
                    </a:lnTo>
                    <a:lnTo>
                      <a:pt x="785" y="1124"/>
                    </a:lnTo>
                    <a:lnTo>
                      <a:pt x="768" y="1173"/>
                    </a:lnTo>
                    <a:lnTo>
                      <a:pt x="756" y="1224"/>
                    </a:lnTo>
                    <a:lnTo>
                      <a:pt x="748" y="1276"/>
                    </a:lnTo>
                    <a:lnTo>
                      <a:pt x="746" y="1329"/>
                    </a:lnTo>
                    <a:lnTo>
                      <a:pt x="748" y="1380"/>
                    </a:lnTo>
                    <a:lnTo>
                      <a:pt x="756" y="1432"/>
                    </a:lnTo>
                    <a:lnTo>
                      <a:pt x="768" y="1483"/>
                    </a:lnTo>
                    <a:lnTo>
                      <a:pt x="785" y="1532"/>
                    </a:lnTo>
                    <a:lnTo>
                      <a:pt x="807" y="1581"/>
                    </a:lnTo>
                    <a:lnTo>
                      <a:pt x="835" y="1628"/>
                    </a:lnTo>
                    <a:lnTo>
                      <a:pt x="867" y="1671"/>
                    </a:lnTo>
                    <a:lnTo>
                      <a:pt x="904" y="1713"/>
                    </a:lnTo>
                    <a:lnTo>
                      <a:pt x="932" y="1744"/>
                    </a:lnTo>
                    <a:lnTo>
                      <a:pt x="957" y="1779"/>
                    </a:lnTo>
                    <a:lnTo>
                      <a:pt x="977" y="1815"/>
                    </a:lnTo>
                    <a:lnTo>
                      <a:pt x="992" y="1854"/>
                    </a:lnTo>
                    <a:lnTo>
                      <a:pt x="1003" y="1892"/>
                    </a:lnTo>
                    <a:lnTo>
                      <a:pt x="1010" y="1933"/>
                    </a:lnTo>
                    <a:lnTo>
                      <a:pt x="1013" y="1972"/>
                    </a:lnTo>
                    <a:lnTo>
                      <a:pt x="1011" y="2013"/>
                    </a:lnTo>
                    <a:lnTo>
                      <a:pt x="1005" y="2053"/>
                    </a:lnTo>
                    <a:lnTo>
                      <a:pt x="995" y="2093"/>
                    </a:lnTo>
                    <a:lnTo>
                      <a:pt x="981" y="2130"/>
                    </a:lnTo>
                    <a:lnTo>
                      <a:pt x="962" y="2168"/>
                    </a:lnTo>
                    <a:lnTo>
                      <a:pt x="991" y="2179"/>
                    </a:lnTo>
                    <a:lnTo>
                      <a:pt x="1020" y="2185"/>
                    </a:lnTo>
                    <a:lnTo>
                      <a:pt x="1052" y="2188"/>
                    </a:lnTo>
                    <a:lnTo>
                      <a:pt x="1085" y="2185"/>
                    </a:lnTo>
                    <a:lnTo>
                      <a:pt x="1116" y="2178"/>
                    </a:lnTo>
                    <a:lnTo>
                      <a:pt x="1146" y="2165"/>
                    </a:lnTo>
                    <a:lnTo>
                      <a:pt x="1175" y="2148"/>
                    </a:lnTo>
                    <a:lnTo>
                      <a:pt x="1200" y="2126"/>
                    </a:lnTo>
                    <a:lnTo>
                      <a:pt x="1316" y="2243"/>
                    </a:lnTo>
                    <a:lnTo>
                      <a:pt x="1285" y="2271"/>
                    </a:lnTo>
                    <a:lnTo>
                      <a:pt x="1250" y="2296"/>
                    </a:lnTo>
                    <a:lnTo>
                      <a:pt x="1214" y="2316"/>
                    </a:lnTo>
                    <a:lnTo>
                      <a:pt x="1176" y="2332"/>
                    </a:lnTo>
                    <a:lnTo>
                      <a:pt x="1135" y="2344"/>
                    </a:lnTo>
                    <a:lnTo>
                      <a:pt x="1094" y="2350"/>
                    </a:lnTo>
                    <a:lnTo>
                      <a:pt x="1052" y="2353"/>
                    </a:lnTo>
                    <a:lnTo>
                      <a:pt x="1011" y="2351"/>
                    </a:lnTo>
                    <a:lnTo>
                      <a:pt x="1013" y="2392"/>
                    </a:lnTo>
                    <a:lnTo>
                      <a:pt x="1011" y="2434"/>
                    </a:lnTo>
                    <a:lnTo>
                      <a:pt x="1004" y="2476"/>
                    </a:lnTo>
                    <a:lnTo>
                      <a:pt x="992" y="2516"/>
                    </a:lnTo>
                    <a:lnTo>
                      <a:pt x="977" y="2554"/>
                    </a:lnTo>
                    <a:lnTo>
                      <a:pt x="957" y="2591"/>
                    </a:lnTo>
                    <a:lnTo>
                      <a:pt x="932" y="2625"/>
                    </a:lnTo>
                    <a:lnTo>
                      <a:pt x="904" y="2657"/>
                    </a:lnTo>
                    <a:lnTo>
                      <a:pt x="787" y="2540"/>
                    </a:lnTo>
                    <a:lnTo>
                      <a:pt x="809" y="2514"/>
                    </a:lnTo>
                    <a:lnTo>
                      <a:pt x="827" y="2487"/>
                    </a:lnTo>
                    <a:lnTo>
                      <a:pt x="839" y="2457"/>
                    </a:lnTo>
                    <a:lnTo>
                      <a:pt x="846" y="2425"/>
                    </a:lnTo>
                    <a:lnTo>
                      <a:pt x="849" y="2392"/>
                    </a:lnTo>
                    <a:lnTo>
                      <a:pt x="847" y="2360"/>
                    </a:lnTo>
                    <a:lnTo>
                      <a:pt x="840" y="2330"/>
                    </a:lnTo>
                    <a:lnTo>
                      <a:pt x="829" y="2302"/>
                    </a:lnTo>
                    <a:lnTo>
                      <a:pt x="793" y="2320"/>
                    </a:lnTo>
                    <a:lnTo>
                      <a:pt x="757" y="2334"/>
                    </a:lnTo>
                    <a:lnTo>
                      <a:pt x="720" y="2344"/>
                    </a:lnTo>
                    <a:lnTo>
                      <a:pt x="680" y="2351"/>
                    </a:lnTo>
                    <a:lnTo>
                      <a:pt x="640" y="2353"/>
                    </a:lnTo>
                    <a:lnTo>
                      <a:pt x="597" y="2350"/>
                    </a:lnTo>
                    <a:lnTo>
                      <a:pt x="556" y="2343"/>
                    </a:lnTo>
                    <a:lnTo>
                      <a:pt x="517" y="2332"/>
                    </a:lnTo>
                    <a:lnTo>
                      <a:pt x="478" y="2316"/>
                    </a:lnTo>
                    <a:lnTo>
                      <a:pt x="441" y="2296"/>
                    </a:lnTo>
                    <a:lnTo>
                      <a:pt x="408" y="2271"/>
                    </a:lnTo>
                    <a:lnTo>
                      <a:pt x="375" y="2243"/>
                    </a:lnTo>
                    <a:lnTo>
                      <a:pt x="318" y="2181"/>
                    </a:lnTo>
                    <a:lnTo>
                      <a:pt x="264" y="2116"/>
                    </a:lnTo>
                    <a:lnTo>
                      <a:pt x="217" y="2049"/>
                    </a:lnTo>
                    <a:lnTo>
                      <a:pt x="174" y="1979"/>
                    </a:lnTo>
                    <a:lnTo>
                      <a:pt x="134" y="1907"/>
                    </a:lnTo>
                    <a:lnTo>
                      <a:pt x="101" y="1834"/>
                    </a:lnTo>
                    <a:lnTo>
                      <a:pt x="72" y="1758"/>
                    </a:lnTo>
                    <a:lnTo>
                      <a:pt x="47" y="1682"/>
                    </a:lnTo>
                    <a:lnTo>
                      <a:pt x="28" y="1604"/>
                    </a:lnTo>
                    <a:lnTo>
                      <a:pt x="14" y="1526"/>
                    </a:lnTo>
                    <a:lnTo>
                      <a:pt x="4" y="1447"/>
                    </a:lnTo>
                    <a:lnTo>
                      <a:pt x="0" y="1368"/>
                    </a:lnTo>
                    <a:lnTo>
                      <a:pt x="0" y="1288"/>
                    </a:lnTo>
                    <a:lnTo>
                      <a:pt x="4" y="1209"/>
                    </a:lnTo>
                    <a:lnTo>
                      <a:pt x="14" y="1130"/>
                    </a:lnTo>
                    <a:lnTo>
                      <a:pt x="28" y="1052"/>
                    </a:lnTo>
                    <a:lnTo>
                      <a:pt x="47" y="974"/>
                    </a:lnTo>
                    <a:lnTo>
                      <a:pt x="72" y="898"/>
                    </a:lnTo>
                    <a:lnTo>
                      <a:pt x="101" y="823"/>
                    </a:lnTo>
                    <a:lnTo>
                      <a:pt x="134" y="749"/>
                    </a:lnTo>
                    <a:lnTo>
                      <a:pt x="174" y="677"/>
                    </a:lnTo>
                    <a:lnTo>
                      <a:pt x="217" y="607"/>
                    </a:lnTo>
                    <a:lnTo>
                      <a:pt x="264" y="540"/>
                    </a:lnTo>
                    <a:lnTo>
                      <a:pt x="318" y="475"/>
                    </a:lnTo>
                    <a:lnTo>
                      <a:pt x="375" y="413"/>
                    </a:lnTo>
                    <a:lnTo>
                      <a:pt x="408" y="385"/>
                    </a:lnTo>
                    <a:lnTo>
                      <a:pt x="441" y="361"/>
                    </a:lnTo>
                    <a:lnTo>
                      <a:pt x="478" y="340"/>
                    </a:lnTo>
                    <a:lnTo>
                      <a:pt x="517" y="324"/>
                    </a:lnTo>
                    <a:lnTo>
                      <a:pt x="556" y="313"/>
                    </a:lnTo>
                    <a:lnTo>
                      <a:pt x="597" y="306"/>
                    </a:lnTo>
                    <a:lnTo>
                      <a:pt x="640" y="303"/>
                    </a:lnTo>
                    <a:lnTo>
                      <a:pt x="680" y="306"/>
                    </a:lnTo>
                    <a:lnTo>
                      <a:pt x="719" y="312"/>
                    </a:lnTo>
                    <a:lnTo>
                      <a:pt x="757" y="322"/>
                    </a:lnTo>
                    <a:lnTo>
                      <a:pt x="793" y="336"/>
                    </a:lnTo>
                    <a:lnTo>
                      <a:pt x="829" y="354"/>
                    </a:lnTo>
                    <a:lnTo>
                      <a:pt x="840" y="324"/>
                    </a:lnTo>
                    <a:lnTo>
                      <a:pt x="847" y="294"/>
                    </a:lnTo>
                    <a:lnTo>
                      <a:pt x="849" y="262"/>
                    </a:lnTo>
                    <a:lnTo>
                      <a:pt x="846" y="230"/>
                    </a:lnTo>
                    <a:lnTo>
                      <a:pt x="839" y="199"/>
                    </a:lnTo>
                    <a:lnTo>
                      <a:pt x="827" y="170"/>
                    </a:lnTo>
                    <a:lnTo>
                      <a:pt x="809" y="142"/>
                    </a:lnTo>
                    <a:lnTo>
                      <a:pt x="787" y="116"/>
                    </a:lnTo>
                    <a:lnTo>
                      <a:pt x="90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138" name="Gruppieren 137"/>
            <p:cNvGrpSpPr>
              <a:grpSpLocks noChangeAspect="1"/>
            </p:cNvGrpSpPr>
            <p:nvPr/>
          </p:nvGrpSpPr>
          <p:grpSpPr>
            <a:xfrm>
              <a:off x="5831851" y="4714245"/>
              <a:ext cx="451606" cy="453648"/>
              <a:chOff x="11946386" y="1917903"/>
              <a:chExt cx="346555" cy="348117"/>
            </a:xfrm>
          </p:grpSpPr>
          <p:sp>
            <p:nvSpPr>
              <p:cNvPr id="139" name="Rectangle 78"/>
              <p:cNvSpPr>
                <a:spLocks noChangeArrowheads="1"/>
              </p:cNvSpPr>
              <p:nvPr/>
            </p:nvSpPr>
            <p:spPr bwMode="auto">
              <a:xfrm>
                <a:off x="11946386" y="1917903"/>
                <a:ext cx="346555" cy="348117"/>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40" name="Rectangle 79"/>
              <p:cNvSpPr>
                <a:spLocks noChangeArrowheads="1"/>
              </p:cNvSpPr>
              <p:nvPr/>
            </p:nvSpPr>
            <p:spPr bwMode="auto">
              <a:xfrm>
                <a:off x="11946386" y="1917903"/>
                <a:ext cx="346555" cy="348117"/>
              </a:xfrm>
              <a:prstGeom prst="rect">
                <a:avLst/>
              </a:prstGeom>
              <a:solidFill>
                <a:srgbClr val="662E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41" name="Freeform 80"/>
              <p:cNvSpPr>
                <a:spLocks noEditPoints="1"/>
              </p:cNvSpPr>
              <p:nvPr/>
            </p:nvSpPr>
            <p:spPr bwMode="auto">
              <a:xfrm>
                <a:off x="11990096" y="2031861"/>
                <a:ext cx="259136" cy="121763"/>
              </a:xfrm>
              <a:custGeom>
                <a:avLst/>
                <a:gdLst>
                  <a:gd name="T0" fmla="*/ 486 w 2493"/>
                  <a:gd name="T1" fmla="*/ 176 h 1168"/>
                  <a:gd name="T2" fmla="*/ 358 w 2493"/>
                  <a:gd name="T3" fmla="*/ 231 h 1168"/>
                  <a:gd name="T4" fmla="*/ 256 w 2493"/>
                  <a:gd name="T5" fmla="*/ 322 h 1168"/>
                  <a:gd name="T6" fmla="*/ 188 w 2493"/>
                  <a:gd name="T7" fmla="*/ 443 h 1168"/>
                  <a:gd name="T8" fmla="*/ 164 w 2493"/>
                  <a:gd name="T9" fmla="*/ 585 h 1168"/>
                  <a:gd name="T10" fmla="*/ 188 w 2493"/>
                  <a:gd name="T11" fmla="*/ 725 h 1168"/>
                  <a:gd name="T12" fmla="*/ 256 w 2493"/>
                  <a:gd name="T13" fmla="*/ 846 h 1168"/>
                  <a:gd name="T14" fmla="*/ 358 w 2493"/>
                  <a:gd name="T15" fmla="*/ 937 h 1168"/>
                  <a:gd name="T16" fmla="*/ 486 w 2493"/>
                  <a:gd name="T17" fmla="*/ 992 h 1168"/>
                  <a:gd name="T18" fmla="*/ 1912 w 2493"/>
                  <a:gd name="T19" fmla="*/ 1003 h 1168"/>
                  <a:gd name="T20" fmla="*/ 2052 w 2493"/>
                  <a:gd name="T21" fmla="*/ 979 h 1168"/>
                  <a:gd name="T22" fmla="*/ 2172 w 2493"/>
                  <a:gd name="T23" fmla="*/ 911 h 1168"/>
                  <a:gd name="T24" fmla="*/ 2263 w 2493"/>
                  <a:gd name="T25" fmla="*/ 809 h 1168"/>
                  <a:gd name="T26" fmla="*/ 2318 w 2493"/>
                  <a:gd name="T27" fmla="*/ 680 h 1168"/>
                  <a:gd name="T28" fmla="*/ 2326 w 2493"/>
                  <a:gd name="T29" fmla="*/ 535 h 1168"/>
                  <a:gd name="T30" fmla="*/ 2286 w 2493"/>
                  <a:gd name="T31" fmla="*/ 400 h 1168"/>
                  <a:gd name="T32" fmla="*/ 2207 w 2493"/>
                  <a:gd name="T33" fmla="*/ 289 h 1168"/>
                  <a:gd name="T34" fmla="*/ 2095 w 2493"/>
                  <a:gd name="T35" fmla="*/ 208 h 1168"/>
                  <a:gd name="T36" fmla="*/ 1960 w 2493"/>
                  <a:gd name="T37" fmla="*/ 168 h 1168"/>
                  <a:gd name="T38" fmla="*/ 1690 w 2493"/>
                  <a:gd name="T39" fmla="*/ 207 h 1168"/>
                  <a:gd name="T40" fmla="*/ 1781 w 2493"/>
                  <a:gd name="T41" fmla="*/ 353 h 1168"/>
                  <a:gd name="T42" fmla="*/ 1825 w 2493"/>
                  <a:gd name="T43" fmla="*/ 524 h 1168"/>
                  <a:gd name="T44" fmla="*/ 1661 w 2493"/>
                  <a:gd name="T45" fmla="*/ 535 h 1168"/>
                  <a:gd name="T46" fmla="*/ 1621 w 2493"/>
                  <a:gd name="T47" fmla="*/ 400 h 1168"/>
                  <a:gd name="T48" fmla="*/ 1541 w 2493"/>
                  <a:gd name="T49" fmla="*/ 289 h 1168"/>
                  <a:gd name="T50" fmla="*/ 1430 w 2493"/>
                  <a:gd name="T51" fmla="*/ 208 h 1168"/>
                  <a:gd name="T52" fmla="*/ 1295 w 2493"/>
                  <a:gd name="T53" fmla="*/ 168 h 1168"/>
                  <a:gd name="T54" fmla="*/ 1025 w 2493"/>
                  <a:gd name="T55" fmla="*/ 207 h 1168"/>
                  <a:gd name="T56" fmla="*/ 1115 w 2493"/>
                  <a:gd name="T57" fmla="*/ 353 h 1168"/>
                  <a:gd name="T58" fmla="*/ 1159 w 2493"/>
                  <a:gd name="T59" fmla="*/ 524 h 1168"/>
                  <a:gd name="T60" fmla="*/ 996 w 2493"/>
                  <a:gd name="T61" fmla="*/ 535 h 1168"/>
                  <a:gd name="T62" fmla="*/ 955 w 2493"/>
                  <a:gd name="T63" fmla="*/ 400 h 1168"/>
                  <a:gd name="T64" fmla="*/ 876 w 2493"/>
                  <a:gd name="T65" fmla="*/ 289 h 1168"/>
                  <a:gd name="T66" fmla="*/ 765 w 2493"/>
                  <a:gd name="T67" fmla="*/ 208 h 1168"/>
                  <a:gd name="T68" fmla="*/ 629 w 2493"/>
                  <a:gd name="T69" fmla="*/ 168 h 1168"/>
                  <a:gd name="T70" fmla="*/ 581 w 2493"/>
                  <a:gd name="T71" fmla="*/ 0 h 1168"/>
                  <a:gd name="T72" fmla="*/ 2029 w 2493"/>
                  <a:gd name="T73" fmla="*/ 12 h 1168"/>
                  <a:gd name="T74" fmla="*/ 2188 w 2493"/>
                  <a:gd name="T75" fmla="*/ 71 h 1168"/>
                  <a:gd name="T76" fmla="*/ 2323 w 2493"/>
                  <a:gd name="T77" fmla="*/ 171 h 1168"/>
                  <a:gd name="T78" fmla="*/ 2423 w 2493"/>
                  <a:gd name="T79" fmla="*/ 306 h 1168"/>
                  <a:gd name="T80" fmla="*/ 2481 w 2493"/>
                  <a:gd name="T81" fmla="*/ 467 h 1168"/>
                  <a:gd name="T82" fmla="*/ 2490 w 2493"/>
                  <a:gd name="T83" fmla="*/ 643 h 1168"/>
                  <a:gd name="T84" fmla="*/ 2448 w 2493"/>
                  <a:gd name="T85" fmla="*/ 812 h 1168"/>
                  <a:gd name="T86" fmla="*/ 2360 w 2493"/>
                  <a:gd name="T87" fmla="*/ 956 h 1168"/>
                  <a:gd name="T88" fmla="*/ 2237 w 2493"/>
                  <a:gd name="T89" fmla="*/ 1068 h 1168"/>
                  <a:gd name="T90" fmla="*/ 2085 w 2493"/>
                  <a:gd name="T91" fmla="*/ 1142 h 1168"/>
                  <a:gd name="T92" fmla="*/ 1912 w 2493"/>
                  <a:gd name="T93" fmla="*/ 1168 h 1168"/>
                  <a:gd name="T94" fmla="*/ 464 w 2493"/>
                  <a:gd name="T95" fmla="*/ 1156 h 1168"/>
                  <a:gd name="T96" fmla="*/ 304 w 2493"/>
                  <a:gd name="T97" fmla="*/ 1097 h 1168"/>
                  <a:gd name="T98" fmla="*/ 170 w 2493"/>
                  <a:gd name="T99" fmla="*/ 997 h 1168"/>
                  <a:gd name="T100" fmla="*/ 70 w 2493"/>
                  <a:gd name="T101" fmla="*/ 862 h 1168"/>
                  <a:gd name="T102" fmla="*/ 12 w 2493"/>
                  <a:gd name="T103" fmla="*/ 702 h 1168"/>
                  <a:gd name="T104" fmla="*/ 3 w 2493"/>
                  <a:gd name="T105" fmla="*/ 525 h 1168"/>
                  <a:gd name="T106" fmla="*/ 45 w 2493"/>
                  <a:gd name="T107" fmla="*/ 357 h 1168"/>
                  <a:gd name="T108" fmla="*/ 133 w 2493"/>
                  <a:gd name="T109" fmla="*/ 213 h 1168"/>
                  <a:gd name="T110" fmla="*/ 256 w 2493"/>
                  <a:gd name="T111" fmla="*/ 100 h 1168"/>
                  <a:gd name="T112" fmla="*/ 408 w 2493"/>
                  <a:gd name="T113" fmla="*/ 26 h 1168"/>
                  <a:gd name="T114" fmla="*/ 581 w 2493"/>
                  <a:gd name="T115" fmla="*/ 0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93" h="1168">
                    <a:moveTo>
                      <a:pt x="581" y="165"/>
                    </a:moveTo>
                    <a:lnTo>
                      <a:pt x="533" y="168"/>
                    </a:lnTo>
                    <a:lnTo>
                      <a:pt x="486" y="176"/>
                    </a:lnTo>
                    <a:lnTo>
                      <a:pt x="441" y="190"/>
                    </a:lnTo>
                    <a:lnTo>
                      <a:pt x="398" y="208"/>
                    </a:lnTo>
                    <a:lnTo>
                      <a:pt x="358" y="231"/>
                    </a:lnTo>
                    <a:lnTo>
                      <a:pt x="321" y="257"/>
                    </a:lnTo>
                    <a:lnTo>
                      <a:pt x="286" y="289"/>
                    </a:lnTo>
                    <a:lnTo>
                      <a:pt x="256" y="322"/>
                    </a:lnTo>
                    <a:lnTo>
                      <a:pt x="229" y="360"/>
                    </a:lnTo>
                    <a:lnTo>
                      <a:pt x="207" y="400"/>
                    </a:lnTo>
                    <a:lnTo>
                      <a:pt x="188" y="443"/>
                    </a:lnTo>
                    <a:lnTo>
                      <a:pt x="175" y="488"/>
                    </a:lnTo>
                    <a:lnTo>
                      <a:pt x="167" y="535"/>
                    </a:lnTo>
                    <a:lnTo>
                      <a:pt x="164" y="585"/>
                    </a:lnTo>
                    <a:lnTo>
                      <a:pt x="167" y="633"/>
                    </a:lnTo>
                    <a:lnTo>
                      <a:pt x="175" y="680"/>
                    </a:lnTo>
                    <a:lnTo>
                      <a:pt x="188" y="725"/>
                    </a:lnTo>
                    <a:lnTo>
                      <a:pt x="207" y="768"/>
                    </a:lnTo>
                    <a:lnTo>
                      <a:pt x="229" y="809"/>
                    </a:lnTo>
                    <a:lnTo>
                      <a:pt x="256" y="846"/>
                    </a:lnTo>
                    <a:lnTo>
                      <a:pt x="286" y="881"/>
                    </a:lnTo>
                    <a:lnTo>
                      <a:pt x="321" y="911"/>
                    </a:lnTo>
                    <a:lnTo>
                      <a:pt x="358" y="937"/>
                    </a:lnTo>
                    <a:lnTo>
                      <a:pt x="398" y="961"/>
                    </a:lnTo>
                    <a:lnTo>
                      <a:pt x="441" y="979"/>
                    </a:lnTo>
                    <a:lnTo>
                      <a:pt x="486" y="992"/>
                    </a:lnTo>
                    <a:lnTo>
                      <a:pt x="533" y="1000"/>
                    </a:lnTo>
                    <a:lnTo>
                      <a:pt x="581" y="1003"/>
                    </a:lnTo>
                    <a:lnTo>
                      <a:pt x="1912" y="1003"/>
                    </a:lnTo>
                    <a:lnTo>
                      <a:pt x="1960" y="1000"/>
                    </a:lnTo>
                    <a:lnTo>
                      <a:pt x="2007" y="992"/>
                    </a:lnTo>
                    <a:lnTo>
                      <a:pt x="2052" y="979"/>
                    </a:lnTo>
                    <a:lnTo>
                      <a:pt x="2095" y="961"/>
                    </a:lnTo>
                    <a:lnTo>
                      <a:pt x="2135" y="937"/>
                    </a:lnTo>
                    <a:lnTo>
                      <a:pt x="2172" y="911"/>
                    </a:lnTo>
                    <a:lnTo>
                      <a:pt x="2207" y="881"/>
                    </a:lnTo>
                    <a:lnTo>
                      <a:pt x="2237" y="846"/>
                    </a:lnTo>
                    <a:lnTo>
                      <a:pt x="2263" y="809"/>
                    </a:lnTo>
                    <a:lnTo>
                      <a:pt x="2286" y="768"/>
                    </a:lnTo>
                    <a:lnTo>
                      <a:pt x="2305" y="725"/>
                    </a:lnTo>
                    <a:lnTo>
                      <a:pt x="2318" y="680"/>
                    </a:lnTo>
                    <a:lnTo>
                      <a:pt x="2326" y="633"/>
                    </a:lnTo>
                    <a:lnTo>
                      <a:pt x="2329" y="585"/>
                    </a:lnTo>
                    <a:lnTo>
                      <a:pt x="2326" y="535"/>
                    </a:lnTo>
                    <a:lnTo>
                      <a:pt x="2318" y="488"/>
                    </a:lnTo>
                    <a:lnTo>
                      <a:pt x="2305" y="443"/>
                    </a:lnTo>
                    <a:lnTo>
                      <a:pt x="2286" y="400"/>
                    </a:lnTo>
                    <a:lnTo>
                      <a:pt x="2263" y="360"/>
                    </a:lnTo>
                    <a:lnTo>
                      <a:pt x="2237" y="322"/>
                    </a:lnTo>
                    <a:lnTo>
                      <a:pt x="2207" y="289"/>
                    </a:lnTo>
                    <a:lnTo>
                      <a:pt x="2172" y="257"/>
                    </a:lnTo>
                    <a:lnTo>
                      <a:pt x="2135" y="231"/>
                    </a:lnTo>
                    <a:lnTo>
                      <a:pt x="2095" y="208"/>
                    </a:lnTo>
                    <a:lnTo>
                      <a:pt x="2052" y="190"/>
                    </a:lnTo>
                    <a:lnTo>
                      <a:pt x="2007" y="176"/>
                    </a:lnTo>
                    <a:lnTo>
                      <a:pt x="1960" y="168"/>
                    </a:lnTo>
                    <a:lnTo>
                      <a:pt x="1912" y="165"/>
                    </a:lnTo>
                    <a:lnTo>
                      <a:pt x="1652" y="165"/>
                    </a:lnTo>
                    <a:lnTo>
                      <a:pt x="1690" y="207"/>
                    </a:lnTo>
                    <a:lnTo>
                      <a:pt x="1724" y="252"/>
                    </a:lnTo>
                    <a:lnTo>
                      <a:pt x="1755" y="302"/>
                    </a:lnTo>
                    <a:lnTo>
                      <a:pt x="1781" y="353"/>
                    </a:lnTo>
                    <a:lnTo>
                      <a:pt x="1801" y="407"/>
                    </a:lnTo>
                    <a:lnTo>
                      <a:pt x="1815" y="464"/>
                    </a:lnTo>
                    <a:lnTo>
                      <a:pt x="1825" y="524"/>
                    </a:lnTo>
                    <a:lnTo>
                      <a:pt x="1828" y="585"/>
                    </a:lnTo>
                    <a:lnTo>
                      <a:pt x="1664" y="585"/>
                    </a:lnTo>
                    <a:lnTo>
                      <a:pt x="1661" y="535"/>
                    </a:lnTo>
                    <a:lnTo>
                      <a:pt x="1653" y="488"/>
                    </a:lnTo>
                    <a:lnTo>
                      <a:pt x="1639" y="443"/>
                    </a:lnTo>
                    <a:lnTo>
                      <a:pt x="1621" y="400"/>
                    </a:lnTo>
                    <a:lnTo>
                      <a:pt x="1598" y="360"/>
                    </a:lnTo>
                    <a:lnTo>
                      <a:pt x="1572" y="322"/>
                    </a:lnTo>
                    <a:lnTo>
                      <a:pt x="1541" y="289"/>
                    </a:lnTo>
                    <a:lnTo>
                      <a:pt x="1507" y="257"/>
                    </a:lnTo>
                    <a:lnTo>
                      <a:pt x="1470" y="231"/>
                    </a:lnTo>
                    <a:lnTo>
                      <a:pt x="1430" y="208"/>
                    </a:lnTo>
                    <a:lnTo>
                      <a:pt x="1387" y="190"/>
                    </a:lnTo>
                    <a:lnTo>
                      <a:pt x="1342" y="176"/>
                    </a:lnTo>
                    <a:lnTo>
                      <a:pt x="1295" y="168"/>
                    </a:lnTo>
                    <a:lnTo>
                      <a:pt x="1247" y="165"/>
                    </a:lnTo>
                    <a:lnTo>
                      <a:pt x="986" y="165"/>
                    </a:lnTo>
                    <a:lnTo>
                      <a:pt x="1025" y="207"/>
                    </a:lnTo>
                    <a:lnTo>
                      <a:pt x="1059" y="252"/>
                    </a:lnTo>
                    <a:lnTo>
                      <a:pt x="1090" y="302"/>
                    </a:lnTo>
                    <a:lnTo>
                      <a:pt x="1115" y="353"/>
                    </a:lnTo>
                    <a:lnTo>
                      <a:pt x="1135" y="407"/>
                    </a:lnTo>
                    <a:lnTo>
                      <a:pt x="1150" y="464"/>
                    </a:lnTo>
                    <a:lnTo>
                      <a:pt x="1159" y="524"/>
                    </a:lnTo>
                    <a:lnTo>
                      <a:pt x="1162" y="585"/>
                    </a:lnTo>
                    <a:lnTo>
                      <a:pt x="998" y="585"/>
                    </a:lnTo>
                    <a:lnTo>
                      <a:pt x="996" y="535"/>
                    </a:lnTo>
                    <a:lnTo>
                      <a:pt x="987" y="488"/>
                    </a:lnTo>
                    <a:lnTo>
                      <a:pt x="974" y="443"/>
                    </a:lnTo>
                    <a:lnTo>
                      <a:pt x="955" y="400"/>
                    </a:lnTo>
                    <a:lnTo>
                      <a:pt x="933" y="360"/>
                    </a:lnTo>
                    <a:lnTo>
                      <a:pt x="906" y="322"/>
                    </a:lnTo>
                    <a:lnTo>
                      <a:pt x="876" y="289"/>
                    </a:lnTo>
                    <a:lnTo>
                      <a:pt x="841" y="257"/>
                    </a:lnTo>
                    <a:lnTo>
                      <a:pt x="804" y="231"/>
                    </a:lnTo>
                    <a:lnTo>
                      <a:pt x="765" y="208"/>
                    </a:lnTo>
                    <a:lnTo>
                      <a:pt x="721" y="190"/>
                    </a:lnTo>
                    <a:lnTo>
                      <a:pt x="677" y="176"/>
                    </a:lnTo>
                    <a:lnTo>
                      <a:pt x="629" y="168"/>
                    </a:lnTo>
                    <a:lnTo>
                      <a:pt x="581" y="165"/>
                    </a:lnTo>
                    <a:lnTo>
                      <a:pt x="581" y="165"/>
                    </a:lnTo>
                    <a:close/>
                    <a:moveTo>
                      <a:pt x="581" y="0"/>
                    </a:moveTo>
                    <a:lnTo>
                      <a:pt x="1912" y="0"/>
                    </a:lnTo>
                    <a:lnTo>
                      <a:pt x="1972" y="3"/>
                    </a:lnTo>
                    <a:lnTo>
                      <a:pt x="2029" y="12"/>
                    </a:lnTo>
                    <a:lnTo>
                      <a:pt x="2085" y="26"/>
                    </a:lnTo>
                    <a:lnTo>
                      <a:pt x="2138" y="46"/>
                    </a:lnTo>
                    <a:lnTo>
                      <a:pt x="2188" y="71"/>
                    </a:lnTo>
                    <a:lnTo>
                      <a:pt x="2237" y="100"/>
                    </a:lnTo>
                    <a:lnTo>
                      <a:pt x="2281" y="133"/>
                    </a:lnTo>
                    <a:lnTo>
                      <a:pt x="2323" y="171"/>
                    </a:lnTo>
                    <a:lnTo>
                      <a:pt x="2360" y="213"/>
                    </a:lnTo>
                    <a:lnTo>
                      <a:pt x="2393" y="258"/>
                    </a:lnTo>
                    <a:lnTo>
                      <a:pt x="2423" y="306"/>
                    </a:lnTo>
                    <a:lnTo>
                      <a:pt x="2448" y="357"/>
                    </a:lnTo>
                    <a:lnTo>
                      <a:pt x="2467" y="410"/>
                    </a:lnTo>
                    <a:lnTo>
                      <a:pt x="2481" y="467"/>
                    </a:lnTo>
                    <a:lnTo>
                      <a:pt x="2490" y="525"/>
                    </a:lnTo>
                    <a:lnTo>
                      <a:pt x="2493" y="585"/>
                    </a:lnTo>
                    <a:lnTo>
                      <a:pt x="2490" y="643"/>
                    </a:lnTo>
                    <a:lnTo>
                      <a:pt x="2481" y="702"/>
                    </a:lnTo>
                    <a:lnTo>
                      <a:pt x="2467" y="758"/>
                    </a:lnTo>
                    <a:lnTo>
                      <a:pt x="2448" y="812"/>
                    </a:lnTo>
                    <a:lnTo>
                      <a:pt x="2423" y="862"/>
                    </a:lnTo>
                    <a:lnTo>
                      <a:pt x="2393" y="911"/>
                    </a:lnTo>
                    <a:lnTo>
                      <a:pt x="2360" y="956"/>
                    </a:lnTo>
                    <a:lnTo>
                      <a:pt x="2323" y="997"/>
                    </a:lnTo>
                    <a:lnTo>
                      <a:pt x="2281" y="1035"/>
                    </a:lnTo>
                    <a:lnTo>
                      <a:pt x="2237" y="1068"/>
                    </a:lnTo>
                    <a:lnTo>
                      <a:pt x="2188" y="1097"/>
                    </a:lnTo>
                    <a:lnTo>
                      <a:pt x="2138" y="1122"/>
                    </a:lnTo>
                    <a:lnTo>
                      <a:pt x="2085" y="1142"/>
                    </a:lnTo>
                    <a:lnTo>
                      <a:pt x="2029" y="1156"/>
                    </a:lnTo>
                    <a:lnTo>
                      <a:pt x="1972" y="1165"/>
                    </a:lnTo>
                    <a:lnTo>
                      <a:pt x="1912" y="1168"/>
                    </a:lnTo>
                    <a:lnTo>
                      <a:pt x="581" y="1168"/>
                    </a:lnTo>
                    <a:lnTo>
                      <a:pt x="521" y="1165"/>
                    </a:lnTo>
                    <a:lnTo>
                      <a:pt x="464" y="1156"/>
                    </a:lnTo>
                    <a:lnTo>
                      <a:pt x="408" y="1142"/>
                    </a:lnTo>
                    <a:lnTo>
                      <a:pt x="355" y="1122"/>
                    </a:lnTo>
                    <a:lnTo>
                      <a:pt x="304" y="1097"/>
                    </a:lnTo>
                    <a:lnTo>
                      <a:pt x="256" y="1068"/>
                    </a:lnTo>
                    <a:lnTo>
                      <a:pt x="212" y="1035"/>
                    </a:lnTo>
                    <a:lnTo>
                      <a:pt x="170" y="997"/>
                    </a:lnTo>
                    <a:lnTo>
                      <a:pt x="133" y="956"/>
                    </a:lnTo>
                    <a:lnTo>
                      <a:pt x="100" y="911"/>
                    </a:lnTo>
                    <a:lnTo>
                      <a:pt x="70" y="862"/>
                    </a:lnTo>
                    <a:lnTo>
                      <a:pt x="45" y="812"/>
                    </a:lnTo>
                    <a:lnTo>
                      <a:pt x="26" y="758"/>
                    </a:lnTo>
                    <a:lnTo>
                      <a:pt x="12" y="702"/>
                    </a:lnTo>
                    <a:lnTo>
                      <a:pt x="3" y="643"/>
                    </a:lnTo>
                    <a:lnTo>
                      <a:pt x="0" y="585"/>
                    </a:lnTo>
                    <a:lnTo>
                      <a:pt x="3" y="525"/>
                    </a:lnTo>
                    <a:lnTo>
                      <a:pt x="12" y="467"/>
                    </a:lnTo>
                    <a:lnTo>
                      <a:pt x="26" y="410"/>
                    </a:lnTo>
                    <a:lnTo>
                      <a:pt x="45" y="357"/>
                    </a:lnTo>
                    <a:lnTo>
                      <a:pt x="70" y="306"/>
                    </a:lnTo>
                    <a:lnTo>
                      <a:pt x="100" y="258"/>
                    </a:lnTo>
                    <a:lnTo>
                      <a:pt x="133" y="213"/>
                    </a:lnTo>
                    <a:lnTo>
                      <a:pt x="170" y="171"/>
                    </a:lnTo>
                    <a:lnTo>
                      <a:pt x="212" y="133"/>
                    </a:lnTo>
                    <a:lnTo>
                      <a:pt x="256" y="100"/>
                    </a:lnTo>
                    <a:lnTo>
                      <a:pt x="304" y="71"/>
                    </a:lnTo>
                    <a:lnTo>
                      <a:pt x="355" y="46"/>
                    </a:lnTo>
                    <a:lnTo>
                      <a:pt x="408" y="26"/>
                    </a:lnTo>
                    <a:lnTo>
                      <a:pt x="464" y="12"/>
                    </a:lnTo>
                    <a:lnTo>
                      <a:pt x="521" y="3"/>
                    </a:lnTo>
                    <a:lnTo>
                      <a:pt x="58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142" name="Group 120"/>
            <p:cNvGrpSpPr>
              <a:grpSpLocks noChangeAspect="1"/>
            </p:cNvGrpSpPr>
            <p:nvPr/>
          </p:nvGrpSpPr>
          <p:grpSpPr bwMode="auto">
            <a:xfrm>
              <a:off x="10057654" y="2331528"/>
              <a:ext cx="453648" cy="453648"/>
              <a:chOff x="3705" y="3502"/>
              <a:chExt cx="223" cy="223"/>
            </a:xfrm>
          </p:grpSpPr>
          <p:sp>
            <p:nvSpPr>
              <p:cNvPr id="143" name="Rectangle 121"/>
              <p:cNvSpPr>
                <a:spLocks noChangeArrowheads="1"/>
              </p:cNvSpPr>
              <p:nvPr/>
            </p:nvSpPr>
            <p:spPr bwMode="auto">
              <a:xfrm>
                <a:off x="3705" y="3502"/>
                <a:ext cx="223" cy="223"/>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44" name="Rectangle 122"/>
              <p:cNvSpPr>
                <a:spLocks noChangeArrowheads="1"/>
              </p:cNvSpPr>
              <p:nvPr/>
            </p:nvSpPr>
            <p:spPr bwMode="auto">
              <a:xfrm>
                <a:off x="3705" y="3502"/>
                <a:ext cx="223" cy="223"/>
              </a:xfrm>
              <a:prstGeom prst="rect">
                <a:avLst/>
              </a:prstGeom>
              <a:solidFill>
                <a:srgbClr val="99D0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45" name="Freeform 123"/>
              <p:cNvSpPr>
                <a:spLocks noEditPoints="1"/>
              </p:cNvSpPr>
              <p:nvPr/>
            </p:nvSpPr>
            <p:spPr bwMode="auto">
              <a:xfrm>
                <a:off x="3772" y="3525"/>
                <a:ext cx="89" cy="161"/>
              </a:xfrm>
              <a:custGeom>
                <a:avLst/>
                <a:gdLst>
                  <a:gd name="T0" fmla="*/ 275 w 1334"/>
                  <a:gd name="T1" fmla="*/ 843 h 2419"/>
                  <a:gd name="T2" fmla="*/ 205 w 1334"/>
                  <a:gd name="T3" fmla="*/ 893 h 2419"/>
                  <a:gd name="T4" fmla="*/ 169 w 1334"/>
                  <a:gd name="T5" fmla="*/ 970 h 2419"/>
                  <a:gd name="T6" fmla="*/ 501 w 1334"/>
                  <a:gd name="T7" fmla="*/ 1084 h 2419"/>
                  <a:gd name="T8" fmla="*/ 166 w 1334"/>
                  <a:gd name="T9" fmla="*/ 1419 h 2419"/>
                  <a:gd name="T10" fmla="*/ 166 w 1334"/>
                  <a:gd name="T11" fmla="*/ 1584 h 2419"/>
                  <a:gd name="T12" fmla="*/ 501 w 1334"/>
                  <a:gd name="T13" fmla="*/ 1917 h 2419"/>
                  <a:gd name="T14" fmla="*/ 169 w 1334"/>
                  <a:gd name="T15" fmla="*/ 2116 h 2419"/>
                  <a:gd name="T16" fmla="*/ 205 w 1334"/>
                  <a:gd name="T17" fmla="*/ 2194 h 2419"/>
                  <a:gd name="T18" fmla="*/ 275 w 1334"/>
                  <a:gd name="T19" fmla="*/ 2243 h 2419"/>
                  <a:gd name="T20" fmla="*/ 1002 w 1334"/>
                  <a:gd name="T21" fmla="*/ 2254 h 2419"/>
                  <a:gd name="T22" fmla="*/ 1086 w 1334"/>
                  <a:gd name="T23" fmla="*/ 2231 h 2419"/>
                  <a:gd name="T24" fmla="*/ 1147 w 1334"/>
                  <a:gd name="T25" fmla="*/ 2171 h 2419"/>
                  <a:gd name="T26" fmla="*/ 1170 w 1334"/>
                  <a:gd name="T27" fmla="*/ 2086 h 2419"/>
                  <a:gd name="T28" fmla="*/ 1159 w 1334"/>
                  <a:gd name="T29" fmla="*/ 941 h 2419"/>
                  <a:gd name="T30" fmla="*/ 1110 w 1334"/>
                  <a:gd name="T31" fmla="*/ 872 h 2419"/>
                  <a:gd name="T32" fmla="*/ 1032 w 1334"/>
                  <a:gd name="T33" fmla="*/ 835 h 2419"/>
                  <a:gd name="T34" fmla="*/ 501 w 1334"/>
                  <a:gd name="T35" fmla="*/ 498 h 2419"/>
                  <a:gd name="T36" fmla="*/ 441 w 1334"/>
                  <a:gd name="T37" fmla="*/ 524 h 2419"/>
                  <a:gd name="T38" fmla="*/ 416 w 1334"/>
                  <a:gd name="T39" fmla="*/ 582 h 2419"/>
                  <a:gd name="T40" fmla="*/ 919 w 1334"/>
                  <a:gd name="T41" fmla="*/ 582 h 2419"/>
                  <a:gd name="T42" fmla="*/ 895 w 1334"/>
                  <a:gd name="T43" fmla="*/ 523 h 2419"/>
                  <a:gd name="T44" fmla="*/ 835 w 1334"/>
                  <a:gd name="T45" fmla="*/ 498 h 2419"/>
                  <a:gd name="T46" fmla="*/ 645 w 1334"/>
                  <a:gd name="T47" fmla="*/ 168 h 2419"/>
                  <a:gd name="T48" fmla="*/ 595 w 1334"/>
                  <a:gd name="T49" fmla="*/ 206 h 2419"/>
                  <a:gd name="T50" fmla="*/ 583 w 1334"/>
                  <a:gd name="T51" fmla="*/ 333 h 2419"/>
                  <a:gd name="T52" fmla="*/ 750 w 1334"/>
                  <a:gd name="T53" fmla="*/ 227 h 2419"/>
                  <a:gd name="T54" fmla="*/ 710 w 1334"/>
                  <a:gd name="T55" fmla="*/ 176 h 2419"/>
                  <a:gd name="T56" fmla="*/ 667 w 1334"/>
                  <a:gd name="T57" fmla="*/ 0 h 2419"/>
                  <a:gd name="T58" fmla="*/ 773 w 1334"/>
                  <a:gd name="T59" fmla="*/ 23 h 2419"/>
                  <a:gd name="T60" fmla="*/ 856 w 1334"/>
                  <a:gd name="T61" fmla="*/ 85 h 2419"/>
                  <a:gd name="T62" fmla="*/ 907 w 1334"/>
                  <a:gd name="T63" fmla="*/ 177 h 2419"/>
                  <a:gd name="T64" fmla="*/ 918 w 1334"/>
                  <a:gd name="T65" fmla="*/ 347 h 2419"/>
                  <a:gd name="T66" fmla="*/ 1013 w 1334"/>
                  <a:gd name="T67" fmla="*/ 408 h 2419"/>
                  <a:gd name="T68" fmla="*/ 1072 w 1334"/>
                  <a:gd name="T69" fmla="*/ 505 h 2419"/>
                  <a:gd name="T70" fmla="*/ 1084 w 1334"/>
                  <a:gd name="T71" fmla="*/ 678 h 2419"/>
                  <a:gd name="T72" fmla="*/ 1202 w 1334"/>
                  <a:gd name="T73" fmla="*/ 734 h 2419"/>
                  <a:gd name="T74" fmla="*/ 1288 w 1334"/>
                  <a:gd name="T75" fmla="*/ 830 h 2419"/>
                  <a:gd name="T76" fmla="*/ 1331 w 1334"/>
                  <a:gd name="T77" fmla="*/ 954 h 2419"/>
                  <a:gd name="T78" fmla="*/ 1331 w 1334"/>
                  <a:gd name="T79" fmla="*/ 2131 h 2419"/>
                  <a:gd name="T80" fmla="*/ 1290 w 1334"/>
                  <a:gd name="T81" fmla="*/ 2254 h 2419"/>
                  <a:gd name="T82" fmla="*/ 1206 w 1334"/>
                  <a:gd name="T83" fmla="*/ 2349 h 2419"/>
                  <a:gd name="T84" fmla="*/ 1090 w 1334"/>
                  <a:gd name="T85" fmla="*/ 2407 h 2419"/>
                  <a:gd name="T86" fmla="*/ 334 w 1334"/>
                  <a:gd name="T87" fmla="*/ 2419 h 2419"/>
                  <a:gd name="T88" fmla="*/ 204 w 1334"/>
                  <a:gd name="T89" fmla="*/ 2393 h 2419"/>
                  <a:gd name="T90" fmla="*/ 99 w 1334"/>
                  <a:gd name="T91" fmla="*/ 2321 h 2419"/>
                  <a:gd name="T92" fmla="*/ 27 w 1334"/>
                  <a:gd name="T93" fmla="*/ 2215 h 2419"/>
                  <a:gd name="T94" fmla="*/ 0 w 1334"/>
                  <a:gd name="T95" fmla="*/ 2086 h 2419"/>
                  <a:gd name="T96" fmla="*/ 13 w 1334"/>
                  <a:gd name="T97" fmla="*/ 911 h 2419"/>
                  <a:gd name="T98" fmla="*/ 72 w 1334"/>
                  <a:gd name="T99" fmla="*/ 794 h 2419"/>
                  <a:gd name="T100" fmla="*/ 170 w 1334"/>
                  <a:gd name="T101" fmla="*/ 710 h 2419"/>
                  <a:gd name="T102" fmla="*/ 251 w 1334"/>
                  <a:gd name="T103" fmla="*/ 582 h 2419"/>
                  <a:gd name="T104" fmla="*/ 278 w 1334"/>
                  <a:gd name="T105" fmla="*/ 470 h 2419"/>
                  <a:gd name="T106" fmla="*/ 351 w 1334"/>
                  <a:gd name="T107" fmla="*/ 384 h 2419"/>
                  <a:gd name="T108" fmla="*/ 418 w 1334"/>
                  <a:gd name="T109" fmla="*/ 249 h 2419"/>
                  <a:gd name="T110" fmla="*/ 441 w 1334"/>
                  <a:gd name="T111" fmla="*/ 144 h 2419"/>
                  <a:gd name="T112" fmla="*/ 504 w 1334"/>
                  <a:gd name="T113" fmla="*/ 60 h 2419"/>
                  <a:gd name="T114" fmla="*/ 595 w 1334"/>
                  <a:gd name="T115" fmla="*/ 10 h 2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34" h="2419">
                    <a:moveTo>
                      <a:pt x="334" y="833"/>
                    </a:moveTo>
                    <a:lnTo>
                      <a:pt x="304" y="835"/>
                    </a:lnTo>
                    <a:lnTo>
                      <a:pt x="275" y="843"/>
                    </a:lnTo>
                    <a:lnTo>
                      <a:pt x="249" y="855"/>
                    </a:lnTo>
                    <a:lnTo>
                      <a:pt x="226" y="872"/>
                    </a:lnTo>
                    <a:lnTo>
                      <a:pt x="205" y="893"/>
                    </a:lnTo>
                    <a:lnTo>
                      <a:pt x="189" y="916"/>
                    </a:lnTo>
                    <a:lnTo>
                      <a:pt x="177" y="941"/>
                    </a:lnTo>
                    <a:lnTo>
                      <a:pt x="169" y="970"/>
                    </a:lnTo>
                    <a:lnTo>
                      <a:pt x="166" y="1000"/>
                    </a:lnTo>
                    <a:lnTo>
                      <a:pt x="166" y="1084"/>
                    </a:lnTo>
                    <a:lnTo>
                      <a:pt x="501" y="1084"/>
                    </a:lnTo>
                    <a:lnTo>
                      <a:pt x="501" y="1249"/>
                    </a:lnTo>
                    <a:lnTo>
                      <a:pt x="166" y="1249"/>
                    </a:lnTo>
                    <a:lnTo>
                      <a:pt x="166" y="1419"/>
                    </a:lnTo>
                    <a:lnTo>
                      <a:pt x="501" y="1419"/>
                    </a:lnTo>
                    <a:lnTo>
                      <a:pt x="501" y="1584"/>
                    </a:lnTo>
                    <a:lnTo>
                      <a:pt x="166" y="1584"/>
                    </a:lnTo>
                    <a:lnTo>
                      <a:pt x="166" y="1752"/>
                    </a:lnTo>
                    <a:lnTo>
                      <a:pt x="501" y="1752"/>
                    </a:lnTo>
                    <a:lnTo>
                      <a:pt x="501" y="1917"/>
                    </a:lnTo>
                    <a:lnTo>
                      <a:pt x="166" y="1917"/>
                    </a:lnTo>
                    <a:lnTo>
                      <a:pt x="166" y="2086"/>
                    </a:lnTo>
                    <a:lnTo>
                      <a:pt x="169" y="2116"/>
                    </a:lnTo>
                    <a:lnTo>
                      <a:pt x="177" y="2144"/>
                    </a:lnTo>
                    <a:lnTo>
                      <a:pt x="189" y="2171"/>
                    </a:lnTo>
                    <a:lnTo>
                      <a:pt x="205" y="2194"/>
                    </a:lnTo>
                    <a:lnTo>
                      <a:pt x="226" y="2214"/>
                    </a:lnTo>
                    <a:lnTo>
                      <a:pt x="249" y="2231"/>
                    </a:lnTo>
                    <a:lnTo>
                      <a:pt x="275" y="2243"/>
                    </a:lnTo>
                    <a:lnTo>
                      <a:pt x="304" y="2251"/>
                    </a:lnTo>
                    <a:lnTo>
                      <a:pt x="334" y="2254"/>
                    </a:lnTo>
                    <a:lnTo>
                      <a:pt x="1002" y="2254"/>
                    </a:lnTo>
                    <a:lnTo>
                      <a:pt x="1032" y="2251"/>
                    </a:lnTo>
                    <a:lnTo>
                      <a:pt x="1061" y="2243"/>
                    </a:lnTo>
                    <a:lnTo>
                      <a:pt x="1086" y="2231"/>
                    </a:lnTo>
                    <a:lnTo>
                      <a:pt x="1110" y="2214"/>
                    </a:lnTo>
                    <a:lnTo>
                      <a:pt x="1131" y="2194"/>
                    </a:lnTo>
                    <a:lnTo>
                      <a:pt x="1147" y="2171"/>
                    </a:lnTo>
                    <a:lnTo>
                      <a:pt x="1159" y="2144"/>
                    </a:lnTo>
                    <a:lnTo>
                      <a:pt x="1167" y="2116"/>
                    </a:lnTo>
                    <a:lnTo>
                      <a:pt x="1170" y="2086"/>
                    </a:lnTo>
                    <a:lnTo>
                      <a:pt x="1170" y="1000"/>
                    </a:lnTo>
                    <a:lnTo>
                      <a:pt x="1167" y="970"/>
                    </a:lnTo>
                    <a:lnTo>
                      <a:pt x="1159" y="941"/>
                    </a:lnTo>
                    <a:lnTo>
                      <a:pt x="1147" y="916"/>
                    </a:lnTo>
                    <a:lnTo>
                      <a:pt x="1131" y="893"/>
                    </a:lnTo>
                    <a:lnTo>
                      <a:pt x="1110" y="872"/>
                    </a:lnTo>
                    <a:lnTo>
                      <a:pt x="1086" y="855"/>
                    </a:lnTo>
                    <a:lnTo>
                      <a:pt x="1061" y="843"/>
                    </a:lnTo>
                    <a:lnTo>
                      <a:pt x="1032" y="835"/>
                    </a:lnTo>
                    <a:lnTo>
                      <a:pt x="1002" y="833"/>
                    </a:lnTo>
                    <a:lnTo>
                      <a:pt x="334" y="833"/>
                    </a:lnTo>
                    <a:close/>
                    <a:moveTo>
                      <a:pt x="501" y="498"/>
                    </a:moveTo>
                    <a:lnTo>
                      <a:pt x="478" y="501"/>
                    </a:lnTo>
                    <a:lnTo>
                      <a:pt x="459" y="510"/>
                    </a:lnTo>
                    <a:lnTo>
                      <a:pt x="441" y="524"/>
                    </a:lnTo>
                    <a:lnTo>
                      <a:pt x="428" y="540"/>
                    </a:lnTo>
                    <a:lnTo>
                      <a:pt x="419" y="560"/>
                    </a:lnTo>
                    <a:lnTo>
                      <a:pt x="416" y="582"/>
                    </a:lnTo>
                    <a:lnTo>
                      <a:pt x="416" y="668"/>
                    </a:lnTo>
                    <a:lnTo>
                      <a:pt x="919" y="668"/>
                    </a:lnTo>
                    <a:lnTo>
                      <a:pt x="919" y="582"/>
                    </a:lnTo>
                    <a:lnTo>
                      <a:pt x="916" y="560"/>
                    </a:lnTo>
                    <a:lnTo>
                      <a:pt x="908" y="540"/>
                    </a:lnTo>
                    <a:lnTo>
                      <a:pt x="895" y="523"/>
                    </a:lnTo>
                    <a:lnTo>
                      <a:pt x="877" y="509"/>
                    </a:lnTo>
                    <a:lnTo>
                      <a:pt x="857" y="501"/>
                    </a:lnTo>
                    <a:lnTo>
                      <a:pt x="835" y="498"/>
                    </a:lnTo>
                    <a:lnTo>
                      <a:pt x="501" y="498"/>
                    </a:lnTo>
                    <a:close/>
                    <a:moveTo>
                      <a:pt x="667" y="165"/>
                    </a:moveTo>
                    <a:lnTo>
                      <a:pt x="645" y="168"/>
                    </a:lnTo>
                    <a:lnTo>
                      <a:pt x="625" y="176"/>
                    </a:lnTo>
                    <a:lnTo>
                      <a:pt x="609" y="189"/>
                    </a:lnTo>
                    <a:lnTo>
                      <a:pt x="595" y="206"/>
                    </a:lnTo>
                    <a:lnTo>
                      <a:pt x="586" y="227"/>
                    </a:lnTo>
                    <a:lnTo>
                      <a:pt x="583" y="249"/>
                    </a:lnTo>
                    <a:lnTo>
                      <a:pt x="583" y="333"/>
                    </a:lnTo>
                    <a:lnTo>
                      <a:pt x="753" y="333"/>
                    </a:lnTo>
                    <a:lnTo>
                      <a:pt x="753" y="249"/>
                    </a:lnTo>
                    <a:lnTo>
                      <a:pt x="750" y="227"/>
                    </a:lnTo>
                    <a:lnTo>
                      <a:pt x="740" y="206"/>
                    </a:lnTo>
                    <a:lnTo>
                      <a:pt x="727" y="189"/>
                    </a:lnTo>
                    <a:lnTo>
                      <a:pt x="710" y="176"/>
                    </a:lnTo>
                    <a:lnTo>
                      <a:pt x="690" y="168"/>
                    </a:lnTo>
                    <a:lnTo>
                      <a:pt x="667" y="165"/>
                    </a:lnTo>
                    <a:close/>
                    <a:moveTo>
                      <a:pt x="667" y="0"/>
                    </a:moveTo>
                    <a:lnTo>
                      <a:pt x="705" y="2"/>
                    </a:lnTo>
                    <a:lnTo>
                      <a:pt x="739" y="10"/>
                    </a:lnTo>
                    <a:lnTo>
                      <a:pt x="773" y="23"/>
                    </a:lnTo>
                    <a:lnTo>
                      <a:pt x="803" y="39"/>
                    </a:lnTo>
                    <a:lnTo>
                      <a:pt x="832" y="60"/>
                    </a:lnTo>
                    <a:lnTo>
                      <a:pt x="856" y="85"/>
                    </a:lnTo>
                    <a:lnTo>
                      <a:pt x="877" y="113"/>
                    </a:lnTo>
                    <a:lnTo>
                      <a:pt x="895" y="144"/>
                    </a:lnTo>
                    <a:lnTo>
                      <a:pt x="907" y="177"/>
                    </a:lnTo>
                    <a:lnTo>
                      <a:pt x="915" y="211"/>
                    </a:lnTo>
                    <a:lnTo>
                      <a:pt x="918" y="249"/>
                    </a:lnTo>
                    <a:lnTo>
                      <a:pt x="918" y="347"/>
                    </a:lnTo>
                    <a:lnTo>
                      <a:pt x="952" y="362"/>
                    </a:lnTo>
                    <a:lnTo>
                      <a:pt x="985" y="384"/>
                    </a:lnTo>
                    <a:lnTo>
                      <a:pt x="1013" y="408"/>
                    </a:lnTo>
                    <a:lnTo>
                      <a:pt x="1037" y="437"/>
                    </a:lnTo>
                    <a:lnTo>
                      <a:pt x="1058" y="470"/>
                    </a:lnTo>
                    <a:lnTo>
                      <a:pt x="1072" y="505"/>
                    </a:lnTo>
                    <a:lnTo>
                      <a:pt x="1081" y="543"/>
                    </a:lnTo>
                    <a:lnTo>
                      <a:pt x="1084" y="582"/>
                    </a:lnTo>
                    <a:lnTo>
                      <a:pt x="1084" y="678"/>
                    </a:lnTo>
                    <a:lnTo>
                      <a:pt x="1127" y="691"/>
                    </a:lnTo>
                    <a:lnTo>
                      <a:pt x="1166" y="710"/>
                    </a:lnTo>
                    <a:lnTo>
                      <a:pt x="1202" y="734"/>
                    </a:lnTo>
                    <a:lnTo>
                      <a:pt x="1235" y="762"/>
                    </a:lnTo>
                    <a:lnTo>
                      <a:pt x="1263" y="794"/>
                    </a:lnTo>
                    <a:lnTo>
                      <a:pt x="1288" y="830"/>
                    </a:lnTo>
                    <a:lnTo>
                      <a:pt x="1308" y="869"/>
                    </a:lnTo>
                    <a:lnTo>
                      <a:pt x="1322" y="911"/>
                    </a:lnTo>
                    <a:lnTo>
                      <a:pt x="1331" y="954"/>
                    </a:lnTo>
                    <a:lnTo>
                      <a:pt x="1334" y="1000"/>
                    </a:lnTo>
                    <a:lnTo>
                      <a:pt x="1334" y="2086"/>
                    </a:lnTo>
                    <a:lnTo>
                      <a:pt x="1331" y="2131"/>
                    </a:lnTo>
                    <a:lnTo>
                      <a:pt x="1323" y="2174"/>
                    </a:lnTo>
                    <a:lnTo>
                      <a:pt x="1309" y="2215"/>
                    </a:lnTo>
                    <a:lnTo>
                      <a:pt x="1290" y="2254"/>
                    </a:lnTo>
                    <a:lnTo>
                      <a:pt x="1266" y="2289"/>
                    </a:lnTo>
                    <a:lnTo>
                      <a:pt x="1237" y="2321"/>
                    </a:lnTo>
                    <a:lnTo>
                      <a:pt x="1206" y="2349"/>
                    </a:lnTo>
                    <a:lnTo>
                      <a:pt x="1170" y="2374"/>
                    </a:lnTo>
                    <a:lnTo>
                      <a:pt x="1132" y="2393"/>
                    </a:lnTo>
                    <a:lnTo>
                      <a:pt x="1090" y="2407"/>
                    </a:lnTo>
                    <a:lnTo>
                      <a:pt x="1047" y="2416"/>
                    </a:lnTo>
                    <a:lnTo>
                      <a:pt x="1002" y="2419"/>
                    </a:lnTo>
                    <a:lnTo>
                      <a:pt x="334" y="2419"/>
                    </a:lnTo>
                    <a:lnTo>
                      <a:pt x="288" y="2416"/>
                    </a:lnTo>
                    <a:lnTo>
                      <a:pt x="246" y="2407"/>
                    </a:lnTo>
                    <a:lnTo>
                      <a:pt x="204" y="2393"/>
                    </a:lnTo>
                    <a:lnTo>
                      <a:pt x="166" y="2374"/>
                    </a:lnTo>
                    <a:lnTo>
                      <a:pt x="130" y="2349"/>
                    </a:lnTo>
                    <a:lnTo>
                      <a:pt x="99" y="2321"/>
                    </a:lnTo>
                    <a:lnTo>
                      <a:pt x="70" y="2289"/>
                    </a:lnTo>
                    <a:lnTo>
                      <a:pt x="46" y="2254"/>
                    </a:lnTo>
                    <a:lnTo>
                      <a:pt x="27" y="2215"/>
                    </a:lnTo>
                    <a:lnTo>
                      <a:pt x="13" y="2174"/>
                    </a:lnTo>
                    <a:lnTo>
                      <a:pt x="4" y="2131"/>
                    </a:lnTo>
                    <a:lnTo>
                      <a:pt x="0" y="2086"/>
                    </a:lnTo>
                    <a:lnTo>
                      <a:pt x="0" y="1000"/>
                    </a:lnTo>
                    <a:lnTo>
                      <a:pt x="4" y="954"/>
                    </a:lnTo>
                    <a:lnTo>
                      <a:pt x="13" y="911"/>
                    </a:lnTo>
                    <a:lnTo>
                      <a:pt x="28" y="869"/>
                    </a:lnTo>
                    <a:lnTo>
                      <a:pt x="47" y="830"/>
                    </a:lnTo>
                    <a:lnTo>
                      <a:pt x="72" y="794"/>
                    </a:lnTo>
                    <a:lnTo>
                      <a:pt x="101" y="762"/>
                    </a:lnTo>
                    <a:lnTo>
                      <a:pt x="133" y="734"/>
                    </a:lnTo>
                    <a:lnTo>
                      <a:pt x="170" y="710"/>
                    </a:lnTo>
                    <a:lnTo>
                      <a:pt x="209" y="691"/>
                    </a:lnTo>
                    <a:lnTo>
                      <a:pt x="251" y="678"/>
                    </a:lnTo>
                    <a:lnTo>
                      <a:pt x="251" y="582"/>
                    </a:lnTo>
                    <a:lnTo>
                      <a:pt x="255" y="543"/>
                    </a:lnTo>
                    <a:lnTo>
                      <a:pt x="264" y="505"/>
                    </a:lnTo>
                    <a:lnTo>
                      <a:pt x="278" y="470"/>
                    </a:lnTo>
                    <a:lnTo>
                      <a:pt x="298" y="437"/>
                    </a:lnTo>
                    <a:lnTo>
                      <a:pt x="323" y="408"/>
                    </a:lnTo>
                    <a:lnTo>
                      <a:pt x="351" y="384"/>
                    </a:lnTo>
                    <a:lnTo>
                      <a:pt x="384" y="362"/>
                    </a:lnTo>
                    <a:lnTo>
                      <a:pt x="418" y="347"/>
                    </a:lnTo>
                    <a:lnTo>
                      <a:pt x="418" y="249"/>
                    </a:lnTo>
                    <a:lnTo>
                      <a:pt x="421" y="211"/>
                    </a:lnTo>
                    <a:lnTo>
                      <a:pt x="429" y="177"/>
                    </a:lnTo>
                    <a:lnTo>
                      <a:pt x="441" y="144"/>
                    </a:lnTo>
                    <a:lnTo>
                      <a:pt x="459" y="113"/>
                    </a:lnTo>
                    <a:lnTo>
                      <a:pt x="480" y="85"/>
                    </a:lnTo>
                    <a:lnTo>
                      <a:pt x="504" y="60"/>
                    </a:lnTo>
                    <a:lnTo>
                      <a:pt x="532" y="39"/>
                    </a:lnTo>
                    <a:lnTo>
                      <a:pt x="563" y="23"/>
                    </a:lnTo>
                    <a:lnTo>
                      <a:pt x="595" y="10"/>
                    </a:lnTo>
                    <a:lnTo>
                      <a:pt x="631" y="2"/>
                    </a:lnTo>
                    <a:lnTo>
                      <a:pt x="66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146" name="Group 135"/>
            <p:cNvGrpSpPr>
              <a:grpSpLocks noChangeAspect="1"/>
            </p:cNvGrpSpPr>
            <p:nvPr/>
          </p:nvGrpSpPr>
          <p:grpSpPr bwMode="auto">
            <a:xfrm>
              <a:off x="8714885" y="2319007"/>
              <a:ext cx="451606" cy="453648"/>
              <a:chOff x="4233" y="3502"/>
              <a:chExt cx="222" cy="223"/>
            </a:xfrm>
          </p:grpSpPr>
          <p:sp>
            <p:nvSpPr>
              <p:cNvPr id="147" name="Rectangle 136"/>
              <p:cNvSpPr>
                <a:spLocks noChangeArrowheads="1"/>
              </p:cNvSpPr>
              <p:nvPr/>
            </p:nvSpPr>
            <p:spPr bwMode="auto">
              <a:xfrm>
                <a:off x="4233" y="3502"/>
                <a:ext cx="222" cy="223"/>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48" name="Rectangle 137"/>
              <p:cNvSpPr>
                <a:spLocks noChangeArrowheads="1"/>
              </p:cNvSpPr>
              <p:nvPr/>
            </p:nvSpPr>
            <p:spPr bwMode="auto">
              <a:xfrm>
                <a:off x="4233" y="3502"/>
                <a:ext cx="222" cy="223"/>
              </a:xfrm>
              <a:prstGeom prst="rect">
                <a:avLst/>
              </a:prstGeom>
              <a:solidFill>
                <a:srgbClr val="99D0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49" name="Freeform 138"/>
              <p:cNvSpPr>
                <a:spLocks/>
              </p:cNvSpPr>
              <p:nvPr/>
            </p:nvSpPr>
            <p:spPr bwMode="auto">
              <a:xfrm>
                <a:off x="4321" y="3614"/>
                <a:ext cx="11" cy="11"/>
              </a:xfrm>
              <a:custGeom>
                <a:avLst/>
                <a:gdLst>
                  <a:gd name="T0" fmla="*/ 82 w 164"/>
                  <a:gd name="T1" fmla="*/ 0 h 166"/>
                  <a:gd name="T2" fmla="*/ 98 w 164"/>
                  <a:gd name="T3" fmla="*/ 2 h 166"/>
                  <a:gd name="T4" fmla="*/ 113 w 164"/>
                  <a:gd name="T5" fmla="*/ 7 h 166"/>
                  <a:gd name="T6" fmla="*/ 127 w 164"/>
                  <a:gd name="T7" fmla="*/ 14 h 166"/>
                  <a:gd name="T8" fmla="*/ 140 w 164"/>
                  <a:gd name="T9" fmla="*/ 24 h 166"/>
                  <a:gd name="T10" fmla="*/ 150 w 164"/>
                  <a:gd name="T11" fmla="*/ 37 h 166"/>
                  <a:gd name="T12" fmla="*/ 157 w 164"/>
                  <a:gd name="T13" fmla="*/ 51 h 166"/>
                  <a:gd name="T14" fmla="*/ 162 w 164"/>
                  <a:gd name="T15" fmla="*/ 67 h 166"/>
                  <a:gd name="T16" fmla="*/ 164 w 164"/>
                  <a:gd name="T17" fmla="*/ 83 h 166"/>
                  <a:gd name="T18" fmla="*/ 162 w 164"/>
                  <a:gd name="T19" fmla="*/ 99 h 166"/>
                  <a:gd name="T20" fmla="*/ 157 w 164"/>
                  <a:gd name="T21" fmla="*/ 114 h 166"/>
                  <a:gd name="T22" fmla="*/ 150 w 164"/>
                  <a:gd name="T23" fmla="*/ 128 h 166"/>
                  <a:gd name="T24" fmla="*/ 140 w 164"/>
                  <a:gd name="T25" fmla="*/ 142 h 166"/>
                  <a:gd name="T26" fmla="*/ 127 w 164"/>
                  <a:gd name="T27" fmla="*/ 152 h 166"/>
                  <a:gd name="T28" fmla="*/ 113 w 164"/>
                  <a:gd name="T29" fmla="*/ 159 h 166"/>
                  <a:gd name="T30" fmla="*/ 98 w 164"/>
                  <a:gd name="T31" fmla="*/ 164 h 166"/>
                  <a:gd name="T32" fmla="*/ 82 w 164"/>
                  <a:gd name="T33" fmla="*/ 166 h 166"/>
                  <a:gd name="T34" fmla="*/ 65 w 164"/>
                  <a:gd name="T35" fmla="*/ 164 h 166"/>
                  <a:gd name="T36" fmla="*/ 50 w 164"/>
                  <a:gd name="T37" fmla="*/ 159 h 166"/>
                  <a:gd name="T38" fmla="*/ 36 w 164"/>
                  <a:gd name="T39" fmla="*/ 152 h 166"/>
                  <a:gd name="T40" fmla="*/ 23 w 164"/>
                  <a:gd name="T41" fmla="*/ 142 h 166"/>
                  <a:gd name="T42" fmla="*/ 13 w 164"/>
                  <a:gd name="T43" fmla="*/ 128 h 166"/>
                  <a:gd name="T44" fmla="*/ 6 w 164"/>
                  <a:gd name="T45" fmla="*/ 114 h 166"/>
                  <a:gd name="T46" fmla="*/ 1 w 164"/>
                  <a:gd name="T47" fmla="*/ 99 h 166"/>
                  <a:gd name="T48" fmla="*/ 0 w 164"/>
                  <a:gd name="T49" fmla="*/ 83 h 166"/>
                  <a:gd name="T50" fmla="*/ 1 w 164"/>
                  <a:gd name="T51" fmla="*/ 67 h 166"/>
                  <a:gd name="T52" fmla="*/ 6 w 164"/>
                  <a:gd name="T53" fmla="*/ 51 h 166"/>
                  <a:gd name="T54" fmla="*/ 13 w 164"/>
                  <a:gd name="T55" fmla="*/ 37 h 166"/>
                  <a:gd name="T56" fmla="*/ 23 w 164"/>
                  <a:gd name="T57" fmla="*/ 24 h 166"/>
                  <a:gd name="T58" fmla="*/ 36 w 164"/>
                  <a:gd name="T59" fmla="*/ 14 h 166"/>
                  <a:gd name="T60" fmla="*/ 50 w 164"/>
                  <a:gd name="T61" fmla="*/ 7 h 166"/>
                  <a:gd name="T62" fmla="*/ 65 w 164"/>
                  <a:gd name="T63" fmla="*/ 2 h 166"/>
                  <a:gd name="T64" fmla="*/ 82 w 164"/>
                  <a:gd name="T65"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4" h="166">
                    <a:moveTo>
                      <a:pt x="82" y="0"/>
                    </a:moveTo>
                    <a:lnTo>
                      <a:pt x="98" y="2"/>
                    </a:lnTo>
                    <a:lnTo>
                      <a:pt x="113" y="7"/>
                    </a:lnTo>
                    <a:lnTo>
                      <a:pt x="127" y="14"/>
                    </a:lnTo>
                    <a:lnTo>
                      <a:pt x="140" y="24"/>
                    </a:lnTo>
                    <a:lnTo>
                      <a:pt x="150" y="37"/>
                    </a:lnTo>
                    <a:lnTo>
                      <a:pt x="157" y="51"/>
                    </a:lnTo>
                    <a:lnTo>
                      <a:pt x="162" y="67"/>
                    </a:lnTo>
                    <a:lnTo>
                      <a:pt x="164" y="83"/>
                    </a:lnTo>
                    <a:lnTo>
                      <a:pt x="162" y="99"/>
                    </a:lnTo>
                    <a:lnTo>
                      <a:pt x="157" y="114"/>
                    </a:lnTo>
                    <a:lnTo>
                      <a:pt x="150" y="128"/>
                    </a:lnTo>
                    <a:lnTo>
                      <a:pt x="140" y="142"/>
                    </a:lnTo>
                    <a:lnTo>
                      <a:pt x="127" y="152"/>
                    </a:lnTo>
                    <a:lnTo>
                      <a:pt x="113" y="159"/>
                    </a:lnTo>
                    <a:lnTo>
                      <a:pt x="98" y="164"/>
                    </a:lnTo>
                    <a:lnTo>
                      <a:pt x="82" y="166"/>
                    </a:lnTo>
                    <a:lnTo>
                      <a:pt x="65" y="164"/>
                    </a:lnTo>
                    <a:lnTo>
                      <a:pt x="50" y="159"/>
                    </a:lnTo>
                    <a:lnTo>
                      <a:pt x="36" y="152"/>
                    </a:lnTo>
                    <a:lnTo>
                      <a:pt x="23" y="142"/>
                    </a:lnTo>
                    <a:lnTo>
                      <a:pt x="13" y="128"/>
                    </a:lnTo>
                    <a:lnTo>
                      <a:pt x="6" y="114"/>
                    </a:lnTo>
                    <a:lnTo>
                      <a:pt x="1" y="99"/>
                    </a:lnTo>
                    <a:lnTo>
                      <a:pt x="0" y="83"/>
                    </a:lnTo>
                    <a:lnTo>
                      <a:pt x="1" y="67"/>
                    </a:lnTo>
                    <a:lnTo>
                      <a:pt x="6" y="51"/>
                    </a:lnTo>
                    <a:lnTo>
                      <a:pt x="13" y="37"/>
                    </a:lnTo>
                    <a:lnTo>
                      <a:pt x="23" y="24"/>
                    </a:lnTo>
                    <a:lnTo>
                      <a:pt x="36" y="14"/>
                    </a:lnTo>
                    <a:lnTo>
                      <a:pt x="50" y="7"/>
                    </a:lnTo>
                    <a:lnTo>
                      <a:pt x="65" y="2"/>
                    </a:lnTo>
                    <a:lnTo>
                      <a:pt x="8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0" name="Freeform 139"/>
              <p:cNvSpPr>
                <a:spLocks/>
              </p:cNvSpPr>
              <p:nvPr/>
            </p:nvSpPr>
            <p:spPr bwMode="auto">
              <a:xfrm>
                <a:off x="4332" y="3602"/>
                <a:ext cx="11" cy="11"/>
              </a:xfrm>
              <a:custGeom>
                <a:avLst/>
                <a:gdLst>
                  <a:gd name="T0" fmla="*/ 83 w 165"/>
                  <a:gd name="T1" fmla="*/ 0 h 165"/>
                  <a:gd name="T2" fmla="*/ 99 w 165"/>
                  <a:gd name="T3" fmla="*/ 1 h 165"/>
                  <a:gd name="T4" fmla="*/ 114 w 165"/>
                  <a:gd name="T5" fmla="*/ 6 h 165"/>
                  <a:gd name="T6" fmla="*/ 129 w 165"/>
                  <a:gd name="T7" fmla="*/ 13 h 165"/>
                  <a:gd name="T8" fmla="*/ 142 w 165"/>
                  <a:gd name="T9" fmla="*/ 25 h 165"/>
                  <a:gd name="T10" fmla="*/ 152 w 165"/>
                  <a:gd name="T11" fmla="*/ 37 h 165"/>
                  <a:gd name="T12" fmla="*/ 159 w 165"/>
                  <a:gd name="T13" fmla="*/ 51 h 165"/>
                  <a:gd name="T14" fmla="*/ 164 w 165"/>
                  <a:gd name="T15" fmla="*/ 66 h 165"/>
                  <a:gd name="T16" fmla="*/ 165 w 165"/>
                  <a:gd name="T17" fmla="*/ 82 h 165"/>
                  <a:gd name="T18" fmla="*/ 164 w 165"/>
                  <a:gd name="T19" fmla="*/ 99 h 165"/>
                  <a:gd name="T20" fmla="*/ 159 w 165"/>
                  <a:gd name="T21" fmla="*/ 114 h 165"/>
                  <a:gd name="T22" fmla="*/ 152 w 165"/>
                  <a:gd name="T23" fmla="*/ 128 h 165"/>
                  <a:gd name="T24" fmla="*/ 142 w 165"/>
                  <a:gd name="T25" fmla="*/ 141 h 165"/>
                  <a:gd name="T26" fmla="*/ 129 w 165"/>
                  <a:gd name="T27" fmla="*/ 151 h 165"/>
                  <a:gd name="T28" fmla="*/ 114 w 165"/>
                  <a:gd name="T29" fmla="*/ 158 h 165"/>
                  <a:gd name="T30" fmla="*/ 99 w 165"/>
                  <a:gd name="T31" fmla="*/ 163 h 165"/>
                  <a:gd name="T32" fmla="*/ 83 w 165"/>
                  <a:gd name="T33" fmla="*/ 165 h 165"/>
                  <a:gd name="T34" fmla="*/ 67 w 165"/>
                  <a:gd name="T35" fmla="*/ 163 h 165"/>
                  <a:gd name="T36" fmla="*/ 52 w 165"/>
                  <a:gd name="T37" fmla="*/ 158 h 165"/>
                  <a:gd name="T38" fmla="*/ 38 w 165"/>
                  <a:gd name="T39" fmla="*/ 151 h 165"/>
                  <a:gd name="T40" fmla="*/ 25 w 165"/>
                  <a:gd name="T41" fmla="*/ 141 h 165"/>
                  <a:gd name="T42" fmla="*/ 15 w 165"/>
                  <a:gd name="T43" fmla="*/ 128 h 165"/>
                  <a:gd name="T44" fmla="*/ 8 w 165"/>
                  <a:gd name="T45" fmla="*/ 114 h 165"/>
                  <a:gd name="T46" fmla="*/ 2 w 165"/>
                  <a:gd name="T47" fmla="*/ 99 h 165"/>
                  <a:gd name="T48" fmla="*/ 0 w 165"/>
                  <a:gd name="T49" fmla="*/ 82 h 165"/>
                  <a:gd name="T50" fmla="*/ 2 w 165"/>
                  <a:gd name="T51" fmla="*/ 66 h 165"/>
                  <a:gd name="T52" fmla="*/ 8 w 165"/>
                  <a:gd name="T53" fmla="*/ 51 h 165"/>
                  <a:gd name="T54" fmla="*/ 15 w 165"/>
                  <a:gd name="T55" fmla="*/ 37 h 165"/>
                  <a:gd name="T56" fmla="*/ 25 w 165"/>
                  <a:gd name="T57" fmla="*/ 25 h 165"/>
                  <a:gd name="T58" fmla="*/ 38 w 165"/>
                  <a:gd name="T59" fmla="*/ 13 h 165"/>
                  <a:gd name="T60" fmla="*/ 52 w 165"/>
                  <a:gd name="T61" fmla="*/ 6 h 165"/>
                  <a:gd name="T62" fmla="*/ 67 w 165"/>
                  <a:gd name="T63" fmla="*/ 1 h 165"/>
                  <a:gd name="T64" fmla="*/ 83 w 165"/>
                  <a:gd name="T6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 h="165">
                    <a:moveTo>
                      <a:pt x="83" y="0"/>
                    </a:moveTo>
                    <a:lnTo>
                      <a:pt x="99" y="1"/>
                    </a:lnTo>
                    <a:lnTo>
                      <a:pt x="114" y="6"/>
                    </a:lnTo>
                    <a:lnTo>
                      <a:pt x="129" y="13"/>
                    </a:lnTo>
                    <a:lnTo>
                      <a:pt x="142" y="25"/>
                    </a:lnTo>
                    <a:lnTo>
                      <a:pt x="152" y="37"/>
                    </a:lnTo>
                    <a:lnTo>
                      <a:pt x="159" y="51"/>
                    </a:lnTo>
                    <a:lnTo>
                      <a:pt x="164" y="66"/>
                    </a:lnTo>
                    <a:lnTo>
                      <a:pt x="165" y="82"/>
                    </a:lnTo>
                    <a:lnTo>
                      <a:pt x="164" y="99"/>
                    </a:lnTo>
                    <a:lnTo>
                      <a:pt x="159" y="114"/>
                    </a:lnTo>
                    <a:lnTo>
                      <a:pt x="152" y="128"/>
                    </a:lnTo>
                    <a:lnTo>
                      <a:pt x="142" y="141"/>
                    </a:lnTo>
                    <a:lnTo>
                      <a:pt x="129" y="151"/>
                    </a:lnTo>
                    <a:lnTo>
                      <a:pt x="114" y="158"/>
                    </a:lnTo>
                    <a:lnTo>
                      <a:pt x="99" y="163"/>
                    </a:lnTo>
                    <a:lnTo>
                      <a:pt x="83" y="165"/>
                    </a:lnTo>
                    <a:lnTo>
                      <a:pt x="67" y="163"/>
                    </a:lnTo>
                    <a:lnTo>
                      <a:pt x="52" y="158"/>
                    </a:lnTo>
                    <a:lnTo>
                      <a:pt x="38" y="151"/>
                    </a:lnTo>
                    <a:lnTo>
                      <a:pt x="25" y="141"/>
                    </a:lnTo>
                    <a:lnTo>
                      <a:pt x="15" y="128"/>
                    </a:lnTo>
                    <a:lnTo>
                      <a:pt x="8" y="114"/>
                    </a:lnTo>
                    <a:lnTo>
                      <a:pt x="2" y="99"/>
                    </a:lnTo>
                    <a:lnTo>
                      <a:pt x="0" y="82"/>
                    </a:lnTo>
                    <a:lnTo>
                      <a:pt x="2" y="66"/>
                    </a:lnTo>
                    <a:lnTo>
                      <a:pt x="8" y="51"/>
                    </a:lnTo>
                    <a:lnTo>
                      <a:pt x="15" y="37"/>
                    </a:lnTo>
                    <a:lnTo>
                      <a:pt x="25" y="25"/>
                    </a:lnTo>
                    <a:lnTo>
                      <a:pt x="38" y="13"/>
                    </a:lnTo>
                    <a:lnTo>
                      <a:pt x="52" y="6"/>
                    </a:lnTo>
                    <a:lnTo>
                      <a:pt x="67" y="1"/>
                    </a:lnTo>
                    <a:lnTo>
                      <a:pt x="8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1" name="Freeform 140"/>
              <p:cNvSpPr>
                <a:spLocks/>
              </p:cNvSpPr>
              <p:nvPr/>
            </p:nvSpPr>
            <p:spPr bwMode="auto">
              <a:xfrm>
                <a:off x="4344" y="3590"/>
                <a:ext cx="11" cy="11"/>
              </a:xfrm>
              <a:custGeom>
                <a:avLst/>
                <a:gdLst>
                  <a:gd name="T0" fmla="*/ 83 w 165"/>
                  <a:gd name="T1" fmla="*/ 0 h 165"/>
                  <a:gd name="T2" fmla="*/ 99 w 165"/>
                  <a:gd name="T3" fmla="*/ 1 h 165"/>
                  <a:gd name="T4" fmla="*/ 114 w 165"/>
                  <a:gd name="T5" fmla="*/ 6 h 165"/>
                  <a:gd name="T6" fmla="*/ 128 w 165"/>
                  <a:gd name="T7" fmla="*/ 14 h 165"/>
                  <a:gd name="T8" fmla="*/ 140 w 165"/>
                  <a:gd name="T9" fmla="*/ 24 h 165"/>
                  <a:gd name="T10" fmla="*/ 151 w 165"/>
                  <a:gd name="T11" fmla="*/ 36 h 165"/>
                  <a:gd name="T12" fmla="*/ 158 w 165"/>
                  <a:gd name="T13" fmla="*/ 51 h 165"/>
                  <a:gd name="T14" fmla="*/ 164 w 165"/>
                  <a:gd name="T15" fmla="*/ 66 h 165"/>
                  <a:gd name="T16" fmla="*/ 165 w 165"/>
                  <a:gd name="T17" fmla="*/ 82 h 165"/>
                  <a:gd name="T18" fmla="*/ 164 w 165"/>
                  <a:gd name="T19" fmla="*/ 98 h 165"/>
                  <a:gd name="T20" fmla="*/ 158 w 165"/>
                  <a:gd name="T21" fmla="*/ 114 h 165"/>
                  <a:gd name="T22" fmla="*/ 151 w 165"/>
                  <a:gd name="T23" fmla="*/ 129 h 165"/>
                  <a:gd name="T24" fmla="*/ 140 w 165"/>
                  <a:gd name="T25" fmla="*/ 141 h 165"/>
                  <a:gd name="T26" fmla="*/ 128 w 165"/>
                  <a:gd name="T27" fmla="*/ 151 h 165"/>
                  <a:gd name="T28" fmla="*/ 114 w 165"/>
                  <a:gd name="T29" fmla="*/ 159 h 165"/>
                  <a:gd name="T30" fmla="*/ 99 w 165"/>
                  <a:gd name="T31" fmla="*/ 163 h 165"/>
                  <a:gd name="T32" fmla="*/ 83 w 165"/>
                  <a:gd name="T33" fmla="*/ 165 h 165"/>
                  <a:gd name="T34" fmla="*/ 67 w 165"/>
                  <a:gd name="T35" fmla="*/ 163 h 165"/>
                  <a:gd name="T36" fmla="*/ 51 w 165"/>
                  <a:gd name="T37" fmla="*/ 159 h 165"/>
                  <a:gd name="T38" fmla="*/ 36 w 165"/>
                  <a:gd name="T39" fmla="*/ 151 h 165"/>
                  <a:gd name="T40" fmla="*/ 24 w 165"/>
                  <a:gd name="T41" fmla="*/ 141 h 165"/>
                  <a:gd name="T42" fmla="*/ 14 w 165"/>
                  <a:gd name="T43" fmla="*/ 129 h 165"/>
                  <a:gd name="T44" fmla="*/ 6 w 165"/>
                  <a:gd name="T45" fmla="*/ 114 h 165"/>
                  <a:gd name="T46" fmla="*/ 2 w 165"/>
                  <a:gd name="T47" fmla="*/ 98 h 165"/>
                  <a:gd name="T48" fmla="*/ 0 w 165"/>
                  <a:gd name="T49" fmla="*/ 82 h 165"/>
                  <a:gd name="T50" fmla="*/ 2 w 165"/>
                  <a:gd name="T51" fmla="*/ 66 h 165"/>
                  <a:gd name="T52" fmla="*/ 6 w 165"/>
                  <a:gd name="T53" fmla="*/ 51 h 165"/>
                  <a:gd name="T54" fmla="*/ 14 w 165"/>
                  <a:gd name="T55" fmla="*/ 36 h 165"/>
                  <a:gd name="T56" fmla="*/ 24 w 165"/>
                  <a:gd name="T57" fmla="*/ 24 h 165"/>
                  <a:gd name="T58" fmla="*/ 36 w 165"/>
                  <a:gd name="T59" fmla="*/ 14 h 165"/>
                  <a:gd name="T60" fmla="*/ 51 w 165"/>
                  <a:gd name="T61" fmla="*/ 6 h 165"/>
                  <a:gd name="T62" fmla="*/ 67 w 165"/>
                  <a:gd name="T63" fmla="*/ 1 h 165"/>
                  <a:gd name="T64" fmla="*/ 83 w 165"/>
                  <a:gd name="T6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 h="165">
                    <a:moveTo>
                      <a:pt x="83" y="0"/>
                    </a:moveTo>
                    <a:lnTo>
                      <a:pt x="99" y="1"/>
                    </a:lnTo>
                    <a:lnTo>
                      <a:pt x="114" y="6"/>
                    </a:lnTo>
                    <a:lnTo>
                      <a:pt x="128" y="14"/>
                    </a:lnTo>
                    <a:lnTo>
                      <a:pt x="140" y="24"/>
                    </a:lnTo>
                    <a:lnTo>
                      <a:pt x="151" y="36"/>
                    </a:lnTo>
                    <a:lnTo>
                      <a:pt x="158" y="51"/>
                    </a:lnTo>
                    <a:lnTo>
                      <a:pt x="164" y="66"/>
                    </a:lnTo>
                    <a:lnTo>
                      <a:pt x="165" y="82"/>
                    </a:lnTo>
                    <a:lnTo>
                      <a:pt x="164" y="98"/>
                    </a:lnTo>
                    <a:lnTo>
                      <a:pt x="158" y="114"/>
                    </a:lnTo>
                    <a:lnTo>
                      <a:pt x="151" y="129"/>
                    </a:lnTo>
                    <a:lnTo>
                      <a:pt x="140" y="141"/>
                    </a:lnTo>
                    <a:lnTo>
                      <a:pt x="128" y="151"/>
                    </a:lnTo>
                    <a:lnTo>
                      <a:pt x="114" y="159"/>
                    </a:lnTo>
                    <a:lnTo>
                      <a:pt x="99" y="163"/>
                    </a:lnTo>
                    <a:lnTo>
                      <a:pt x="83" y="165"/>
                    </a:lnTo>
                    <a:lnTo>
                      <a:pt x="67" y="163"/>
                    </a:lnTo>
                    <a:lnTo>
                      <a:pt x="51" y="159"/>
                    </a:lnTo>
                    <a:lnTo>
                      <a:pt x="36" y="151"/>
                    </a:lnTo>
                    <a:lnTo>
                      <a:pt x="24" y="141"/>
                    </a:lnTo>
                    <a:lnTo>
                      <a:pt x="14" y="129"/>
                    </a:lnTo>
                    <a:lnTo>
                      <a:pt x="6" y="114"/>
                    </a:lnTo>
                    <a:lnTo>
                      <a:pt x="2" y="98"/>
                    </a:lnTo>
                    <a:lnTo>
                      <a:pt x="0" y="82"/>
                    </a:lnTo>
                    <a:lnTo>
                      <a:pt x="2" y="66"/>
                    </a:lnTo>
                    <a:lnTo>
                      <a:pt x="6" y="51"/>
                    </a:lnTo>
                    <a:lnTo>
                      <a:pt x="14" y="36"/>
                    </a:lnTo>
                    <a:lnTo>
                      <a:pt x="24" y="24"/>
                    </a:lnTo>
                    <a:lnTo>
                      <a:pt x="36" y="14"/>
                    </a:lnTo>
                    <a:lnTo>
                      <a:pt x="51" y="6"/>
                    </a:lnTo>
                    <a:lnTo>
                      <a:pt x="67" y="1"/>
                    </a:lnTo>
                    <a:lnTo>
                      <a:pt x="8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2" name="Freeform 141"/>
              <p:cNvSpPr>
                <a:spLocks/>
              </p:cNvSpPr>
              <p:nvPr/>
            </p:nvSpPr>
            <p:spPr bwMode="auto">
              <a:xfrm>
                <a:off x="4332" y="3626"/>
                <a:ext cx="11" cy="11"/>
              </a:xfrm>
              <a:custGeom>
                <a:avLst/>
                <a:gdLst>
                  <a:gd name="T0" fmla="*/ 83 w 165"/>
                  <a:gd name="T1" fmla="*/ 0 h 165"/>
                  <a:gd name="T2" fmla="*/ 99 w 165"/>
                  <a:gd name="T3" fmla="*/ 2 h 165"/>
                  <a:gd name="T4" fmla="*/ 114 w 165"/>
                  <a:gd name="T5" fmla="*/ 7 h 165"/>
                  <a:gd name="T6" fmla="*/ 129 w 165"/>
                  <a:gd name="T7" fmla="*/ 14 h 165"/>
                  <a:gd name="T8" fmla="*/ 142 w 165"/>
                  <a:gd name="T9" fmla="*/ 24 h 165"/>
                  <a:gd name="T10" fmla="*/ 152 w 165"/>
                  <a:gd name="T11" fmla="*/ 38 h 165"/>
                  <a:gd name="T12" fmla="*/ 159 w 165"/>
                  <a:gd name="T13" fmla="*/ 52 h 165"/>
                  <a:gd name="T14" fmla="*/ 164 w 165"/>
                  <a:gd name="T15" fmla="*/ 67 h 165"/>
                  <a:gd name="T16" fmla="*/ 165 w 165"/>
                  <a:gd name="T17" fmla="*/ 83 h 165"/>
                  <a:gd name="T18" fmla="*/ 164 w 165"/>
                  <a:gd name="T19" fmla="*/ 99 h 165"/>
                  <a:gd name="T20" fmla="*/ 159 w 165"/>
                  <a:gd name="T21" fmla="*/ 115 h 165"/>
                  <a:gd name="T22" fmla="*/ 152 w 165"/>
                  <a:gd name="T23" fmla="*/ 129 h 165"/>
                  <a:gd name="T24" fmla="*/ 142 w 165"/>
                  <a:gd name="T25" fmla="*/ 141 h 165"/>
                  <a:gd name="T26" fmla="*/ 129 w 165"/>
                  <a:gd name="T27" fmla="*/ 152 h 165"/>
                  <a:gd name="T28" fmla="*/ 114 w 165"/>
                  <a:gd name="T29" fmla="*/ 159 h 165"/>
                  <a:gd name="T30" fmla="*/ 99 w 165"/>
                  <a:gd name="T31" fmla="*/ 164 h 165"/>
                  <a:gd name="T32" fmla="*/ 83 w 165"/>
                  <a:gd name="T33" fmla="*/ 165 h 165"/>
                  <a:gd name="T34" fmla="*/ 67 w 165"/>
                  <a:gd name="T35" fmla="*/ 164 h 165"/>
                  <a:gd name="T36" fmla="*/ 52 w 165"/>
                  <a:gd name="T37" fmla="*/ 159 h 165"/>
                  <a:gd name="T38" fmla="*/ 38 w 165"/>
                  <a:gd name="T39" fmla="*/ 152 h 165"/>
                  <a:gd name="T40" fmla="*/ 25 w 165"/>
                  <a:gd name="T41" fmla="*/ 141 h 165"/>
                  <a:gd name="T42" fmla="*/ 15 w 165"/>
                  <a:gd name="T43" fmla="*/ 129 h 165"/>
                  <a:gd name="T44" fmla="*/ 8 w 165"/>
                  <a:gd name="T45" fmla="*/ 115 h 165"/>
                  <a:gd name="T46" fmla="*/ 2 w 165"/>
                  <a:gd name="T47" fmla="*/ 99 h 165"/>
                  <a:gd name="T48" fmla="*/ 0 w 165"/>
                  <a:gd name="T49" fmla="*/ 83 h 165"/>
                  <a:gd name="T50" fmla="*/ 2 w 165"/>
                  <a:gd name="T51" fmla="*/ 67 h 165"/>
                  <a:gd name="T52" fmla="*/ 8 w 165"/>
                  <a:gd name="T53" fmla="*/ 52 h 165"/>
                  <a:gd name="T54" fmla="*/ 15 w 165"/>
                  <a:gd name="T55" fmla="*/ 38 h 165"/>
                  <a:gd name="T56" fmla="*/ 25 w 165"/>
                  <a:gd name="T57" fmla="*/ 24 h 165"/>
                  <a:gd name="T58" fmla="*/ 38 w 165"/>
                  <a:gd name="T59" fmla="*/ 14 h 165"/>
                  <a:gd name="T60" fmla="*/ 52 w 165"/>
                  <a:gd name="T61" fmla="*/ 7 h 165"/>
                  <a:gd name="T62" fmla="*/ 67 w 165"/>
                  <a:gd name="T63" fmla="*/ 2 h 165"/>
                  <a:gd name="T64" fmla="*/ 83 w 165"/>
                  <a:gd name="T6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 h="165">
                    <a:moveTo>
                      <a:pt x="83" y="0"/>
                    </a:moveTo>
                    <a:lnTo>
                      <a:pt x="99" y="2"/>
                    </a:lnTo>
                    <a:lnTo>
                      <a:pt x="114" y="7"/>
                    </a:lnTo>
                    <a:lnTo>
                      <a:pt x="129" y="14"/>
                    </a:lnTo>
                    <a:lnTo>
                      <a:pt x="142" y="24"/>
                    </a:lnTo>
                    <a:lnTo>
                      <a:pt x="152" y="38"/>
                    </a:lnTo>
                    <a:lnTo>
                      <a:pt x="159" y="52"/>
                    </a:lnTo>
                    <a:lnTo>
                      <a:pt x="164" y="67"/>
                    </a:lnTo>
                    <a:lnTo>
                      <a:pt x="165" y="83"/>
                    </a:lnTo>
                    <a:lnTo>
                      <a:pt x="164" y="99"/>
                    </a:lnTo>
                    <a:lnTo>
                      <a:pt x="159" y="115"/>
                    </a:lnTo>
                    <a:lnTo>
                      <a:pt x="152" y="129"/>
                    </a:lnTo>
                    <a:lnTo>
                      <a:pt x="142" y="141"/>
                    </a:lnTo>
                    <a:lnTo>
                      <a:pt x="129" y="152"/>
                    </a:lnTo>
                    <a:lnTo>
                      <a:pt x="114" y="159"/>
                    </a:lnTo>
                    <a:lnTo>
                      <a:pt x="99" y="164"/>
                    </a:lnTo>
                    <a:lnTo>
                      <a:pt x="83" y="165"/>
                    </a:lnTo>
                    <a:lnTo>
                      <a:pt x="67" y="164"/>
                    </a:lnTo>
                    <a:lnTo>
                      <a:pt x="52" y="159"/>
                    </a:lnTo>
                    <a:lnTo>
                      <a:pt x="38" y="152"/>
                    </a:lnTo>
                    <a:lnTo>
                      <a:pt x="25" y="141"/>
                    </a:lnTo>
                    <a:lnTo>
                      <a:pt x="15" y="129"/>
                    </a:lnTo>
                    <a:lnTo>
                      <a:pt x="8" y="115"/>
                    </a:lnTo>
                    <a:lnTo>
                      <a:pt x="2" y="99"/>
                    </a:lnTo>
                    <a:lnTo>
                      <a:pt x="0" y="83"/>
                    </a:lnTo>
                    <a:lnTo>
                      <a:pt x="2" y="67"/>
                    </a:lnTo>
                    <a:lnTo>
                      <a:pt x="8" y="52"/>
                    </a:lnTo>
                    <a:lnTo>
                      <a:pt x="15" y="38"/>
                    </a:lnTo>
                    <a:lnTo>
                      <a:pt x="25" y="24"/>
                    </a:lnTo>
                    <a:lnTo>
                      <a:pt x="38" y="14"/>
                    </a:lnTo>
                    <a:lnTo>
                      <a:pt x="52" y="7"/>
                    </a:lnTo>
                    <a:lnTo>
                      <a:pt x="67" y="2"/>
                    </a:lnTo>
                    <a:lnTo>
                      <a:pt x="8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3" name="Freeform 142"/>
              <p:cNvSpPr>
                <a:spLocks/>
              </p:cNvSpPr>
              <p:nvPr/>
            </p:nvSpPr>
            <p:spPr bwMode="auto">
              <a:xfrm>
                <a:off x="4344" y="3614"/>
                <a:ext cx="11" cy="11"/>
              </a:xfrm>
              <a:custGeom>
                <a:avLst/>
                <a:gdLst>
                  <a:gd name="T0" fmla="*/ 83 w 165"/>
                  <a:gd name="T1" fmla="*/ 0 h 166"/>
                  <a:gd name="T2" fmla="*/ 99 w 165"/>
                  <a:gd name="T3" fmla="*/ 2 h 166"/>
                  <a:gd name="T4" fmla="*/ 114 w 165"/>
                  <a:gd name="T5" fmla="*/ 7 h 166"/>
                  <a:gd name="T6" fmla="*/ 128 w 165"/>
                  <a:gd name="T7" fmla="*/ 14 h 166"/>
                  <a:gd name="T8" fmla="*/ 140 w 165"/>
                  <a:gd name="T9" fmla="*/ 24 h 166"/>
                  <a:gd name="T10" fmla="*/ 151 w 165"/>
                  <a:gd name="T11" fmla="*/ 37 h 166"/>
                  <a:gd name="T12" fmla="*/ 158 w 165"/>
                  <a:gd name="T13" fmla="*/ 51 h 166"/>
                  <a:gd name="T14" fmla="*/ 164 w 165"/>
                  <a:gd name="T15" fmla="*/ 67 h 166"/>
                  <a:gd name="T16" fmla="*/ 165 w 165"/>
                  <a:gd name="T17" fmla="*/ 83 h 166"/>
                  <a:gd name="T18" fmla="*/ 164 w 165"/>
                  <a:gd name="T19" fmla="*/ 99 h 166"/>
                  <a:gd name="T20" fmla="*/ 158 w 165"/>
                  <a:gd name="T21" fmla="*/ 114 h 166"/>
                  <a:gd name="T22" fmla="*/ 151 w 165"/>
                  <a:gd name="T23" fmla="*/ 128 h 166"/>
                  <a:gd name="T24" fmla="*/ 140 w 165"/>
                  <a:gd name="T25" fmla="*/ 142 h 166"/>
                  <a:gd name="T26" fmla="*/ 128 w 165"/>
                  <a:gd name="T27" fmla="*/ 152 h 166"/>
                  <a:gd name="T28" fmla="*/ 114 w 165"/>
                  <a:gd name="T29" fmla="*/ 159 h 166"/>
                  <a:gd name="T30" fmla="*/ 99 w 165"/>
                  <a:gd name="T31" fmla="*/ 164 h 166"/>
                  <a:gd name="T32" fmla="*/ 83 w 165"/>
                  <a:gd name="T33" fmla="*/ 166 h 166"/>
                  <a:gd name="T34" fmla="*/ 67 w 165"/>
                  <a:gd name="T35" fmla="*/ 164 h 166"/>
                  <a:gd name="T36" fmla="*/ 51 w 165"/>
                  <a:gd name="T37" fmla="*/ 159 h 166"/>
                  <a:gd name="T38" fmla="*/ 36 w 165"/>
                  <a:gd name="T39" fmla="*/ 152 h 166"/>
                  <a:gd name="T40" fmla="*/ 24 w 165"/>
                  <a:gd name="T41" fmla="*/ 142 h 166"/>
                  <a:gd name="T42" fmla="*/ 14 w 165"/>
                  <a:gd name="T43" fmla="*/ 128 h 166"/>
                  <a:gd name="T44" fmla="*/ 6 w 165"/>
                  <a:gd name="T45" fmla="*/ 114 h 166"/>
                  <a:gd name="T46" fmla="*/ 2 w 165"/>
                  <a:gd name="T47" fmla="*/ 99 h 166"/>
                  <a:gd name="T48" fmla="*/ 0 w 165"/>
                  <a:gd name="T49" fmla="*/ 83 h 166"/>
                  <a:gd name="T50" fmla="*/ 2 w 165"/>
                  <a:gd name="T51" fmla="*/ 67 h 166"/>
                  <a:gd name="T52" fmla="*/ 6 w 165"/>
                  <a:gd name="T53" fmla="*/ 51 h 166"/>
                  <a:gd name="T54" fmla="*/ 14 w 165"/>
                  <a:gd name="T55" fmla="*/ 37 h 166"/>
                  <a:gd name="T56" fmla="*/ 24 w 165"/>
                  <a:gd name="T57" fmla="*/ 24 h 166"/>
                  <a:gd name="T58" fmla="*/ 36 w 165"/>
                  <a:gd name="T59" fmla="*/ 14 h 166"/>
                  <a:gd name="T60" fmla="*/ 51 w 165"/>
                  <a:gd name="T61" fmla="*/ 7 h 166"/>
                  <a:gd name="T62" fmla="*/ 67 w 165"/>
                  <a:gd name="T63" fmla="*/ 2 h 166"/>
                  <a:gd name="T64" fmla="*/ 83 w 165"/>
                  <a:gd name="T65"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 h="166">
                    <a:moveTo>
                      <a:pt x="83" y="0"/>
                    </a:moveTo>
                    <a:lnTo>
                      <a:pt x="99" y="2"/>
                    </a:lnTo>
                    <a:lnTo>
                      <a:pt x="114" y="7"/>
                    </a:lnTo>
                    <a:lnTo>
                      <a:pt x="128" y="14"/>
                    </a:lnTo>
                    <a:lnTo>
                      <a:pt x="140" y="24"/>
                    </a:lnTo>
                    <a:lnTo>
                      <a:pt x="151" y="37"/>
                    </a:lnTo>
                    <a:lnTo>
                      <a:pt x="158" y="51"/>
                    </a:lnTo>
                    <a:lnTo>
                      <a:pt x="164" y="67"/>
                    </a:lnTo>
                    <a:lnTo>
                      <a:pt x="165" y="83"/>
                    </a:lnTo>
                    <a:lnTo>
                      <a:pt x="164" y="99"/>
                    </a:lnTo>
                    <a:lnTo>
                      <a:pt x="158" y="114"/>
                    </a:lnTo>
                    <a:lnTo>
                      <a:pt x="151" y="128"/>
                    </a:lnTo>
                    <a:lnTo>
                      <a:pt x="140" y="142"/>
                    </a:lnTo>
                    <a:lnTo>
                      <a:pt x="128" y="152"/>
                    </a:lnTo>
                    <a:lnTo>
                      <a:pt x="114" y="159"/>
                    </a:lnTo>
                    <a:lnTo>
                      <a:pt x="99" y="164"/>
                    </a:lnTo>
                    <a:lnTo>
                      <a:pt x="83" y="166"/>
                    </a:lnTo>
                    <a:lnTo>
                      <a:pt x="67" y="164"/>
                    </a:lnTo>
                    <a:lnTo>
                      <a:pt x="51" y="159"/>
                    </a:lnTo>
                    <a:lnTo>
                      <a:pt x="36" y="152"/>
                    </a:lnTo>
                    <a:lnTo>
                      <a:pt x="24" y="142"/>
                    </a:lnTo>
                    <a:lnTo>
                      <a:pt x="14" y="128"/>
                    </a:lnTo>
                    <a:lnTo>
                      <a:pt x="6" y="114"/>
                    </a:lnTo>
                    <a:lnTo>
                      <a:pt x="2" y="99"/>
                    </a:lnTo>
                    <a:lnTo>
                      <a:pt x="0" y="83"/>
                    </a:lnTo>
                    <a:lnTo>
                      <a:pt x="2" y="67"/>
                    </a:lnTo>
                    <a:lnTo>
                      <a:pt x="6" y="51"/>
                    </a:lnTo>
                    <a:lnTo>
                      <a:pt x="14" y="37"/>
                    </a:lnTo>
                    <a:lnTo>
                      <a:pt x="24" y="24"/>
                    </a:lnTo>
                    <a:lnTo>
                      <a:pt x="36" y="14"/>
                    </a:lnTo>
                    <a:lnTo>
                      <a:pt x="51" y="7"/>
                    </a:lnTo>
                    <a:lnTo>
                      <a:pt x="67" y="2"/>
                    </a:lnTo>
                    <a:lnTo>
                      <a:pt x="8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4" name="Freeform 143"/>
              <p:cNvSpPr>
                <a:spLocks/>
              </p:cNvSpPr>
              <p:nvPr/>
            </p:nvSpPr>
            <p:spPr bwMode="auto">
              <a:xfrm>
                <a:off x="4356" y="3602"/>
                <a:ext cx="11" cy="11"/>
              </a:xfrm>
              <a:custGeom>
                <a:avLst/>
                <a:gdLst>
                  <a:gd name="T0" fmla="*/ 82 w 164"/>
                  <a:gd name="T1" fmla="*/ 0 h 165"/>
                  <a:gd name="T2" fmla="*/ 99 w 164"/>
                  <a:gd name="T3" fmla="*/ 1 h 165"/>
                  <a:gd name="T4" fmla="*/ 114 w 164"/>
                  <a:gd name="T5" fmla="*/ 6 h 165"/>
                  <a:gd name="T6" fmla="*/ 128 w 164"/>
                  <a:gd name="T7" fmla="*/ 13 h 165"/>
                  <a:gd name="T8" fmla="*/ 140 w 164"/>
                  <a:gd name="T9" fmla="*/ 25 h 165"/>
                  <a:gd name="T10" fmla="*/ 150 w 164"/>
                  <a:gd name="T11" fmla="*/ 37 h 165"/>
                  <a:gd name="T12" fmla="*/ 158 w 164"/>
                  <a:gd name="T13" fmla="*/ 51 h 165"/>
                  <a:gd name="T14" fmla="*/ 163 w 164"/>
                  <a:gd name="T15" fmla="*/ 66 h 165"/>
                  <a:gd name="T16" fmla="*/ 164 w 164"/>
                  <a:gd name="T17" fmla="*/ 82 h 165"/>
                  <a:gd name="T18" fmla="*/ 163 w 164"/>
                  <a:gd name="T19" fmla="*/ 99 h 165"/>
                  <a:gd name="T20" fmla="*/ 158 w 164"/>
                  <a:gd name="T21" fmla="*/ 114 h 165"/>
                  <a:gd name="T22" fmla="*/ 150 w 164"/>
                  <a:gd name="T23" fmla="*/ 128 h 165"/>
                  <a:gd name="T24" fmla="*/ 140 w 164"/>
                  <a:gd name="T25" fmla="*/ 141 h 165"/>
                  <a:gd name="T26" fmla="*/ 128 w 164"/>
                  <a:gd name="T27" fmla="*/ 151 h 165"/>
                  <a:gd name="T28" fmla="*/ 114 w 164"/>
                  <a:gd name="T29" fmla="*/ 158 h 165"/>
                  <a:gd name="T30" fmla="*/ 99 w 164"/>
                  <a:gd name="T31" fmla="*/ 163 h 165"/>
                  <a:gd name="T32" fmla="*/ 82 w 164"/>
                  <a:gd name="T33" fmla="*/ 165 h 165"/>
                  <a:gd name="T34" fmla="*/ 66 w 164"/>
                  <a:gd name="T35" fmla="*/ 163 h 165"/>
                  <a:gd name="T36" fmla="*/ 50 w 164"/>
                  <a:gd name="T37" fmla="*/ 158 h 165"/>
                  <a:gd name="T38" fmla="*/ 36 w 164"/>
                  <a:gd name="T39" fmla="*/ 151 h 165"/>
                  <a:gd name="T40" fmla="*/ 24 w 164"/>
                  <a:gd name="T41" fmla="*/ 141 h 165"/>
                  <a:gd name="T42" fmla="*/ 14 w 164"/>
                  <a:gd name="T43" fmla="*/ 128 h 165"/>
                  <a:gd name="T44" fmla="*/ 6 w 164"/>
                  <a:gd name="T45" fmla="*/ 114 h 165"/>
                  <a:gd name="T46" fmla="*/ 2 w 164"/>
                  <a:gd name="T47" fmla="*/ 99 h 165"/>
                  <a:gd name="T48" fmla="*/ 0 w 164"/>
                  <a:gd name="T49" fmla="*/ 82 h 165"/>
                  <a:gd name="T50" fmla="*/ 2 w 164"/>
                  <a:gd name="T51" fmla="*/ 66 h 165"/>
                  <a:gd name="T52" fmla="*/ 6 w 164"/>
                  <a:gd name="T53" fmla="*/ 51 h 165"/>
                  <a:gd name="T54" fmla="*/ 14 w 164"/>
                  <a:gd name="T55" fmla="*/ 37 h 165"/>
                  <a:gd name="T56" fmla="*/ 24 w 164"/>
                  <a:gd name="T57" fmla="*/ 25 h 165"/>
                  <a:gd name="T58" fmla="*/ 36 w 164"/>
                  <a:gd name="T59" fmla="*/ 13 h 165"/>
                  <a:gd name="T60" fmla="*/ 50 w 164"/>
                  <a:gd name="T61" fmla="*/ 6 h 165"/>
                  <a:gd name="T62" fmla="*/ 66 w 164"/>
                  <a:gd name="T63" fmla="*/ 1 h 165"/>
                  <a:gd name="T64" fmla="*/ 82 w 164"/>
                  <a:gd name="T6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4" h="165">
                    <a:moveTo>
                      <a:pt x="82" y="0"/>
                    </a:moveTo>
                    <a:lnTo>
                      <a:pt x="99" y="1"/>
                    </a:lnTo>
                    <a:lnTo>
                      <a:pt x="114" y="6"/>
                    </a:lnTo>
                    <a:lnTo>
                      <a:pt x="128" y="13"/>
                    </a:lnTo>
                    <a:lnTo>
                      <a:pt x="140" y="25"/>
                    </a:lnTo>
                    <a:lnTo>
                      <a:pt x="150" y="37"/>
                    </a:lnTo>
                    <a:lnTo>
                      <a:pt x="158" y="51"/>
                    </a:lnTo>
                    <a:lnTo>
                      <a:pt x="163" y="66"/>
                    </a:lnTo>
                    <a:lnTo>
                      <a:pt x="164" y="82"/>
                    </a:lnTo>
                    <a:lnTo>
                      <a:pt x="163" y="99"/>
                    </a:lnTo>
                    <a:lnTo>
                      <a:pt x="158" y="114"/>
                    </a:lnTo>
                    <a:lnTo>
                      <a:pt x="150" y="128"/>
                    </a:lnTo>
                    <a:lnTo>
                      <a:pt x="140" y="141"/>
                    </a:lnTo>
                    <a:lnTo>
                      <a:pt x="128" y="151"/>
                    </a:lnTo>
                    <a:lnTo>
                      <a:pt x="114" y="158"/>
                    </a:lnTo>
                    <a:lnTo>
                      <a:pt x="99" y="163"/>
                    </a:lnTo>
                    <a:lnTo>
                      <a:pt x="82" y="165"/>
                    </a:lnTo>
                    <a:lnTo>
                      <a:pt x="66" y="163"/>
                    </a:lnTo>
                    <a:lnTo>
                      <a:pt x="50" y="158"/>
                    </a:lnTo>
                    <a:lnTo>
                      <a:pt x="36" y="151"/>
                    </a:lnTo>
                    <a:lnTo>
                      <a:pt x="24" y="141"/>
                    </a:lnTo>
                    <a:lnTo>
                      <a:pt x="14" y="128"/>
                    </a:lnTo>
                    <a:lnTo>
                      <a:pt x="6" y="114"/>
                    </a:lnTo>
                    <a:lnTo>
                      <a:pt x="2" y="99"/>
                    </a:lnTo>
                    <a:lnTo>
                      <a:pt x="0" y="82"/>
                    </a:lnTo>
                    <a:lnTo>
                      <a:pt x="2" y="66"/>
                    </a:lnTo>
                    <a:lnTo>
                      <a:pt x="6" y="51"/>
                    </a:lnTo>
                    <a:lnTo>
                      <a:pt x="14" y="37"/>
                    </a:lnTo>
                    <a:lnTo>
                      <a:pt x="24" y="25"/>
                    </a:lnTo>
                    <a:lnTo>
                      <a:pt x="36" y="13"/>
                    </a:lnTo>
                    <a:lnTo>
                      <a:pt x="50" y="6"/>
                    </a:lnTo>
                    <a:lnTo>
                      <a:pt x="66" y="1"/>
                    </a:lnTo>
                    <a:lnTo>
                      <a:pt x="8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5" name="Freeform 144"/>
              <p:cNvSpPr>
                <a:spLocks noEditPoints="1"/>
              </p:cNvSpPr>
              <p:nvPr/>
            </p:nvSpPr>
            <p:spPr bwMode="auto">
              <a:xfrm>
                <a:off x="4273" y="3542"/>
                <a:ext cx="142" cy="143"/>
              </a:xfrm>
              <a:custGeom>
                <a:avLst/>
                <a:gdLst>
                  <a:gd name="T0" fmla="*/ 1410 w 2135"/>
                  <a:gd name="T1" fmla="*/ 1946 h 2144"/>
                  <a:gd name="T2" fmla="*/ 1509 w 2135"/>
                  <a:gd name="T3" fmla="*/ 1979 h 2144"/>
                  <a:gd name="T4" fmla="*/ 1607 w 2135"/>
                  <a:gd name="T5" fmla="*/ 1946 h 2144"/>
                  <a:gd name="T6" fmla="*/ 1955 w 2135"/>
                  <a:gd name="T7" fmla="*/ 1585 h 2144"/>
                  <a:gd name="T8" fmla="*/ 1964 w 2135"/>
                  <a:gd name="T9" fmla="*/ 1473 h 2144"/>
                  <a:gd name="T10" fmla="*/ 1715 w 2135"/>
                  <a:gd name="T11" fmla="*/ 1189 h 2144"/>
                  <a:gd name="T12" fmla="*/ 1432 w 2135"/>
                  <a:gd name="T13" fmla="*/ 184 h 2144"/>
                  <a:gd name="T14" fmla="*/ 1067 w 2135"/>
                  <a:gd name="T15" fmla="*/ 539 h 2144"/>
                  <a:gd name="T16" fmla="*/ 195 w 2135"/>
                  <a:gd name="T17" fmla="*/ 1419 h 2144"/>
                  <a:gd name="T18" fmla="*/ 166 w 2135"/>
                  <a:gd name="T19" fmla="*/ 1530 h 2144"/>
                  <a:gd name="T20" fmla="*/ 214 w 2135"/>
                  <a:gd name="T21" fmla="*/ 1634 h 2144"/>
                  <a:gd name="T22" fmla="*/ 575 w 2135"/>
                  <a:gd name="T23" fmla="*/ 1971 h 2144"/>
                  <a:gd name="T24" fmla="*/ 678 w 2135"/>
                  <a:gd name="T25" fmla="*/ 1971 h 2144"/>
                  <a:gd name="T26" fmla="*/ 951 w 2135"/>
                  <a:gd name="T27" fmla="*/ 1722 h 2144"/>
                  <a:gd name="T28" fmla="*/ 1921 w 2135"/>
                  <a:gd name="T29" fmla="*/ 748 h 2144"/>
                  <a:gd name="T30" fmla="*/ 1967 w 2135"/>
                  <a:gd name="T31" fmla="*/ 656 h 2144"/>
                  <a:gd name="T32" fmla="*/ 1952 w 2135"/>
                  <a:gd name="T33" fmla="*/ 553 h 2144"/>
                  <a:gd name="T34" fmla="*/ 1607 w 2135"/>
                  <a:gd name="T35" fmla="*/ 198 h 2144"/>
                  <a:gd name="T36" fmla="*/ 1508 w 2135"/>
                  <a:gd name="T37" fmla="*/ 165 h 2144"/>
                  <a:gd name="T38" fmla="*/ 550 w 2135"/>
                  <a:gd name="T39" fmla="*/ 184 h 2144"/>
                  <a:gd name="T40" fmla="*/ 197 w 2135"/>
                  <a:gd name="T41" fmla="*/ 530 h 2144"/>
                  <a:gd name="T42" fmla="*/ 165 w 2135"/>
                  <a:gd name="T43" fmla="*/ 630 h 2144"/>
                  <a:gd name="T44" fmla="*/ 197 w 2135"/>
                  <a:gd name="T45" fmla="*/ 728 h 2144"/>
                  <a:gd name="T46" fmla="*/ 745 w 2135"/>
                  <a:gd name="T47" fmla="*/ 215 h 2144"/>
                  <a:gd name="T48" fmla="*/ 653 w 2135"/>
                  <a:gd name="T49" fmla="*/ 167 h 2144"/>
                  <a:gd name="T50" fmla="*/ 701 w 2135"/>
                  <a:gd name="T51" fmla="*/ 9 h 2144"/>
                  <a:gd name="T52" fmla="*/ 833 w 2135"/>
                  <a:gd name="T53" fmla="*/ 73 h 2144"/>
                  <a:gd name="T54" fmla="*/ 1302 w 2135"/>
                  <a:gd name="T55" fmla="*/ 73 h 2144"/>
                  <a:gd name="T56" fmla="*/ 1434 w 2135"/>
                  <a:gd name="T57" fmla="*/ 9 h 2144"/>
                  <a:gd name="T58" fmla="*/ 1583 w 2135"/>
                  <a:gd name="T59" fmla="*/ 9 h 2144"/>
                  <a:gd name="T60" fmla="*/ 1715 w 2135"/>
                  <a:gd name="T61" fmla="*/ 73 h 2144"/>
                  <a:gd name="T62" fmla="*/ 2084 w 2135"/>
                  <a:gd name="T63" fmla="*/ 452 h 2144"/>
                  <a:gd name="T64" fmla="*/ 2133 w 2135"/>
                  <a:gd name="T65" fmla="*/ 591 h 2144"/>
                  <a:gd name="T66" fmla="*/ 2115 w 2135"/>
                  <a:gd name="T67" fmla="*/ 739 h 2144"/>
                  <a:gd name="T68" fmla="*/ 2037 w 2135"/>
                  <a:gd name="T69" fmla="*/ 865 h 2144"/>
                  <a:gd name="T70" fmla="*/ 2088 w 2135"/>
                  <a:gd name="T71" fmla="*/ 1344 h 2144"/>
                  <a:gd name="T72" fmla="*/ 2134 w 2135"/>
                  <a:gd name="T73" fmla="*/ 1495 h 2144"/>
                  <a:gd name="T74" fmla="*/ 2106 w 2135"/>
                  <a:gd name="T75" fmla="*/ 1650 h 2144"/>
                  <a:gd name="T76" fmla="*/ 1743 w 2135"/>
                  <a:gd name="T77" fmla="*/ 2047 h 2144"/>
                  <a:gd name="T78" fmla="*/ 1618 w 2135"/>
                  <a:gd name="T79" fmla="*/ 2125 h 2144"/>
                  <a:gd name="T80" fmla="*/ 1471 w 2135"/>
                  <a:gd name="T81" fmla="*/ 2142 h 2144"/>
                  <a:gd name="T82" fmla="*/ 1332 w 2135"/>
                  <a:gd name="T83" fmla="*/ 2093 h 2144"/>
                  <a:gd name="T84" fmla="*/ 861 w 2135"/>
                  <a:gd name="T85" fmla="*/ 2047 h 2144"/>
                  <a:gd name="T86" fmla="*/ 736 w 2135"/>
                  <a:gd name="T87" fmla="*/ 2125 h 2144"/>
                  <a:gd name="T88" fmla="*/ 589 w 2135"/>
                  <a:gd name="T89" fmla="*/ 2142 h 2144"/>
                  <a:gd name="T90" fmla="*/ 450 w 2135"/>
                  <a:gd name="T91" fmla="*/ 2093 h 2144"/>
                  <a:gd name="T92" fmla="*/ 70 w 2135"/>
                  <a:gd name="T93" fmla="*/ 1719 h 2144"/>
                  <a:gd name="T94" fmla="*/ 5 w 2135"/>
                  <a:gd name="T95" fmla="*/ 1574 h 2144"/>
                  <a:gd name="T96" fmla="*/ 14 w 2135"/>
                  <a:gd name="T97" fmla="*/ 1418 h 2144"/>
                  <a:gd name="T98" fmla="*/ 97 w 2135"/>
                  <a:gd name="T99" fmla="*/ 1279 h 2144"/>
                  <a:gd name="T100" fmla="*/ 51 w 2135"/>
                  <a:gd name="T101" fmla="*/ 806 h 2144"/>
                  <a:gd name="T102" fmla="*/ 2 w 2135"/>
                  <a:gd name="T103" fmla="*/ 667 h 2144"/>
                  <a:gd name="T104" fmla="*/ 20 w 2135"/>
                  <a:gd name="T105" fmla="*/ 519 h 2144"/>
                  <a:gd name="T106" fmla="*/ 98 w 2135"/>
                  <a:gd name="T107" fmla="*/ 393 h 2144"/>
                  <a:gd name="T108" fmla="*/ 483 w 2135"/>
                  <a:gd name="T109" fmla="*/ 34 h 2144"/>
                  <a:gd name="T110" fmla="*/ 626 w 2135"/>
                  <a:gd name="T111" fmla="*/ 0 h 2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35" h="2144">
                    <a:moveTo>
                      <a:pt x="1715" y="1189"/>
                    </a:moveTo>
                    <a:lnTo>
                      <a:pt x="1184" y="1722"/>
                    </a:lnTo>
                    <a:lnTo>
                      <a:pt x="1390" y="1929"/>
                    </a:lnTo>
                    <a:lnTo>
                      <a:pt x="1410" y="1946"/>
                    </a:lnTo>
                    <a:lnTo>
                      <a:pt x="1432" y="1960"/>
                    </a:lnTo>
                    <a:lnTo>
                      <a:pt x="1456" y="1971"/>
                    </a:lnTo>
                    <a:lnTo>
                      <a:pt x="1482" y="1977"/>
                    </a:lnTo>
                    <a:lnTo>
                      <a:pt x="1509" y="1979"/>
                    </a:lnTo>
                    <a:lnTo>
                      <a:pt x="1535" y="1977"/>
                    </a:lnTo>
                    <a:lnTo>
                      <a:pt x="1560" y="1971"/>
                    </a:lnTo>
                    <a:lnTo>
                      <a:pt x="1585" y="1960"/>
                    </a:lnTo>
                    <a:lnTo>
                      <a:pt x="1607" y="1946"/>
                    </a:lnTo>
                    <a:lnTo>
                      <a:pt x="1627" y="1929"/>
                    </a:lnTo>
                    <a:lnTo>
                      <a:pt x="1921" y="1634"/>
                    </a:lnTo>
                    <a:lnTo>
                      <a:pt x="1940" y="1611"/>
                    </a:lnTo>
                    <a:lnTo>
                      <a:pt x="1955" y="1585"/>
                    </a:lnTo>
                    <a:lnTo>
                      <a:pt x="1964" y="1558"/>
                    </a:lnTo>
                    <a:lnTo>
                      <a:pt x="1969" y="1530"/>
                    </a:lnTo>
                    <a:lnTo>
                      <a:pt x="1969" y="1501"/>
                    </a:lnTo>
                    <a:lnTo>
                      <a:pt x="1964" y="1473"/>
                    </a:lnTo>
                    <a:lnTo>
                      <a:pt x="1955" y="1446"/>
                    </a:lnTo>
                    <a:lnTo>
                      <a:pt x="1940" y="1419"/>
                    </a:lnTo>
                    <a:lnTo>
                      <a:pt x="1921" y="1396"/>
                    </a:lnTo>
                    <a:lnTo>
                      <a:pt x="1715" y="1189"/>
                    </a:lnTo>
                    <a:close/>
                    <a:moveTo>
                      <a:pt x="1508" y="165"/>
                    </a:moveTo>
                    <a:lnTo>
                      <a:pt x="1482" y="167"/>
                    </a:lnTo>
                    <a:lnTo>
                      <a:pt x="1456" y="173"/>
                    </a:lnTo>
                    <a:lnTo>
                      <a:pt x="1432" y="184"/>
                    </a:lnTo>
                    <a:lnTo>
                      <a:pt x="1410" y="198"/>
                    </a:lnTo>
                    <a:lnTo>
                      <a:pt x="1390" y="215"/>
                    </a:lnTo>
                    <a:lnTo>
                      <a:pt x="1184" y="422"/>
                    </a:lnTo>
                    <a:lnTo>
                      <a:pt x="1067" y="539"/>
                    </a:lnTo>
                    <a:lnTo>
                      <a:pt x="537" y="1072"/>
                    </a:lnTo>
                    <a:lnTo>
                      <a:pt x="420" y="1189"/>
                    </a:lnTo>
                    <a:lnTo>
                      <a:pt x="214" y="1396"/>
                    </a:lnTo>
                    <a:lnTo>
                      <a:pt x="195" y="1419"/>
                    </a:lnTo>
                    <a:lnTo>
                      <a:pt x="180" y="1446"/>
                    </a:lnTo>
                    <a:lnTo>
                      <a:pt x="171" y="1473"/>
                    </a:lnTo>
                    <a:lnTo>
                      <a:pt x="166" y="1501"/>
                    </a:lnTo>
                    <a:lnTo>
                      <a:pt x="166" y="1530"/>
                    </a:lnTo>
                    <a:lnTo>
                      <a:pt x="171" y="1558"/>
                    </a:lnTo>
                    <a:lnTo>
                      <a:pt x="180" y="1585"/>
                    </a:lnTo>
                    <a:lnTo>
                      <a:pt x="195" y="1611"/>
                    </a:lnTo>
                    <a:lnTo>
                      <a:pt x="214" y="1634"/>
                    </a:lnTo>
                    <a:lnTo>
                      <a:pt x="508" y="1929"/>
                    </a:lnTo>
                    <a:lnTo>
                      <a:pt x="528" y="1946"/>
                    </a:lnTo>
                    <a:lnTo>
                      <a:pt x="550" y="1960"/>
                    </a:lnTo>
                    <a:lnTo>
                      <a:pt x="575" y="1971"/>
                    </a:lnTo>
                    <a:lnTo>
                      <a:pt x="600" y="1977"/>
                    </a:lnTo>
                    <a:lnTo>
                      <a:pt x="626" y="1979"/>
                    </a:lnTo>
                    <a:lnTo>
                      <a:pt x="652" y="1977"/>
                    </a:lnTo>
                    <a:lnTo>
                      <a:pt x="678" y="1971"/>
                    </a:lnTo>
                    <a:lnTo>
                      <a:pt x="702" y="1960"/>
                    </a:lnTo>
                    <a:lnTo>
                      <a:pt x="724" y="1946"/>
                    </a:lnTo>
                    <a:lnTo>
                      <a:pt x="744" y="1929"/>
                    </a:lnTo>
                    <a:lnTo>
                      <a:pt x="951" y="1722"/>
                    </a:lnTo>
                    <a:lnTo>
                      <a:pt x="1061" y="1612"/>
                    </a:lnTo>
                    <a:lnTo>
                      <a:pt x="1598" y="1072"/>
                    </a:lnTo>
                    <a:lnTo>
                      <a:pt x="1605" y="1064"/>
                    </a:lnTo>
                    <a:lnTo>
                      <a:pt x="1921" y="748"/>
                    </a:lnTo>
                    <a:lnTo>
                      <a:pt x="1938" y="728"/>
                    </a:lnTo>
                    <a:lnTo>
                      <a:pt x="1952" y="706"/>
                    </a:lnTo>
                    <a:lnTo>
                      <a:pt x="1961" y="681"/>
                    </a:lnTo>
                    <a:lnTo>
                      <a:pt x="1967" y="656"/>
                    </a:lnTo>
                    <a:lnTo>
                      <a:pt x="1970" y="630"/>
                    </a:lnTo>
                    <a:lnTo>
                      <a:pt x="1967" y="602"/>
                    </a:lnTo>
                    <a:lnTo>
                      <a:pt x="1961" y="577"/>
                    </a:lnTo>
                    <a:lnTo>
                      <a:pt x="1952" y="553"/>
                    </a:lnTo>
                    <a:lnTo>
                      <a:pt x="1938" y="530"/>
                    </a:lnTo>
                    <a:lnTo>
                      <a:pt x="1921" y="510"/>
                    </a:lnTo>
                    <a:lnTo>
                      <a:pt x="1627" y="215"/>
                    </a:lnTo>
                    <a:lnTo>
                      <a:pt x="1607" y="198"/>
                    </a:lnTo>
                    <a:lnTo>
                      <a:pt x="1585" y="184"/>
                    </a:lnTo>
                    <a:lnTo>
                      <a:pt x="1560" y="173"/>
                    </a:lnTo>
                    <a:lnTo>
                      <a:pt x="1535" y="167"/>
                    </a:lnTo>
                    <a:lnTo>
                      <a:pt x="1508" y="165"/>
                    </a:lnTo>
                    <a:close/>
                    <a:moveTo>
                      <a:pt x="626" y="165"/>
                    </a:moveTo>
                    <a:lnTo>
                      <a:pt x="600" y="167"/>
                    </a:lnTo>
                    <a:lnTo>
                      <a:pt x="575" y="173"/>
                    </a:lnTo>
                    <a:lnTo>
                      <a:pt x="550" y="184"/>
                    </a:lnTo>
                    <a:lnTo>
                      <a:pt x="528" y="198"/>
                    </a:lnTo>
                    <a:lnTo>
                      <a:pt x="508" y="215"/>
                    </a:lnTo>
                    <a:lnTo>
                      <a:pt x="214" y="510"/>
                    </a:lnTo>
                    <a:lnTo>
                      <a:pt x="197" y="530"/>
                    </a:lnTo>
                    <a:lnTo>
                      <a:pt x="183" y="553"/>
                    </a:lnTo>
                    <a:lnTo>
                      <a:pt x="173" y="577"/>
                    </a:lnTo>
                    <a:lnTo>
                      <a:pt x="167" y="602"/>
                    </a:lnTo>
                    <a:lnTo>
                      <a:pt x="165" y="630"/>
                    </a:lnTo>
                    <a:lnTo>
                      <a:pt x="167" y="656"/>
                    </a:lnTo>
                    <a:lnTo>
                      <a:pt x="173" y="681"/>
                    </a:lnTo>
                    <a:lnTo>
                      <a:pt x="183" y="706"/>
                    </a:lnTo>
                    <a:lnTo>
                      <a:pt x="197" y="728"/>
                    </a:lnTo>
                    <a:lnTo>
                      <a:pt x="214" y="748"/>
                    </a:lnTo>
                    <a:lnTo>
                      <a:pt x="420" y="955"/>
                    </a:lnTo>
                    <a:lnTo>
                      <a:pt x="951" y="422"/>
                    </a:lnTo>
                    <a:lnTo>
                      <a:pt x="745" y="215"/>
                    </a:lnTo>
                    <a:lnTo>
                      <a:pt x="725" y="198"/>
                    </a:lnTo>
                    <a:lnTo>
                      <a:pt x="703" y="184"/>
                    </a:lnTo>
                    <a:lnTo>
                      <a:pt x="678" y="173"/>
                    </a:lnTo>
                    <a:lnTo>
                      <a:pt x="653" y="167"/>
                    </a:lnTo>
                    <a:lnTo>
                      <a:pt x="626" y="165"/>
                    </a:lnTo>
                    <a:close/>
                    <a:moveTo>
                      <a:pt x="626" y="0"/>
                    </a:moveTo>
                    <a:lnTo>
                      <a:pt x="664" y="2"/>
                    </a:lnTo>
                    <a:lnTo>
                      <a:pt x="701" y="9"/>
                    </a:lnTo>
                    <a:lnTo>
                      <a:pt x="736" y="19"/>
                    </a:lnTo>
                    <a:lnTo>
                      <a:pt x="770" y="34"/>
                    </a:lnTo>
                    <a:lnTo>
                      <a:pt x="803" y="51"/>
                    </a:lnTo>
                    <a:lnTo>
                      <a:pt x="833" y="73"/>
                    </a:lnTo>
                    <a:lnTo>
                      <a:pt x="861" y="98"/>
                    </a:lnTo>
                    <a:lnTo>
                      <a:pt x="1067" y="305"/>
                    </a:lnTo>
                    <a:lnTo>
                      <a:pt x="1274" y="98"/>
                    </a:lnTo>
                    <a:lnTo>
                      <a:pt x="1302" y="73"/>
                    </a:lnTo>
                    <a:lnTo>
                      <a:pt x="1332" y="51"/>
                    </a:lnTo>
                    <a:lnTo>
                      <a:pt x="1365" y="34"/>
                    </a:lnTo>
                    <a:lnTo>
                      <a:pt x="1399" y="19"/>
                    </a:lnTo>
                    <a:lnTo>
                      <a:pt x="1434" y="9"/>
                    </a:lnTo>
                    <a:lnTo>
                      <a:pt x="1471" y="2"/>
                    </a:lnTo>
                    <a:lnTo>
                      <a:pt x="1508" y="0"/>
                    </a:lnTo>
                    <a:lnTo>
                      <a:pt x="1546" y="2"/>
                    </a:lnTo>
                    <a:lnTo>
                      <a:pt x="1583" y="9"/>
                    </a:lnTo>
                    <a:lnTo>
                      <a:pt x="1618" y="19"/>
                    </a:lnTo>
                    <a:lnTo>
                      <a:pt x="1652" y="34"/>
                    </a:lnTo>
                    <a:lnTo>
                      <a:pt x="1685" y="51"/>
                    </a:lnTo>
                    <a:lnTo>
                      <a:pt x="1715" y="73"/>
                    </a:lnTo>
                    <a:lnTo>
                      <a:pt x="1743" y="98"/>
                    </a:lnTo>
                    <a:lnTo>
                      <a:pt x="2037" y="393"/>
                    </a:lnTo>
                    <a:lnTo>
                      <a:pt x="2062" y="422"/>
                    </a:lnTo>
                    <a:lnTo>
                      <a:pt x="2084" y="452"/>
                    </a:lnTo>
                    <a:lnTo>
                      <a:pt x="2101" y="485"/>
                    </a:lnTo>
                    <a:lnTo>
                      <a:pt x="2115" y="519"/>
                    </a:lnTo>
                    <a:lnTo>
                      <a:pt x="2126" y="555"/>
                    </a:lnTo>
                    <a:lnTo>
                      <a:pt x="2133" y="591"/>
                    </a:lnTo>
                    <a:lnTo>
                      <a:pt x="2135" y="630"/>
                    </a:lnTo>
                    <a:lnTo>
                      <a:pt x="2133" y="667"/>
                    </a:lnTo>
                    <a:lnTo>
                      <a:pt x="2126" y="704"/>
                    </a:lnTo>
                    <a:lnTo>
                      <a:pt x="2115" y="739"/>
                    </a:lnTo>
                    <a:lnTo>
                      <a:pt x="2101" y="774"/>
                    </a:lnTo>
                    <a:lnTo>
                      <a:pt x="2084" y="806"/>
                    </a:lnTo>
                    <a:lnTo>
                      <a:pt x="2062" y="836"/>
                    </a:lnTo>
                    <a:lnTo>
                      <a:pt x="2037" y="865"/>
                    </a:lnTo>
                    <a:lnTo>
                      <a:pt x="1831" y="1073"/>
                    </a:lnTo>
                    <a:lnTo>
                      <a:pt x="2037" y="1279"/>
                    </a:lnTo>
                    <a:lnTo>
                      <a:pt x="2065" y="1311"/>
                    </a:lnTo>
                    <a:lnTo>
                      <a:pt x="2088" y="1344"/>
                    </a:lnTo>
                    <a:lnTo>
                      <a:pt x="2106" y="1381"/>
                    </a:lnTo>
                    <a:lnTo>
                      <a:pt x="2119" y="1418"/>
                    </a:lnTo>
                    <a:lnTo>
                      <a:pt x="2129" y="1457"/>
                    </a:lnTo>
                    <a:lnTo>
                      <a:pt x="2134" y="1495"/>
                    </a:lnTo>
                    <a:lnTo>
                      <a:pt x="2134" y="1535"/>
                    </a:lnTo>
                    <a:lnTo>
                      <a:pt x="2129" y="1574"/>
                    </a:lnTo>
                    <a:lnTo>
                      <a:pt x="2119" y="1613"/>
                    </a:lnTo>
                    <a:lnTo>
                      <a:pt x="2106" y="1650"/>
                    </a:lnTo>
                    <a:lnTo>
                      <a:pt x="2088" y="1686"/>
                    </a:lnTo>
                    <a:lnTo>
                      <a:pt x="2065" y="1719"/>
                    </a:lnTo>
                    <a:lnTo>
                      <a:pt x="2037" y="1751"/>
                    </a:lnTo>
                    <a:lnTo>
                      <a:pt x="1743" y="2047"/>
                    </a:lnTo>
                    <a:lnTo>
                      <a:pt x="1715" y="2071"/>
                    </a:lnTo>
                    <a:lnTo>
                      <a:pt x="1685" y="2093"/>
                    </a:lnTo>
                    <a:lnTo>
                      <a:pt x="1652" y="2111"/>
                    </a:lnTo>
                    <a:lnTo>
                      <a:pt x="1618" y="2125"/>
                    </a:lnTo>
                    <a:lnTo>
                      <a:pt x="1583" y="2136"/>
                    </a:lnTo>
                    <a:lnTo>
                      <a:pt x="1546" y="2142"/>
                    </a:lnTo>
                    <a:lnTo>
                      <a:pt x="1509" y="2144"/>
                    </a:lnTo>
                    <a:lnTo>
                      <a:pt x="1471" y="2142"/>
                    </a:lnTo>
                    <a:lnTo>
                      <a:pt x="1434" y="2136"/>
                    </a:lnTo>
                    <a:lnTo>
                      <a:pt x="1399" y="2125"/>
                    </a:lnTo>
                    <a:lnTo>
                      <a:pt x="1365" y="2111"/>
                    </a:lnTo>
                    <a:lnTo>
                      <a:pt x="1332" y="2093"/>
                    </a:lnTo>
                    <a:lnTo>
                      <a:pt x="1302" y="2071"/>
                    </a:lnTo>
                    <a:lnTo>
                      <a:pt x="1274" y="2047"/>
                    </a:lnTo>
                    <a:lnTo>
                      <a:pt x="1067" y="1839"/>
                    </a:lnTo>
                    <a:lnTo>
                      <a:pt x="861" y="2047"/>
                    </a:lnTo>
                    <a:lnTo>
                      <a:pt x="833" y="2071"/>
                    </a:lnTo>
                    <a:lnTo>
                      <a:pt x="803" y="2093"/>
                    </a:lnTo>
                    <a:lnTo>
                      <a:pt x="770" y="2111"/>
                    </a:lnTo>
                    <a:lnTo>
                      <a:pt x="736" y="2125"/>
                    </a:lnTo>
                    <a:lnTo>
                      <a:pt x="701" y="2136"/>
                    </a:lnTo>
                    <a:lnTo>
                      <a:pt x="664" y="2142"/>
                    </a:lnTo>
                    <a:lnTo>
                      <a:pt x="626" y="2144"/>
                    </a:lnTo>
                    <a:lnTo>
                      <a:pt x="589" y="2142"/>
                    </a:lnTo>
                    <a:lnTo>
                      <a:pt x="552" y="2136"/>
                    </a:lnTo>
                    <a:lnTo>
                      <a:pt x="516" y="2125"/>
                    </a:lnTo>
                    <a:lnTo>
                      <a:pt x="483" y="2111"/>
                    </a:lnTo>
                    <a:lnTo>
                      <a:pt x="450" y="2093"/>
                    </a:lnTo>
                    <a:lnTo>
                      <a:pt x="420" y="2071"/>
                    </a:lnTo>
                    <a:lnTo>
                      <a:pt x="392" y="2047"/>
                    </a:lnTo>
                    <a:lnTo>
                      <a:pt x="97" y="1751"/>
                    </a:lnTo>
                    <a:lnTo>
                      <a:pt x="70" y="1719"/>
                    </a:lnTo>
                    <a:lnTo>
                      <a:pt x="47" y="1686"/>
                    </a:lnTo>
                    <a:lnTo>
                      <a:pt x="29" y="1650"/>
                    </a:lnTo>
                    <a:lnTo>
                      <a:pt x="14" y="1613"/>
                    </a:lnTo>
                    <a:lnTo>
                      <a:pt x="5" y="1574"/>
                    </a:lnTo>
                    <a:lnTo>
                      <a:pt x="1" y="1535"/>
                    </a:lnTo>
                    <a:lnTo>
                      <a:pt x="1" y="1495"/>
                    </a:lnTo>
                    <a:lnTo>
                      <a:pt x="5" y="1457"/>
                    </a:lnTo>
                    <a:lnTo>
                      <a:pt x="14" y="1418"/>
                    </a:lnTo>
                    <a:lnTo>
                      <a:pt x="29" y="1381"/>
                    </a:lnTo>
                    <a:lnTo>
                      <a:pt x="47" y="1344"/>
                    </a:lnTo>
                    <a:lnTo>
                      <a:pt x="70" y="1311"/>
                    </a:lnTo>
                    <a:lnTo>
                      <a:pt x="97" y="1279"/>
                    </a:lnTo>
                    <a:lnTo>
                      <a:pt x="304" y="1073"/>
                    </a:lnTo>
                    <a:lnTo>
                      <a:pt x="98" y="865"/>
                    </a:lnTo>
                    <a:lnTo>
                      <a:pt x="73" y="836"/>
                    </a:lnTo>
                    <a:lnTo>
                      <a:pt x="51" y="806"/>
                    </a:lnTo>
                    <a:lnTo>
                      <a:pt x="34" y="774"/>
                    </a:lnTo>
                    <a:lnTo>
                      <a:pt x="20" y="739"/>
                    </a:lnTo>
                    <a:lnTo>
                      <a:pt x="8" y="704"/>
                    </a:lnTo>
                    <a:lnTo>
                      <a:pt x="2" y="667"/>
                    </a:lnTo>
                    <a:lnTo>
                      <a:pt x="0" y="630"/>
                    </a:lnTo>
                    <a:lnTo>
                      <a:pt x="2" y="591"/>
                    </a:lnTo>
                    <a:lnTo>
                      <a:pt x="8" y="555"/>
                    </a:lnTo>
                    <a:lnTo>
                      <a:pt x="20" y="519"/>
                    </a:lnTo>
                    <a:lnTo>
                      <a:pt x="34" y="485"/>
                    </a:lnTo>
                    <a:lnTo>
                      <a:pt x="51" y="452"/>
                    </a:lnTo>
                    <a:lnTo>
                      <a:pt x="73" y="422"/>
                    </a:lnTo>
                    <a:lnTo>
                      <a:pt x="98" y="393"/>
                    </a:lnTo>
                    <a:lnTo>
                      <a:pt x="392" y="98"/>
                    </a:lnTo>
                    <a:lnTo>
                      <a:pt x="420" y="73"/>
                    </a:lnTo>
                    <a:lnTo>
                      <a:pt x="450" y="51"/>
                    </a:lnTo>
                    <a:lnTo>
                      <a:pt x="483" y="34"/>
                    </a:lnTo>
                    <a:lnTo>
                      <a:pt x="517" y="19"/>
                    </a:lnTo>
                    <a:lnTo>
                      <a:pt x="552" y="9"/>
                    </a:lnTo>
                    <a:lnTo>
                      <a:pt x="589" y="2"/>
                    </a:lnTo>
                    <a:lnTo>
                      <a:pt x="62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156" name="Group 272"/>
            <p:cNvGrpSpPr>
              <a:grpSpLocks noChangeAspect="1"/>
            </p:cNvGrpSpPr>
            <p:nvPr/>
          </p:nvGrpSpPr>
          <p:grpSpPr bwMode="auto">
            <a:xfrm>
              <a:off x="9610919" y="2782985"/>
              <a:ext cx="451619" cy="453648"/>
              <a:chOff x="3706" y="3933"/>
              <a:chExt cx="222" cy="223"/>
            </a:xfrm>
          </p:grpSpPr>
          <p:sp>
            <p:nvSpPr>
              <p:cNvPr id="157" name="Rectangle 273"/>
              <p:cNvSpPr>
                <a:spLocks noChangeArrowheads="1"/>
              </p:cNvSpPr>
              <p:nvPr/>
            </p:nvSpPr>
            <p:spPr bwMode="auto">
              <a:xfrm>
                <a:off x="3706" y="3933"/>
                <a:ext cx="222" cy="223"/>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58" name="Rectangle 274"/>
              <p:cNvSpPr>
                <a:spLocks noChangeArrowheads="1"/>
              </p:cNvSpPr>
              <p:nvPr/>
            </p:nvSpPr>
            <p:spPr bwMode="auto">
              <a:xfrm>
                <a:off x="3706" y="3933"/>
                <a:ext cx="222" cy="223"/>
              </a:xfrm>
              <a:prstGeom prst="rect">
                <a:avLst/>
              </a:prstGeom>
              <a:solidFill>
                <a:srgbClr val="99D0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59" name="Freeform 275"/>
              <p:cNvSpPr>
                <a:spLocks noEditPoints="1"/>
              </p:cNvSpPr>
              <p:nvPr/>
            </p:nvSpPr>
            <p:spPr bwMode="auto">
              <a:xfrm>
                <a:off x="3739" y="3972"/>
                <a:ext cx="161" cy="145"/>
              </a:xfrm>
              <a:custGeom>
                <a:avLst/>
                <a:gdLst>
                  <a:gd name="T0" fmla="*/ 415 w 2411"/>
                  <a:gd name="T1" fmla="*/ 1357 h 2170"/>
                  <a:gd name="T2" fmla="*/ 343 w 2411"/>
                  <a:gd name="T3" fmla="*/ 1444 h 2170"/>
                  <a:gd name="T4" fmla="*/ 666 w 2411"/>
                  <a:gd name="T5" fmla="*/ 1587 h 2170"/>
                  <a:gd name="T6" fmla="*/ 643 w 2411"/>
                  <a:gd name="T7" fmla="*/ 1418 h 2170"/>
                  <a:gd name="T8" fmla="*/ 558 w 2411"/>
                  <a:gd name="T9" fmla="*/ 1345 h 2170"/>
                  <a:gd name="T10" fmla="*/ 1246 w 2411"/>
                  <a:gd name="T11" fmla="*/ 1827 h 2170"/>
                  <a:gd name="T12" fmla="*/ 1286 w 2411"/>
                  <a:gd name="T13" fmla="*/ 1943 h 2170"/>
                  <a:gd name="T14" fmla="*/ 1347 w 2411"/>
                  <a:gd name="T15" fmla="*/ 1994 h 2170"/>
                  <a:gd name="T16" fmla="*/ 1413 w 2411"/>
                  <a:gd name="T17" fmla="*/ 2004 h 2170"/>
                  <a:gd name="T18" fmla="*/ 1794 w 2411"/>
                  <a:gd name="T19" fmla="*/ 2000 h 2170"/>
                  <a:gd name="T20" fmla="*/ 1854 w 2411"/>
                  <a:gd name="T21" fmla="*/ 1961 h 2170"/>
                  <a:gd name="T22" fmla="*/ 1905 w 2411"/>
                  <a:gd name="T23" fmla="*/ 1860 h 2170"/>
                  <a:gd name="T24" fmla="*/ 1747 w 2411"/>
                  <a:gd name="T25" fmla="*/ 1252 h 2170"/>
                  <a:gd name="T26" fmla="*/ 1747 w 2411"/>
                  <a:gd name="T27" fmla="*/ 1087 h 2170"/>
                  <a:gd name="T28" fmla="*/ 1905 w 2411"/>
                  <a:gd name="T29" fmla="*/ 777 h 2170"/>
                  <a:gd name="T30" fmla="*/ 2247 w 2411"/>
                  <a:gd name="T31" fmla="*/ 1337 h 2170"/>
                  <a:gd name="T32" fmla="*/ 2222 w 2411"/>
                  <a:gd name="T33" fmla="*/ 775 h 2170"/>
                  <a:gd name="T34" fmla="*/ 1897 w 2411"/>
                  <a:gd name="T35" fmla="*/ 750 h 2170"/>
                  <a:gd name="T36" fmla="*/ 1603 w 2411"/>
                  <a:gd name="T37" fmla="*/ 775 h 2170"/>
                  <a:gd name="T38" fmla="*/ 1579 w 2411"/>
                  <a:gd name="T39" fmla="*/ 835 h 2170"/>
                  <a:gd name="T40" fmla="*/ 1744 w 2411"/>
                  <a:gd name="T41" fmla="*/ 814 h 2170"/>
                  <a:gd name="T42" fmla="*/ 1692 w 2411"/>
                  <a:gd name="T43" fmla="*/ 755 h 2170"/>
                  <a:gd name="T44" fmla="*/ 1663 w 2411"/>
                  <a:gd name="T45" fmla="*/ 585 h 2170"/>
                  <a:gd name="T46" fmla="*/ 2267 w 2411"/>
                  <a:gd name="T47" fmla="*/ 608 h 2170"/>
                  <a:gd name="T48" fmla="*/ 2371 w 2411"/>
                  <a:gd name="T49" fmla="*/ 699 h 2170"/>
                  <a:gd name="T50" fmla="*/ 2411 w 2411"/>
                  <a:gd name="T51" fmla="*/ 835 h 2170"/>
                  <a:gd name="T52" fmla="*/ 2063 w 2411"/>
                  <a:gd name="T53" fmla="*/ 1905 h 2170"/>
                  <a:gd name="T54" fmla="*/ 1984 w 2411"/>
                  <a:gd name="T55" fmla="*/ 2062 h 2170"/>
                  <a:gd name="T56" fmla="*/ 1864 w 2411"/>
                  <a:gd name="T57" fmla="*/ 2150 h 2170"/>
                  <a:gd name="T58" fmla="*/ 1413 w 2411"/>
                  <a:gd name="T59" fmla="*/ 2169 h 2170"/>
                  <a:gd name="T60" fmla="*/ 1255 w 2411"/>
                  <a:gd name="T61" fmla="*/ 2132 h 2170"/>
                  <a:gd name="T62" fmla="*/ 1142 w 2411"/>
                  <a:gd name="T63" fmla="*/ 2022 h 2170"/>
                  <a:gd name="T64" fmla="*/ 1083 w 2411"/>
                  <a:gd name="T65" fmla="*/ 1849 h 2170"/>
                  <a:gd name="T66" fmla="*/ 1414 w 2411"/>
                  <a:gd name="T67" fmla="*/ 835 h 2170"/>
                  <a:gd name="T68" fmla="*/ 1455 w 2411"/>
                  <a:gd name="T69" fmla="*/ 699 h 2170"/>
                  <a:gd name="T70" fmla="*/ 1558 w 2411"/>
                  <a:gd name="T71" fmla="*/ 608 h 2170"/>
                  <a:gd name="T72" fmla="*/ 417 w 2411"/>
                  <a:gd name="T73" fmla="*/ 0 h 2170"/>
                  <a:gd name="T74" fmla="*/ 662 w 2411"/>
                  <a:gd name="T75" fmla="*/ 1212 h 2170"/>
                  <a:gd name="T76" fmla="*/ 785 w 2411"/>
                  <a:gd name="T77" fmla="*/ 1333 h 2170"/>
                  <a:gd name="T78" fmla="*/ 831 w 2411"/>
                  <a:gd name="T79" fmla="*/ 1502 h 2170"/>
                  <a:gd name="T80" fmla="*/ 582 w 2411"/>
                  <a:gd name="T81" fmla="*/ 1753 h 2170"/>
                  <a:gd name="T82" fmla="*/ 332 w 2411"/>
                  <a:gd name="T83" fmla="*/ 1753 h 2170"/>
                  <a:gd name="T84" fmla="*/ 306 w 2411"/>
                  <a:gd name="T85" fmla="*/ 1966 h 2170"/>
                  <a:gd name="T86" fmla="*/ 203 w 2411"/>
                  <a:gd name="T87" fmla="*/ 2100 h 2170"/>
                  <a:gd name="T88" fmla="*/ 46 w 2411"/>
                  <a:gd name="T89" fmla="*/ 2166 h 2170"/>
                  <a:gd name="T90" fmla="*/ 59 w 2411"/>
                  <a:gd name="T91" fmla="*/ 1994 h 2170"/>
                  <a:gd name="T92" fmla="*/ 145 w 2411"/>
                  <a:gd name="T93" fmla="*/ 1921 h 2170"/>
                  <a:gd name="T94" fmla="*/ 168 w 2411"/>
                  <a:gd name="T95" fmla="*/ 1502 h 2170"/>
                  <a:gd name="T96" fmla="*/ 214 w 2411"/>
                  <a:gd name="T97" fmla="*/ 1333 h 2170"/>
                  <a:gd name="T98" fmla="*/ 337 w 2411"/>
                  <a:gd name="T99" fmla="*/ 1212 h 2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11" h="2170">
                    <a:moveTo>
                      <a:pt x="499" y="1335"/>
                    </a:moveTo>
                    <a:lnTo>
                      <a:pt x="470" y="1337"/>
                    </a:lnTo>
                    <a:lnTo>
                      <a:pt x="441" y="1345"/>
                    </a:lnTo>
                    <a:lnTo>
                      <a:pt x="415" y="1357"/>
                    </a:lnTo>
                    <a:lnTo>
                      <a:pt x="392" y="1374"/>
                    </a:lnTo>
                    <a:lnTo>
                      <a:pt x="372" y="1395"/>
                    </a:lnTo>
                    <a:lnTo>
                      <a:pt x="355" y="1418"/>
                    </a:lnTo>
                    <a:lnTo>
                      <a:pt x="343" y="1444"/>
                    </a:lnTo>
                    <a:lnTo>
                      <a:pt x="336" y="1473"/>
                    </a:lnTo>
                    <a:lnTo>
                      <a:pt x="332" y="1502"/>
                    </a:lnTo>
                    <a:lnTo>
                      <a:pt x="332" y="1587"/>
                    </a:lnTo>
                    <a:lnTo>
                      <a:pt x="666" y="1587"/>
                    </a:lnTo>
                    <a:lnTo>
                      <a:pt x="666" y="1502"/>
                    </a:lnTo>
                    <a:lnTo>
                      <a:pt x="663" y="1473"/>
                    </a:lnTo>
                    <a:lnTo>
                      <a:pt x="656" y="1444"/>
                    </a:lnTo>
                    <a:lnTo>
                      <a:pt x="643" y="1418"/>
                    </a:lnTo>
                    <a:lnTo>
                      <a:pt x="627" y="1395"/>
                    </a:lnTo>
                    <a:lnTo>
                      <a:pt x="607" y="1374"/>
                    </a:lnTo>
                    <a:lnTo>
                      <a:pt x="584" y="1357"/>
                    </a:lnTo>
                    <a:lnTo>
                      <a:pt x="558" y="1345"/>
                    </a:lnTo>
                    <a:lnTo>
                      <a:pt x="529" y="1337"/>
                    </a:lnTo>
                    <a:lnTo>
                      <a:pt x="499" y="1335"/>
                    </a:lnTo>
                    <a:close/>
                    <a:moveTo>
                      <a:pt x="1194" y="1252"/>
                    </a:moveTo>
                    <a:lnTo>
                      <a:pt x="1246" y="1827"/>
                    </a:lnTo>
                    <a:lnTo>
                      <a:pt x="1253" y="1863"/>
                    </a:lnTo>
                    <a:lnTo>
                      <a:pt x="1262" y="1894"/>
                    </a:lnTo>
                    <a:lnTo>
                      <a:pt x="1273" y="1921"/>
                    </a:lnTo>
                    <a:lnTo>
                      <a:pt x="1286" y="1943"/>
                    </a:lnTo>
                    <a:lnTo>
                      <a:pt x="1299" y="1960"/>
                    </a:lnTo>
                    <a:lnTo>
                      <a:pt x="1314" y="1975"/>
                    </a:lnTo>
                    <a:lnTo>
                      <a:pt x="1330" y="1986"/>
                    </a:lnTo>
                    <a:lnTo>
                      <a:pt x="1347" y="1994"/>
                    </a:lnTo>
                    <a:lnTo>
                      <a:pt x="1363" y="1999"/>
                    </a:lnTo>
                    <a:lnTo>
                      <a:pt x="1380" y="2002"/>
                    </a:lnTo>
                    <a:lnTo>
                      <a:pt x="1397" y="2004"/>
                    </a:lnTo>
                    <a:lnTo>
                      <a:pt x="1413" y="2004"/>
                    </a:lnTo>
                    <a:lnTo>
                      <a:pt x="1746" y="2004"/>
                    </a:lnTo>
                    <a:lnTo>
                      <a:pt x="1761" y="2004"/>
                    </a:lnTo>
                    <a:lnTo>
                      <a:pt x="1778" y="2003"/>
                    </a:lnTo>
                    <a:lnTo>
                      <a:pt x="1794" y="2000"/>
                    </a:lnTo>
                    <a:lnTo>
                      <a:pt x="1809" y="1995"/>
                    </a:lnTo>
                    <a:lnTo>
                      <a:pt x="1824" y="1987"/>
                    </a:lnTo>
                    <a:lnTo>
                      <a:pt x="1839" y="1977"/>
                    </a:lnTo>
                    <a:lnTo>
                      <a:pt x="1854" y="1961"/>
                    </a:lnTo>
                    <a:lnTo>
                      <a:pt x="1868" y="1943"/>
                    </a:lnTo>
                    <a:lnTo>
                      <a:pt x="1881" y="1921"/>
                    </a:lnTo>
                    <a:lnTo>
                      <a:pt x="1894" y="1892"/>
                    </a:lnTo>
                    <a:lnTo>
                      <a:pt x="1905" y="1860"/>
                    </a:lnTo>
                    <a:lnTo>
                      <a:pt x="1915" y="1820"/>
                    </a:lnTo>
                    <a:lnTo>
                      <a:pt x="1972" y="1502"/>
                    </a:lnTo>
                    <a:lnTo>
                      <a:pt x="1746" y="1502"/>
                    </a:lnTo>
                    <a:lnTo>
                      <a:pt x="1747" y="1252"/>
                    </a:lnTo>
                    <a:lnTo>
                      <a:pt x="1194" y="1252"/>
                    </a:lnTo>
                    <a:close/>
                    <a:moveTo>
                      <a:pt x="1171" y="1000"/>
                    </a:moveTo>
                    <a:lnTo>
                      <a:pt x="1179" y="1087"/>
                    </a:lnTo>
                    <a:lnTo>
                      <a:pt x="1747" y="1087"/>
                    </a:lnTo>
                    <a:lnTo>
                      <a:pt x="1747" y="1000"/>
                    </a:lnTo>
                    <a:lnTo>
                      <a:pt x="1171" y="1000"/>
                    </a:lnTo>
                    <a:close/>
                    <a:moveTo>
                      <a:pt x="1897" y="750"/>
                    </a:moveTo>
                    <a:lnTo>
                      <a:pt x="1905" y="777"/>
                    </a:lnTo>
                    <a:lnTo>
                      <a:pt x="1910" y="806"/>
                    </a:lnTo>
                    <a:lnTo>
                      <a:pt x="1912" y="835"/>
                    </a:lnTo>
                    <a:lnTo>
                      <a:pt x="1912" y="1337"/>
                    </a:lnTo>
                    <a:lnTo>
                      <a:pt x="2247" y="1337"/>
                    </a:lnTo>
                    <a:lnTo>
                      <a:pt x="2247" y="835"/>
                    </a:lnTo>
                    <a:lnTo>
                      <a:pt x="2244" y="813"/>
                    </a:lnTo>
                    <a:lnTo>
                      <a:pt x="2235" y="793"/>
                    </a:lnTo>
                    <a:lnTo>
                      <a:pt x="2222" y="775"/>
                    </a:lnTo>
                    <a:lnTo>
                      <a:pt x="2204" y="762"/>
                    </a:lnTo>
                    <a:lnTo>
                      <a:pt x="2184" y="753"/>
                    </a:lnTo>
                    <a:lnTo>
                      <a:pt x="2162" y="750"/>
                    </a:lnTo>
                    <a:lnTo>
                      <a:pt x="1897" y="750"/>
                    </a:lnTo>
                    <a:close/>
                    <a:moveTo>
                      <a:pt x="1662" y="750"/>
                    </a:moveTo>
                    <a:lnTo>
                      <a:pt x="1640" y="753"/>
                    </a:lnTo>
                    <a:lnTo>
                      <a:pt x="1620" y="762"/>
                    </a:lnTo>
                    <a:lnTo>
                      <a:pt x="1603" y="775"/>
                    </a:lnTo>
                    <a:lnTo>
                      <a:pt x="1590" y="793"/>
                    </a:lnTo>
                    <a:lnTo>
                      <a:pt x="1582" y="813"/>
                    </a:lnTo>
                    <a:lnTo>
                      <a:pt x="1579" y="835"/>
                    </a:lnTo>
                    <a:lnTo>
                      <a:pt x="1579" y="835"/>
                    </a:lnTo>
                    <a:lnTo>
                      <a:pt x="1747" y="835"/>
                    </a:lnTo>
                    <a:lnTo>
                      <a:pt x="1747" y="835"/>
                    </a:lnTo>
                    <a:lnTo>
                      <a:pt x="1747" y="835"/>
                    </a:lnTo>
                    <a:lnTo>
                      <a:pt x="1744" y="814"/>
                    </a:lnTo>
                    <a:lnTo>
                      <a:pt x="1736" y="795"/>
                    </a:lnTo>
                    <a:lnTo>
                      <a:pt x="1725" y="778"/>
                    </a:lnTo>
                    <a:lnTo>
                      <a:pt x="1710" y="765"/>
                    </a:lnTo>
                    <a:lnTo>
                      <a:pt x="1692" y="755"/>
                    </a:lnTo>
                    <a:lnTo>
                      <a:pt x="1672" y="751"/>
                    </a:lnTo>
                    <a:lnTo>
                      <a:pt x="1662" y="750"/>
                    </a:lnTo>
                    <a:close/>
                    <a:moveTo>
                      <a:pt x="1662" y="585"/>
                    </a:moveTo>
                    <a:lnTo>
                      <a:pt x="1663" y="585"/>
                    </a:lnTo>
                    <a:lnTo>
                      <a:pt x="2162" y="585"/>
                    </a:lnTo>
                    <a:lnTo>
                      <a:pt x="2199" y="588"/>
                    </a:lnTo>
                    <a:lnTo>
                      <a:pt x="2234" y="596"/>
                    </a:lnTo>
                    <a:lnTo>
                      <a:pt x="2267" y="608"/>
                    </a:lnTo>
                    <a:lnTo>
                      <a:pt x="2297" y="625"/>
                    </a:lnTo>
                    <a:lnTo>
                      <a:pt x="2325" y="647"/>
                    </a:lnTo>
                    <a:lnTo>
                      <a:pt x="2350" y="671"/>
                    </a:lnTo>
                    <a:lnTo>
                      <a:pt x="2371" y="699"/>
                    </a:lnTo>
                    <a:lnTo>
                      <a:pt x="2388" y="730"/>
                    </a:lnTo>
                    <a:lnTo>
                      <a:pt x="2400" y="763"/>
                    </a:lnTo>
                    <a:lnTo>
                      <a:pt x="2408" y="798"/>
                    </a:lnTo>
                    <a:lnTo>
                      <a:pt x="2411" y="835"/>
                    </a:lnTo>
                    <a:lnTo>
                      <a:pt x="2411" y="1502"/>
                    </a:lnTo>
                    <a:lnTo>
                      <a:pt x="2140" y="1502"/>
                    </a:lnTo>
                    <a:lnTo>
                      <a:pt x="2076" y="1855"/>
                    </a:lnTo>
                    <a:lnTo>
                      <a:pt x="2063" y="1905"/>
                    </a:lnTo>
                    <a:lnTo>
                      <a:pt x="2047" y="1950"/>
                    </a:lnTo>
                    <a:lnTo>
                      <a:pt x="2029" y="1992"/>
                    </a:lnTo>
                    <a:lnTo>
                      <a:pt x="2009" y="2029"/>
                    </a:lnTo>
                    <a:lnTo>
                      <a:pt x="1984" y="2062"/>
                    </a:lnTo>
                    <a:lnTo>
                      <a:pt x="1958" y="2090"/>
                    </a:lnTo>
                    <a:lnTo>
                      <a:pt x="1930" y="2114"/>
                    </a:lnTo>
                    <a:lnTo>
                      <a:pt x="1898" y="2135"/>
                    </a:lnTo>
                    <a:lnTo>
                      <a:pt x="1864" y="2150"/>
                    </a:lnTo>
                    <a:lnTo>
                      <a:pt x="1827" y="2161"/>
                    </a:lnTo>
                    <a:lnTo>
                      <a:pt x="1788" y="2167"/>
                    </a:lnTo>
                    <a:lnTo>
                      <a:pt x="1746" y="2169"/>
                    </a:lnTo>
                    <a:lnTo>
                      <a:pt x="1413" y="2169"/>
                    </a:lnTo>
                    <a:lnTo>
                      <a:pt x="1370" y="2167"/>
                    </a:lnTo>
                    <a:lnTo>
                      <a:pt x="1328" y="2160"/>
                    </a:lnTo>
                    <a:lnTo>
                      <a:pt x="1290" y="2148"/>
                    </a:lnTo>
                    <a:lnTo>
                      <a:pt x="1255" y="2132"/>
                    </a:lnTo>
                    <a:lnTo>
                      <a:pt x="1221" y="2111"/>
                    </a:lnTo>
                    <a:lnTo>
                      <a:pt x="1192" y="2086"/>
                    </a:lnTo>
                    <a:lnTo>
                      <a:pt x="1166" y="2057"/>
                    </a:lnTo>
                    <a:lnTo>
                      <a:pt x="1142" y="2022"/>
                    </a:lnTo>
                    <a:lnTo>
                      <a:pt x="1123" y="1985"/>
                    </a:lnTo>
                    <a:lnTo>
                      <a:pt x="1105" y="1943"/>
                    </a:lnTo>
                    <a:lnTo>
                      <a:pt x="1092" y="1897"/>
                    </a:lnTo>
                    <a:lnTo>
                      <a:pt x="1083" y="1849"/>
                    </a:lnTo>
                    <a:lnTo>
                      <a:pt x="1082" y="1844"/>
                    </a:lnTo>
                    <a:lnTo>
                      <a:pt x="991" y="835"/>
                    </a:lnTo>
                    <a:lnTo>
                      <a:pt x="1414" y="835"/>
                    </a:lnTo>
                    <a:lnTo>
                      <a:pt x="1414" y="835"/>
                    </a:lnTo>
                    <a:lnTo>
                      <a:pt x="1417" y="798"/>
                    </a:lnTo>
                    <a:lnTo>
                      <a:pt x="1424" y="763"/>
                    </a:lnTo>
                    <a:lnTo>
                      <a:pt x="1437" y="730"/>
                    </a:lnTo>
                    <a:lnTo>
                      <a:pt x="1455" y="699"/>
                    </a:lnTo>
                    <a:lnTo>
                      <a:pt x="1475" y="671"/>
                    </a:lnTo>
                    <a:lnTo>
                      <a:pt x="1500" y="647"/>
                    </a:lnTo>
                    <a:lnTo>
                      <a:pt x="1527" y="625"/>
                    </a:lnTo>
                    <a:lnTo>
                      <a:pt x="1558" y="608"/>
                    </a:lnTo>
                    <a:lnTo>
                      <a:pt x="1591" y="596"/>
                    </a:lnTo>
                    <a:lnTo>
                      <a:pt x="1626" y="588"/>
                    </a:lnTo>
                    <a:lnTo>
                      <a:pt x="1662" y="585"/>
                    </a:lnTo>
                    <a:close/>
                    <a:moveTo>
                      <a:pt x="417" y="0"/>
                    </a:moveTo>
                    <a:lnTo>
                      <a:pt x="582" y="0"/>
                    </a:lnTo>
                    <a:lnTo>
                      <a:pt x="582" y="1180"/>
                    </a:lnTo>
                    <a:lnTo>
                      <a:pt x="623" y="1194"/>
                    </a:lnTo>
                    <a:lnTo>
                      <a:pt x="662" y="1212"/>
                    </a:lnTo>
                    <a:lnTo>
                      <a:pt x="699" y="1237"/>
                    </a:lnTo>
                    <a:lnTo>
                      <a:pt x="731" y="1265"/>
                    </a:lnTo>
                    <a:lnTo>
                      <a:pt x="760" y="1296"/>
                    </a:lnTo>
                    <a:lnTo>
                      <a:pt x="785" y="1333"/>
                    </a:lnTo>
                    <a:lnTo>
                      <a:pt x="805" y="1371"/>
                    </a:lnTo>
                    <a:lnTo>
                      <a:pt x="819" y="1413"/>
                    </a:lnTo>
                    <a:lnTo>
                      <a:pt x="828" y="1457"/>
                    </a:lnTo>
                    <a:lnTo>
                      <a:pt x="831" y="1502"/>
                    </a:lnTo>
                    <a:lnTo>
                      <a:pt x="831" y="2170"/>
                    </a:lnTo>
                    <a:lnTo>
                      <a:pt x="666" y="2170"/>
                    </a:lnTo>
                    <a:lnTo>
                      <a:pt x="666" y="1753"/>
                    </a:lnTo>
                    <a:lnTo>
                      <a:pt x="582" y="1753"/>
                    </a:lnTo>
                    <a:lnTo>
                      <a:pt x="582" y="2170"/>
                    </a:lnTo>
                    <a:lnTo>
                      <a:pt x="417" y="2170"/>
                    </a:lnTo>
                    <a:lnTo>
                      <a:pt x="417" y="1753"/>
                    </a:lnTo>
                    <a:lnTo>
                      <a:pt x="332" y="1753"/>
                    </a:lnTo>
                    <a:lnTo>
                      <a:pt x="332" y="1837"/>
                    </a:lnTo>
                    <a:lnTo>
                      <a:pt x="329" y="1881"/>
                    </a:lnTo>
                    <a:lnTo>
                      <a:pt x="320" y="1925"/>
                    </a:lnTo>
                    <a:lnTo>
                      <a:pt x="306" y="1966"/>
                    </a:lnTo>
                    <a:lnTo>
                      <a:pt x="287" y="2005"/>
                    </a:lnTo>
                    <a:lnTo>
                      <a:pt x="263" y="2040"/>
                    </a:lnTo>
                    <a:lnTo>
                      <a:pt x="235" y="2072"/>
                    </a:lnTo>
                    <a:lnTo>
                      <a:pt x="203" y="2100"/>
                    </a:lnTo>
                    <a:lnTo>
                      <a:pt x="168" y="2125"/>
                    </a:lnTo>
                    <a:lnTo>
                      <a:pt x="130" y="2144"/>
                    </a:lnTo>
                    <a:lnTo>
                      <a:pt x="88" y="2158"/>
                    </a:lnTo>
                    <a:lnTo>
                      <a:pt x="46" y="2166"/>
                    </a:lnTo>
                    <a:lnTo>
                      <a:pt x="0" y="2170"/>
                    </a:lnTo>
                    <a:lnTo>
                      <a:pt x="0" y="2005"/>
                    </a:lnTo>
                    <a:lnTo>
                      <a:pt x="31" y="2002"/>
                    </a:lnTo>
                    <a:lnTo>
                      <a:pt x="59" y="1994"/>
                    </a:lnTo>
                    <a:lnTo>
                      <a:pt x="85" y="1982"/>
                    </a:lnTo>
                    <a:lnTo>
                      <a:pt x="108" y="1965"/>
                    </a:lnTo>
                    <a:lnTo>
                      <a:pt x="129" y="1945"/>
                    </a:lnTo>
                    <a:lnTo>
                      <a:pt x="145" y="1921"/>
                    </a:lnTo>
                    <a:lnTo>
                      <a:pt x="157" y="1895"/>
                    </a:lnTo>
                    <a:lnTo>
                      <a:pt x="165" y="1867"/>
                    </a:lnTo>
                    <a:lnTo>
                      <a:pt x="168" y="1837"/>
                    </a:lnTo>
                    <a:lnTo>
                      <a:pt x="168" y="1502"/>
                    </a:lnTo>
                    <a:lnTo>
                      <a:pt x="171" y="1457"/>
                    </a:lnTo>
                    <a:lnTo>
                      <a:pt x="180" y="1413"/>
                    </a:lnTo>
                    <a:lnTo>
                      <a:pt x="194" y="1371"/>
                    </a:lnTo>
                    <a:lnTo>
                      <a:pt x="214" y="1333"/>
                    </a:lnTo>
                    <a:lnTo>
                      <a:pt x="239" y="1296"/>
                    </a:lnTo>
                    <a:lnTo>
                      <a:pt x="268" y="1265"/>
                    </a:lnTo>
                    <a:lnTo>
                      <a:pt x="300" y="1237"/>
                    </a:lnTo>
                    <a:lnTo>
                      <a:pt x="337" y="1212"/>
                    </a:lnTo>
                    <a:lnTo>
                      <a:pt x="376" y="1194"/>
                    </a:lnTo>
                    <a:lnTo>
                      <a:pt x="417" y="1180"/>
                    </a:lnTo>
                    <a:lnTo>
                      <a:pt x="41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160" name="Group 205"/>
            <p:cNvGrpSpPr>
              <a:grpSpLocks noChangeAspect="1"/>
            </p:cNvGrpSpPr>
            <p:nvPr/>
          </p:nvGrpSpPr>
          <p:grpSpPr bwMode="auto">
            <a:xfrm>
              <a:off x="5134638" y="3060491"/>
              <a:ext cx="451619" cy="453648"/>
              <a:chOff x="322" y="3933"/>
              <a:chExt cx="222" cy="223"/>
            </a:xfrm>
          </p:grpSpPr>
          <p:sp>
            <p:nvSpPr>
              <p:cNvPr id="161" name="Rectangle 206"/>
              <p:cNvSpPr>
                <a:spLocks noChangeArrowheads="1"/>
              </p:cNvSpPr>
              <p:nvPr/>
            </p:nvSpPr>
            <p:spPr bwMode="auto">
              <a:xfrm>
                <a:off x="322" y="3933"/>
                <a:ext cx="222" cy="223"/>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62" name="Rectangle 207"/>
              <p:cNvSpPr>
                <a:spLocks noChangeArrowheads="1"/>
              </p:cNvSpPr>
              <p:nvPr/>
            </p:nvSpPr>
            <p:spPr bwMode="auto">
              <a:xfrm>
                <a:off x="322" y="3933"/>
                <a:ext cx="222" cy="223"/>
              </a:xfrm>
              <a:prstGeom prst="rect">
                <a:avLst/>
              </a:prstGeom>
              <a:solidFill>
                <a:srgbClr val="DEAF6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63" name="Freeform 208"/>
              <p:cNvSpPr>
                <a:spLocks noEditPoints="1"/>
              </p:cNvSpPr>
              <p:nvPr/>
            </p:nvSpPr>
            <p:spPr bwMode="auto">
              <a:xfrm>
                <a:off x="357" y="3959"/>
                <a:ext cx="146" cy="169"/>
              </a:xfrm>
              <a:custGeom>
                <a:avLst/>
                <a:gdLst>
                  <a:gd name="T0" fmla="*/ 1311 w 2194"/>
                  <a:gd name="T1" fmla="*/ 2198 h 2534"/>
                  <a:gd name="T2" fmla="*/ 1166 w 2194"/>
                  <a:gd name="T3" fmla="*/ 2184 h 2534"/>
                  <a:gd name="T4" fmla="*/ 1516 w 2194"/>
                  <a:gd name="T5" fmla="*/ 1670 h 2534"/>
                  <a:gd name="T6" fmla="*/ 858 w 2194"/>
                  <a:gd name="T7" fmla="*/ 2095 h 2534"/>
                  <a:gd name="T8" fmla="*/ 842 w 2194"/>
                  <a:gd name="T9" fmla="*/ 2164 h 2534"/>
                  <a:gd name="T10" fmla="*/ 1167 w 2194"/>
                  <a:gd name="T11" fmla="*/ 2340 h 2534"/>
                  <a:gd name="T12" fmla="*/ 1764 w 2194"/>
                  <a:gd name="T13" fmla="*/ 2304 h 2534"/>
                  <a:gd name="T14" fmla="*/ 2017 w 2194"/>
                  <a:gd name="T15" fmla="*/ 2056 h 2534"/>
                  <a:gd name="T16" fmla="*/ 1923 w 2194"/>
                  <a:gd name="T17" fmla="*/ 1880 h 2534"/>
                  <a:gd name="T18" fmla="*/ 730 w 2194"/>
                  <a:gd name="T19" fmla="*/ 1665 h 2534"/>
                  <a:gd name="T20" fmla="*/ 799 w 2194"/>
                  <a:gd name="T21" fmla="*/ 1793 h 2534"/>
                  <a:gd name="T22" fmla="*/ 655 w 2194"/>
                  <a:gd name="T23" fmla="*/ 1779 h 2534"/>
                  <a:gd name="T24" fmla="*/ 399 w 2194"/>
                  <a:gd name="T25" fmla="*/ 1471 h 2534"/>
                  <a:gd name="T26" fmla="*/ 468 w 2194"/>
                  <a:gd name="T27" fmla="*/ 1600 h 2534"/>
                  <a:gd name="T28" fmla="*/ 324 w 2194"/>
                  <a:gd name="T29" fmla="*/ 1586 h 2534"/>
                  <a:gd name="T30" fmla="*/ 670 w 2194"/>
                  <a:gd name="T31" fmla="*/ 1301 h 2534"/>
                  <a:gd name="T32" fmla="*/ 738 w 2194"/>
                  <a:gd name="T33" fmla="*/ 1428 h 2534"/>
                  <a:gd name="T34" fmla="*/ 594 w 2194"/>
                  <a:gd name="T35" fmla="*/ 1414 h 2534"/>
                  <a:gd name="T36" fmla="*/ 602 w 2194"/>
                  <a:gd name="T37" fmla="*/ 1153 h 2534"/>
                  <a:gd name="T38" fmla="*/ 223 w 2194"/>
                  <a:gd name="T39" fmla="*/ 1349 h 2534"/>
                  <a:gd name="T40" fmla="*/ 253 w 2194"/>
                  <a:gd name="T41" fmla="*/ 1797 h 2534"/>
                  <a:gd name="T42" fmla="*/ 516 w 2194"/>
                  <a:gd name="T43" fmla="*/ 1942 h 2534"/>
                  <a:gd name="T44" fmla="*/ 1093 w 2194"/>
                  <a:gd name="T45" fmla="*/ 1826 h 2534"/>
                  <a:gd name="T46" fmla="*/ 1447 w 2194"/>
                  <a:gd name="T47" fmla="*/ 1477 h 2534"/>
                  <a:gd name="T48" fmla="*/ 1331 w 2194"/>
                  <a:gd name="T49" fmla="*/ 1178 h 2534"/>
                  <a:gd name="T50" fmla="*/ 852 w 2194"/>
                  <a:gd name="T51" fmla="*/ 1179 h 2534"/>
                  <a:gd name="T52" fmla="*/ 957 w 2194"/>
                  <a:gd name="T53" fmla="*/ 1025 h 2534"/>
                  <a:gd name="T54" fmla="*/ 1427 w 2194"/>
                  <a:gd name="T55" fmla="*/ 1036 h 2534"/>
                  <a:gd name="T56" fmla="*/ 1636 w 2194"/>
                  <a:gd name="T57" fmla="*/ 1408 h 2534"/>
                  <a:gd name="T58" fmla="*/ 1962 w 2194"/>
                  <a:gd name="T59" fmla="*/ 1714 h 2534"/>
                  <a:gd name="T60" fmla="*/ 2178 w 2194"/>
                  <a:gd name="T61" fmla="*/ 2100 h 2534"/>
                  <a:gd name="T62" fmla="*/ 2018 w 2194"/>
                  <a:gd name="T63" fmla="*/ 2361 h 2534"/>
                  <a:gd name="T64" fmla="*/ 1522 w 2194"/>
                  <a:gd name="T65" fmla="*/ 2527 h 2534"/>
                  <a:gd name="T66" fmla="*/ 991 w 2194"/>
                  <a:gd name="T67" fmla="*/ 2453 h 2534"/>
                  <a:gd name="T68" fmla="*/ 705 w 2194"/>
                  <a:gd name="T69" fmla="*/ 2260 h 2534"/>
                  <a:gd name="T70" fmla="*/ 406 w 2194"/>
                  <a:gd name="T71" fmla="*/ 2085 h 2534"/>
                  <a:gd name="T72" fmla="*/ 32 w 2194"/>
                  <a:gd name="T73" fmla="*/ 1740 h 2534"/>
                  <a:gd name="T74" fmla="*/ 120 w 2194"/>
                  <a:gd name="T75" fmla="*/ 1208 h 2534"/>
                  <a:gd name="T76" fmla="*/ 602 w 2194"/>
                  <a:gd name="T77" fmla="*/ 987 h 2534"/>
                  <a:gd name="T78" fmla="*/ 1558 w 2194"/>
                  <a:gd name="T79" fmla="*/ 612 h 2534"/>
                  <a:gd name="T80" fmla="*/ 1405 w 2194"/>
                  <a:gd name="T81" fmla="*/ 612 h 2534"/>
                  <a:gd name="T82" fmla="*/ 1286 w 2194"/>
                  <a:gd name="T83" fmla="*/ 326 h 2534"/>
                  <a:gd name="T84" fmla="*/ 1355 w 2194"/>
                  <a:gd name="T85" fmla="*/ 454 h 2534"/>
                  <a:gd name="T86" fmla="*/ 1211 w 2194"/>
                  <a:gd name="T87" fmla="*/ 440 h 2534"/>
                  <a:gd name="T88" fmla="*/ 1364 w 2194"/>
                  <a:gd name="T89" fmla="*/ 165 h 2534"/>
                  <a:gd name="T90" fmla="*/ 1129 w 2194"/>
                  <a:gd name="T91" fmla="*/ 284 h 2534"/>
                  <a:gd name="T92" fmla="*/ 1156 w 2194"/>
                  <a:gd name="T93" fmla="*/ 619 h 2534"/>
                  <a:gd name="T94" fmla="*/ 1358 w 2194"/>
                  <a:gd name="T95" fmla="*/ 735 h 2534"/>
                  <a:gd name="T96" fmla="*/ 1844 w 2194"/>
                  <a:gd name="T97" fmla="*/ 688 h 2534"/>
                  <a:gd name="T98" fmla="*/ 2028 w 2194"/>
                  <a:gd name="T99" fmla="*/ 478 h 2534"/>
                  <a:gd name="T100" fmla="*/ 1880 w 2194"/>
                  <a:gd name="T101" fmla="*/ 360 h 2534"/>
                  <a:gd name="T102" fmla="*/ 1473 w 2194"/>
                  <a:gd name="T103" fmla="*/ 185 h 2534"/>
                  <a:gd name="T104" fmla="*/ 1629 w 2194"/>
                  <a:gd name="T105" fmla="*/ 74 h 2534"/>
                  <a:gd name="T106" fmla="*/ 2038 w 2194"/>
                  <a:gd name="T107" fmla="*/ 240 h 2534"/>
                  <a:gd name="T108" fmla="*/ 2171 w 2194"/>
                  <a:gd name="T109" fmla="*/ 616 h 2534"/>
                  <a:gd name="T110" fmla="*/ 1802 w 2194"/>
                  <a:gd name="T111" fmla="*/ 881 h 2534"/>
                  <a:gd name="T112" fmla="*/ 1249 w 2194"/>
                  <a:gd name="T113" fmla="*/ 871 h 2534"/>
                  <a:gd name="T114" fmla="*/ 983 w 2194"/>
                  <a:gd name="T115" fmla="*/ 662 h 2534"/>
                  <a:gd name="T116" fmla="*/ 995 w 2194"/>
                  <a:gd name="T117" fmla="*/ 189 h 2534"/>
                  <a:gd name="T118" fmla="*/ 1364 w 2194"/>
                  <a:gd name="T119" fmla="*/ 0 h 2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94" h="2534">
                    <a:moveTo>
                      <a:pt x="1243" y="2070"/>
                    </a:moveTo>
                    <a:lnTo>
                      <a:pt x="1264" y="2072"/>
                    </a:lnTo>
                    <a:lnTo>
                      <a:pt x="1283" y="2081"/>
                    </a:lnTo>
                    <a:lnTo>
                      <a:pt x="1300" y="2093"/>
                    </a:lnTo>
                    <a:lnTo>
                      <a:pt x="1311" y="2107"/>
                    </a:lnTo>
                    <a:lnTo>
                      <a:pt x="1319" y="2121"/>
                    </a:lnTo>
                    <a:lnTo>
                      <a:pt x="1323" y="2136"/>
                    </a:lnTo>
                    <a:lnTo>
                      <a:pt x="1325" y="2152"/>
                    </a:lnTo>
                    <a:lnTo>
                      <a:pt x="1323" y="2168"/>
                    </a:lnTo>
                    <a:lnTo>
                      <a:pt x="1319" y="2184"/>
                    </a:lnTo>
                    <a:lnTo>
                      <a:pt x="1311" y="2198"/>
                    </a:lnTo>
                    <a:lnTo>
                      <a:pt x="1300" y="2211"/>
                    </a:lnTo>
                    <a:lnTo>
                      <a:pt x="1288" y="2221"/>
                    </a:lnTo>
                    <a:lnTo>
                      <a:pt x="1274" y="2228"/>
                    </a:lnTo>
                    <a:lnTo>
                      <a:pt x="1258" y="2233"/>
                    </a:lnTo>
                    <a:lnTo>
                      <a:pt x="1243" y="2235"/>
                    </a:lnTo>
                    <a:lnTo>
                      <a:pt x="1227" y="2233"/>
                    </a:lnTo>
                    <a:lnTo>
                      <a:pt x="1211" y="2228"/>
                    </a:lnTo>
                    <a:lnTo>
                      <a:pt x="1196" y="2221"/>
                    </a:lnTo>
                    <a:lnTo>
                      <a:pt x="1184" y="2211"/>
                    </a:lnTo>
                    <a:lnTo>
                      <a:pt x="1174" y="2198"/>
                    </a:lnTo>
                    <a:lnTo>
                      <a:pt x="1166" y="2184"/>
                    </a:lnTo>
                    <a:lnTo>
                      <a:pt x="1162" y="2168"/>
                    </a:lnTo>
                    <a:lnTo>
                      <a:pt x="1160" y="2152"/>
                    </a:lnTo>
                    <a:lnTo>
                      <a:pt x="1162" y="2136"/>
                    </a:lnTo>
                    <a:lnTo>
                      <a:pt x="1166" y="2121"/>
                    </a:lnTo>
                    <a:lnTo>
                      <a:pt x="1174" y="2107"/>
                    </a:lnTo>
                    <a:lnTo>
                      <a:pt x="1184" y="2093"/>
                    </a:lnTo>
                    <a:lnTo>
                      <a:pt x="1196" y="2083"/>
                    </a:lnTo>
                    <a:lnTo>
                      <a:pt x="1211" y="2076"/>
                    </a:lnTo>
                    <a:lnTo>
                      <a:pt x="1227" y="2071"/>
                    </a:lnTo>
                    <a:lnTo>
                      <a:pt x="1243" y="2070"/>
                    </a:lnTo>
                    <a:close/>
                    <a:moveTo>
                      <a:pt x="1516" y="1670"/>
                    </a:moveTo>
                    <a:lnTo>
                      <a:pt x="1471" y="1723"/>
                    </a:lnTo>
                    <a:lnTo>
                      <a:pt x="1422" y="1777"/>
                    </a:lnTo>
                    <a:lnTo>
                      <a:pt x="1366" y="1828"/>
                    </a:lnTo>
                    <a:lnTo>
                      <a:pt x="1309" y="1876"/>
                    </a:lnTo>
                    <a:lnTo>
                      <a:pt x="1248" y="1922"/>
                    </a:lnTo>
                    <a:lnTo>
                      <a:pt x="1185" y="1963"/>
                    </a:lnTo>
                    <a:lnTo>
                      <a:pt x="1123" y="1998"/>
                    </a:lnTo>
                    <a:lnTo>
                      <a:pt x="1057" y="2029"/>
                    </a:lnTo>
                    <a:lnTo>
                      <a:pt x="992" y="2056"/>
                    </a:lnTo>
                    <a:lnTo>
                      <a:pt x="925" y="2078"/>
                    </a:lnTo>
                    <a:lnTo>
                      <a:pt x="858" y="2095"/>
                    </a:lnTo>
                    <a:lnTo>
                      <a:pt x="792" y="2109"/>
                    </a:lnTo>
                    <a:lnTo>
                      <a:pt x="796" y="2114"/>
                    </a:lnTo>
                    <a:lnTo>
                      <a:pt x="802" y="2120"/>
                    </a:lnTo>
                    <a:lnTo>
                      <a:pt x="808" y="2127"/>
                    </a:lnTo>
                    <a:lnTo>
                      <a:pt x="814" y="2134"/>
                    </a:lnTo>
                    <a:lnTo>
                      <a:pt x="819" y="2140"/>
                    </a:lnTo>
                    <a:lnTo>
                      <a:pt x="822" y="2143"/>
                    </a:lnTo>
                    <a:lnTo>
                      <a:pt x="824" y="2145"/>
                    </a:lnTo>
                    <a:lnTo>
                      <a:pt x="826" y="2148"/>
                    </a:lnTo>
                    <a:lnTo>
                      <a:pt x="832" y="2155"/>
                    </a:lnTo>
                    <a:lnTo>
                      <a:pt x="842" y="2164"/>
                    </a:lnTo>
                    <a:lnTo>
                      <a:pt x="854" y="2176"/>
                    </a:lnTo>
                    <a:lnTo>
                      <a:pt x="871" y="2190"/>
                    </a:lnTo>
                    <a:lnTo>
                      <a:pt x="890" y="2206"/>
                    </a:lnTo>
                    <a:lnTo>
                      <a:pt x="912" y="2222"/>
                    </a:lnTo>
                    <a:lnTo>
                      <a:pt x="938" y="2240"/>
                    </a:lnTo>
                    <a:lnTo>
                      <a:pt x="967" y="2259"/>
                    </a:lnTo>
                    <a:lnTo>
                      <a:pt x="1000" y="2276"/>
                    </a:lnTo>
                    <a:lnTo>
                      <a:pt x="1036" y="2294"/>
                    </a:lnTo>
                    <a:lnTo>
                      <a:pt x="1076" y="2310"/>
                    </a:lnTo>
                    <a:lnTo>
                      <a:pt x="1120" y="2325"/>
                    </a:lnTo>
                    <a:lnTo>
                      <a:pt x="1167" y="2340"/>
                    </a:lnTo>
                    <a:lnTo>
                      <a:pt x="1218" y="2351"/>
                    </a:lnTo>
                    <a:lnTo>
                      <a:pt x="1273" y="2360"/>
                    </a:lnTo>
                    <a:lnTo>
                      <a:pt x="1331" y="2366"/>
                    </a:lnTo>
                    <a:lnTo>
                      <a:pt x="1393" y="2369"/>
                    </a:lnTo>
                    <a:lnTo>
                      <a:pt x="1445" y="2368"/>
                    </a:lnTo>
                    <a:lnTo>
                      <a:pt x="1497" y="2364"/>
                    </a:lnTo>
                    <a:lnTo>
                      <a:pt x="1552" y="2357"/>
                    </a:lnTo>
                    <a:lnTo>
                      <a:pt x="1606" y="2348"/>
                    </a:lnTo>
                    <a:lnTo>
                      <a:pt x="1660" y="2336"/>
                    </a:lnTo>
                    <a:lnTo>
                      <a:pt x="1713" y="2320"/>
                    </a:lnTo>
                    <a:lnTo>
                      <a:pt x="1764" y="2304"/>
                    </a:lnTo>
                    <a:lnTo>
                      <a:pt x="1811" y="2286"/>
                    </a:lnTo>
                    <a:lnTo>
                      <a:pt x="1854" y="2267"/>
                    </a:lnTo>
                    <a:lnTo>
                      <a:pt x="1893" y="2245"/>
                    </a:lnTo>
                    <a:lnTo>
                      <a:pt x="1921" y="2227"/>
                    </a:lnTo>
                    <a:lnTo>
                      <a:pt x="1944" y="2210"/>
                    </a:lnTo>
                    <a:lnTo>
                      <a:pt x="1965" y="2190"/>
                    </a:lnTo>
                    <a:lnTo>
                      <a:pt x="1984" y="2166"/>
                    </a:lnTo>
                    <a:lnTo>
                      <a:pt x="1998" y="2141"/>
                    </a:lnTo>
                    <a:lnTo>
                      <a:pt x="2008" y="2114"/>
                    </a:lnTo>
                    <a:lnTo>
                      <a:pt x="2015" y="2085"/>
                    </a:lnTo>
                    <a:lnTo>
                      <a:pt x="2017" y="2056"/>
                    </a:lnTo>
                    <a:lnTo>
                      <a:pt x="2018" y="2046"/>
                    </a:lnTo>
                    <a:lnTo>
                      <a:pt x="2017" y="2034"/>
                    </a:lnTo>
                    <a:lnTo>
                      <a:pt x="2016" y="2020"/>
                    </a:lnTo>
                    <a:lnTo>
                      <a:pt x="2014" y="2005"/>
                    </a:lnTo>
                    <a:lnTo>
                      <a:pt x="2010" y="1988"/>
                    </a:lnTo>
                    <a:lnTo>
                      <a:pt x="2003" y="1971"/>
                    </a:lnTo>
                    <a:lnTo>
                      <a:pt x="1994" y="1952"/>
                    </a:lnTo>
                    <a:lnTo>
                      <a:pt x="1982" y="1934"/>
                    </a:lnTo>
                    <a:lnTo>
                      <a:pt x="1966" y="1916"/>
                    </a:lnTo>
                    <a:lnTo>
                      <a:pt x="1947" y="1898"/>
                    </a:lnTo>
                    <a:lnTo>
                      <a:pt x="1923" y="1880"/>
                    </a:lnTo>
                    <a:lnTo>
                      <a:pt x="1895" y="1864"/>
                    </a:lnTo>
                    <a:lnTo>
                      <a:pt x="1860" y="1849"/>
                    </a:lnTo>
                    <a:lnTo>
                      <a:pt x="1820" y="1836"/>
                    </a:lnTo>
                    <a:lnTo>
                      <a:pt x="1770" y="1819"/>
                    </a:lnTo>
                    <a:lnTo>
                      <a:pt x="1722" y="1798"/>
                    </a:lnTo>
                    <a:lnTo>
                      <a:pt x="1678" y="1776"/>
                    </a:lnTo>
                    <a:lnTo>
                      <a:pt x="1635" y="1751"/>
                    </a:lnTo>
                    <a:lnTo>
                      <a:pt x="1594" y="1724"/>
                    </a:lnTo>
                    <a:lnTo>
                      <a:pt x="1555" y="1698"/>
                    </a:lnTo>
                    <a:lnTo>
                      <a:pt x="1516" y="1670"/>
                    </a:lnTo>
                    <a:close/>
                    <a:moveTo>
                      <a:pt x="730" y="1665"/>
                    </a:moveTo>
                    <a:lnTo>
                      <a:pt x="746" y="1667"/>
                    </a:lnTo>
                    <a:lnTo>
                      <a:pt x="762" y="1671"/>
                    </a:lnTo>
                    <a:lnTo>
                      <a:pt x="776" y="1679"/>
                    </a:lnTo>
                    <a:lnTo>
                      <a:pt x="789" y="1689"/>
                    </a:lnTo>
                    <a:lnTo>
                      <a:pt x="799" y="1701"/>
                    </a:lnTo>
                    <a:lnTo>
                      <a:pt x="806" y="1715"/>
                    </a:lnTo>
                    <a:lnTo>
                      <a:pt x="811" y="1731"/>
                    </a:lnTo>
                    <a:lnTo>
                      <a:pt x="813" y="1748"/>
                    </a:lnTo>
                    <a:lnTo>
                      <a:pt x="811" y="1764"/>
                    </a:lnTo>
                    <a:lnTo>
                      <a:pt x="806" y="1779"/>
                    </a:lnTo>
                    <a:lnTo>
                      <a:pt x="799" y="1793"/>
                    </a:lnTo>
                    <a:lnTo>
                      <a:pt x="789" y="1805"/>
                    </a:lnTo>
                    <a:lnTo>
                      <a:pt x="776" y="1816"/>
                    </a:lnTo>
                    <a:lnTo>
                      <a:pt x="762" y="1824"/>
                    </a:lnTo>
                    <a:lnTo>
                      <a:pt x="746" y="1829"/>
                    </a:lnTo>
                    <a:lnTo>
                      <a:pt x="730" y="1830"/>
                    </a:lnTo>
                    <a:lnTo>
                      <a:pt x="714" y="1829"/>
                    </a:lnTo>
                    <a:lnTo>
                      <a:pt x="699" y="1824"/>
                    </a:lnTo>
                    <a:lnTo>
                      <a:pt x="685" y="1816"/>
                    </a:lnTo>
                    <a:lnTo>
                      <a:pt x="672" y="1805"/>
                    </a:lnTo>
                    <a:lnTo>
                      <a:pt x="662" y="1793"/>
                    </a:lnTo>
                    <a:lnTo>
                      <a:pt x="655" y="1779"/>
                    </a:lnTo>
                    <a:lnTo>
                      <a:pt x="650" y="1764"/>
                    </a:lnTo>
                    <a:lnTo>
                      <a:pt x="649" y="1748"/>
                    </a:lnTo>
                    <a:lnTo>
                      <a:pt x="650" y="1731"/>
                    </a:lnTo>
                    <a:lnTo>
                      <a:pt x="655" y="1715"/>
                    </a:lnTo>
                    <a:lnTo>
                      <a:pt x="662" y="1701"/>
                    </a:lnTo>
                    <a:lnTo>
                      <a:pt x="672" y="1689"/>
                    </a:lnTo>
                    <a:lnTo>
                      <a:pt x="685" y="1679"/>
                    </a:lnTo>
                    <a:lnTo>
                      <a:pt x="699" y="1671"/>
                    </a:lnTo>
                    <a:lnTo>
                      <a:pt x="714" y="1667"/>
                    </a:lnTo>
                    <a:lnTo>
                      <a:pt x="730" y="1665"/>
                    </a:lnTo>
                    <a:close/>
                    <a:moveTo>
                      <a:pt x="399" y="1471"/>
                    </a:moveTo>
                    <a:lnTo>
                      <a:pt x="415" y="1472"/>
                    </a:lnTo>
                    <a:lnTo>
                      <a:pt x="431" y="1477"/>
                    </a:lnTo>
                    <a:lnTo>
                      <a:pt x="445" y="1485"/>
                    </a:lnTo>
                    <a:lnTo>
                      <a:pt x="458" y="1495"/>
                    </a:lnTo>
                    <a:lnTo>
                      <a:pt x="468" y="1507"/>
                    </a:lnTo>
                    <a:lnTo>
                      <a:pt x="476" y="1522"/>
                    </a:lnTo>
                    <a:lnTo>
                      <a:pt x="480" y="1537"/>
                    </a:lnTo>
                    <a:lnTo>
                      <a:pt x="482" y="1553"/>
                    </a:lnTo>
                    <a:lnTo>
                      <a:pt x="480" y="1569"/>
                    </a:lnTo>
                    <a:lnTo>
                      <a:pt x="476" y="1586"/>
                    </a:lnTo>
                    <a:lnTo>
                      <a:pt x="468" y="1600"/>
                    </a:lnTo>
                    <a:lnTo>
                      <a:pt x="458" y="1612"/>
                    </a:lnTo>
                    <a:lnTo>
                      <a:pt x="445" y="1622"/>
                    </a:lnTo>
                    <a:lnTo>
                      <a:pt x="431" y="1630"/>
                    </a:lnTo>
                    <a:lnTo>
                      <a:pt x="415" y="1634"/>
                    </a:lnTo>
                    <a:lnTo>
                      <a:pt x="399" y="1636"/>
                    </a:lnTo>
                    <a:lnTo>
                      <a:pt x="383" y="1634"/>
                    </a:lnTo>
                    <a:lnTo>
                      <a:pt x="368" y="1630"/>
                    </a:lnTo>
                    <a:lnTo>
                      <a:pt x="354" y="1622"/>
                    </a:lnTo>
                    <a:lnTo>
                      <a:pt x="342" y="1612"/>
                    </a:lnTo>
                    <a:lnTo>
                      <a:pt x="331" y="1600"/>
                    </a:lnTo>
                    <a:lnTo>
                      <a:pt x="324" y="1586"/>
                    </a:lnTo>
                    <a:lnTo>
                      <a:pt x="319" y="1569"/>
                    </a:lnTo>
                    <a:lnTo>
                      <a:pt x="318" y="1553"/>
                    </a:lnTo>
                    <a:lnTo>
                      <a:pt x="319" y="1537"/>
                    </a:lnTo>
                    <a:lnTo>
                      <a:pt x="324" y="1522"/>
                    </a:lnTo>
                    <a:lnTo>
                      <a:pt x="331" y="1507"/>
                    </a:lnTo>
                    <a:lnTo>
                      <a:pt x="342" y="1495"/>
                    </a:lnTo>
                    <a:lnTo>
                      <a:pt x="354" y="1485"/>
                    </a:lnTo>
                    <a:lnTo>
                      <a:pt x="368" y="1477"/>
                    </a:lnTo>
                    <a:lnTo>
                      <a:pt x="383" y="1472"/>
                    </a:lnTo>
                    <a:lnTo>
                      <a:pt x="399" y="1471"/>
                    </a:lnTo>
                    <a:close/>
                    <a:moveTo>
                      <a:pt x="670" y="1301"/>
                    </a:moveTo>
                    <a:lnTo>
                      <a:pt x="686" y="1302"/>
                    </a:lnTo>
                    <a:lnTo>
                      <a:pt x="702" y="1307"/>
                    </a:lnTo>
                    <a:lnTo>
                      <a:pt x="716" y="1314"/>
                    </a:lnTo>
                    <a:lnTo>
                      <a:pt x="728" y="1325"/>
                    </a:lnTo>
                    <a:lnTo>
                      <a:pt x="738" y="1337"/>
                    </a:lnTo>
                    <a:lnTo>
                      <a:pt x="746" y="1351"/>
                    </a:lnTo>
                    <a:lnTo>
                      <a:pt x="750" y="1367"/>
                    </a:lnTo>
                    <a:lnTo>
                      <a:pt x="752" y="1383"/>
                    </a:lnTo>
                    <a:lnTo>
                      <a:pt x="750" y="1399"/>
                    </a:lnTo>
                    <a:lnTo>
                      <a:pt x="746" y="1414"/>
                    </a:lnTo>
                    <a:lnTo>
                      <a:pt x="738" y="1428"/>
                    </a:lnTo>
                    <a:lnTo>
                      <a:pt x="728" y="1442"/>
                    </a:lnTo>
                    <a:lnTo>
                      <a:pt x="716" y="1452"/>
                    </a:lnTo>
                    <a:lnTo>
                      <a:pt x="702" y="1459"/>
                    </a:lnTo>
                    <a:lnTo>
                      <a:pt x="686" y="1464"/>
                    </a:lnTo>
                    <a:lnTo>
                      <a:pt x="670" y="1466"/>
                    </a:lnTo>
                    <a:lnTo>
                      <a:pt x="654" y="1464"/>
                    </a:lnTo>
                    <a:lnTo>
                      <a:pt x="638" y="1459"/>
                    </a:lnTo>
                    <a:lnTo>
                      <a:pt x="624" y="1452"/>
                    </a:lnTo>
                    <a:lnTo>
                      <a:pt x="612" y="1442"/>
                    </a:lnTo>
                    <a:lnTo>
                      <a:pt x="602" y="1428"/>
                    </a:lnTo>
                    <a:lnTo>
                      <a:pt x="594" y="1414"/>
                    </a:lnTo>
                    <a:lnTo>
                      <a:pt x="589" y="1399"/>
                    </a:lnTo>
                    <a:lnTo>
                      <a:pt x="588" y="1383"/>
                    </a:lnTo>
                    <a:lnTo>
                      <a:pt x="589" y="1367"/>
                    </a:lnTo>
                    <a:lnTo>
                      <a:pt x="594" y="1351"/>
                    </a:lnTo>
                    <a:lnTo>
                      <a:pt x="602" y="1337"/>
                    </a:lnTo>
                    <a:lnTo>
                      <a:pt x="612" y="1325"/>
                    </a:lnTo>
                    <a:lnTo>
                      <a:pt x="624" y="1314"/>
                    </a:lnTo>
                    <a:lnTo>
                      <a:pt x="638" y="1307"/>
                    </a:lnTo>
                    <a:lnTo>
                      <a:pt x="654" y="1302"/>
                    </a:lnTo>
                    <a:lnTo>
                      <a:pt x="670" y="1301"/>
                    </a:lnTo>
                    <a:close/>
                    <a:moveTo>
                      <a:pt x="602" y="1153"/>
                    </a:moveTo>
                    <a:lnTo>
                      <a:pt x="555" y="1155"/>
                    </a:lnTo>
                    <a:lnTo>
                      <a:pt x="509" y="1161"/>
                    </a:lnTo>
                    <a:lnTo>
                      <a:pt x="466" y="1171"/>
                    </a:lnTo>
                    <a:lnTo>
                      <a:pt x="424" y="1185"/>
                    </a:lnTo>
                    <a:lnTo>
                      <a:pt x="383" y="1204"/>
                    </a:lnTo>
                    <a:lnTo>
                      <a:pt x="343" y="1228"/>
                    </a:lnTo>
                    <a:lnTo>
                      <a:pt x="302" y="1255"/>
                    </a:lnTo>
                    <a:lnTo>
                      <a:pt x="282" y="1272"/>
                    </a:lnTo>
                    <a:lnTo>
                      <a:pt x="262" y="1295"/>
                    </a:lnTo>
                    <a:lnTo>
                      <a:pt x="242" y="1320"/>
                    </a:lnTo>
                    <a:lnTo>
                      <a:pt x="223" y="1349"/>
                    </a:lnTo>
                    <a:lnTo>
                      <a:pt x="206" y="1383"/>
                    </a:lnTo>
                    <a:lnTo>
                      <a:pt x="189" y="1418"/>
                    </a:lnTo>
                    <a:lnTo>
                      <a:pt x="177" y="1457"/>
                    </a:lnTo>
                    <a:lnTo>
                      <a:pt x="168" y="1497"/>
                    </a:lnTo>
                    <a:lnTo>
                      <a:pt x="164" y="1540"/>
                    </a:lnTo>
                    <a:lnTo>
                      <a:pt x="165" y="1583"/>
                    </a:lnTo>
                    <a:lnTo>
                      <a:pt x="171" y="1628"/>
                    </a:lnTo>
                    <a:lnTo>
                      <a:pt x="183" y="1674"/>
                    </a:lnTo>
                    <a:lnTo>
                      <a:pt x="203" y="1719"/>
                    </a:lnTo>
                    <a:lnTo>
                      <a:pt x="227" y="1761"/>
                    </a:lnTo>
                    <a:lnTo>
                      <a:pt x="253" y="1797"/>
                    </a:lnTo>
                    <a:lnTo>
                      <a:pt x="283" y="1831"/>
                    </a:lnTo>
                    <a:lnTo>
                      <a:pt x="317" y="1859"/>
                    </a:lnTo>
                    <a:lnTo>
                      <a:pt x="352" y="1884"/>
                    </a:lnTo>
                    <a:lnTo>
                      <a:pt x="391" y="1904"/>
                    </a:lnTo>
                    <a:lnTo>
                      <a:pt x="433" y="1920"/>
                    </a:lnTo>
                    <a:lnTo>
                      <a:pt x="436" y="1921"/>
                    </a:lnTo>
                    <a:lnTo>
                      <a:pt x="443" y="1923"/>
                    </a:lnTo>
                    <a:lnTo>
                      <a:pt x="455" y="1927"/>
                    </a:lnTo>
                    <a:lnTo>
                      <a:pt x="471" y="1932"/>
                    </a:lnTo>
                    <a:lnTo>
                      <a:pt x="492" y="1937"/>
                    </a:lnTo>
                    <a:lnTo>
                      <a:pt x="516" y="1942"/>
                    </a:lnTo>
                    <a:lnTo>
                      <a:pt x="544" y="1947"/>
                    </a:lnTo>
                    <a:lnTo>
                      <a:pt x="575" y="1951"/>
                    </a:lnTo>
                    <a:lnTo>
                      <a:pt x="609" y="1953"/>
                    </a:lnTo>
                    <a:lnTo>
                      <a:pt x="646" y="1954"/>
                    </a:lnTo>
                    <a:lnTo>
                      <a:pt x="712" y="1951"/>
                    </a:lnTo>
                    <a:lnTo>
                      <a:pt x="780" y="1943"/>
                    </a:lnTo>
                    <a:lnTo>
                      <a:pt x="847" y="1929"/>
                    </a:lnTo>
                    <a:lnTo>
                      <a:pt x="914" y="1909"/>
                    </a:lnTo>
                    <a:lnTo>
                      <a:pt x="981" y="1883"/>
                    </a:lnTo>
                    <a:lnTo>
                      <a:pt x="1047" y="1851"/>
                    </a:lnTo>
                    <a:lnTo>
                      <a:pt x="1093" y="1826"/>
                    </a:lnTo>
                    <a:lnTo>
                      <a:pt x="1137" y="1797"/>
                    </a:lnTo>
                    <a:lnTo>
                      <a:pt x="1182" y="1766"/>
                    </a:lnTo>
                    <a:lnTo>
                      <a:pt x="1226" y="1731"/>
                    </a:lnTo>
                    <a:lnTo>
                      <a:pt x="1267" y="1695"/>
                    </a:lnTo>
                    <a:lnTo>
                      <a:pt x="1307" y="1657"/>
                    </a:lnTo>
                    <a:lnTo>
                      <a:pt x="1344" y="1619"/>
                    </a:lnTo>
                    <a:lnTo>
                      <a:pt x="1377" y="1580"/>
                    </a:lnTo>
                    <a:lnTo>
                      <a:pt x="1406" y="1542"/>
                    </a:lnTo>
                    <a:lnTo>
                      <a:pt x="1431" y="1505"/>
                    </a:lnTo>
                    <a:lnTo>
                      <a:pt x="1431" y="1504"/>
                    </a:lnTo>
                    <a:lnTo>
                      <a:pt x="1447" y="1477"/>
                    </a:lnTo>
                    <a:lnTo>
                      <a:pt x="1461" y="1446"/>
                    </a:lnTo>
                    <a:lnTo>
                      <a:pt x="1470" y="1412"/>
                    </a:lnTo>
                    <a:lnTo>
                      <a:pt x="1474" y="1379"/>
                    </a:lnTo>
                    <a:lnTo>
                      <a:pt x="1472" y="1344"/>
                    </a:lnTo>
                    <a:lnTo>
                      <a:pt x="1464" y="1312"/>
                    </a:lnTo>
                    <a:lnTo>
                      <a:pt x="1451" y="1279"/>
                    </a:lnTo>
                    <a:lnTo>
                      <a:pt x="1434" y="1250"/>
                    </a:lnTo>
                    <a:lnTo>
                      <a:pt x="1412" y="1225"/>
                    </a:lnTo>
                    <a:lnTo>
                      <a:pt x="1388" y="1204"/>
                    </a:lnTo>
                    <a:lnTo>
                      <a:pt x="1362" y="1189"/>
                    </a:lnTo>
                    <a:lnTo>
                      <a:pt x="1331" y="1178"/>
                    </a:lnTo>
                    <a:lnTo>
                      <a:pt x="1297" y="1171"/>
                    </a:lnTo>
                    <a:lnTo>
                      <a:pt x="1260" y="1169"/>
                    </a:lnTo>
                    <a:lnTo>
                      <a:pt x="1233" y="1170"/>
                    </a:lnTo>
                    <a:lnTo>
                      <a:pt x="1205" y="1173"/>
                    </a:lnTo>
                    <a:lnTo>
                      <a:pt x="1174" y="1178"/>
                    </a:lnTo>
                    <a:lnTo>
                      <a:pt x="1126" y="1186"/>
                    </a:lnTo>
                    <a:lnTo>
                      <a:pt x="1076" y="1191"/>
                    </a:lnTo>
                    <a:lnTo>
                      <a:pt x="1025" y="1193"/>
                    </a:lnTo>
                    <a:lnTo>
                      <a:pt x="966" y="1191"/>
                    </a:lnTo>
                    <a:lnTo>
                      <a:pt x="909" y="1186"/>
                    </a:lnTo>
                    <a:lnTo>
                      <a:pt x="852" y="1179"/>
                    </a:lnTo>
                    <a:lnTo>
                      <a:pt x="798" y="1172"/>
                    </a:lnTo>
                    <a:lnTo>
                      <a:pt x="731" y="1162"/>
                    </a:lnTo>
                    <a:lnTo>
                      <a:pt x="666" y="1155"/>
                    </a:lnTo>
                    <a:lnTo>
                      <a:pt x="602" y="1153"/>
                    </a:lnTo>
                    <a:close/>
                    <a:moveTo>
                      <a:pt x="602" y="987"/>
                    </a:moveTo>
                    <a:lnTo>
                      <a:pt x="659" y="990"/>
                    </a:lnTo>
                    <a:lnTo>
                      <a:pt x="713" y="994"/>
                    </a:lnTo>
                    <a:lnTo>
                      <a:pt x="768" y="1001"/>
                    </a:lnTo>
                    <a:lnTo>
                      <a:pt x="821" y="1008"/>
                    </a:lnTo>
                    <a:lnTo>
                      <a:pt x="890" y="1018"/>
                    </a:lnTo>
                    <a:lnTo>
                      <a:pt x="957" y="1025"/>
                    </a:lnTo>
                    <a:lnTo>
                      <a:pt x="1025" y="1028"/>
                    </a:lnTo>
                    <a:lnTo>
                      <a:pt x="1065" y="1027"/>
                    </a:lnTo>
                    <a:lnTo>
                      <a:pt x="1104" y="1023"/>
                    </a:lnTo>
                    <a:lnTo>
                      <a:pt x="1141" y="1017"/>
                    </a:lnTo>
                    <a:lnTo>
                      <a:pt x="1182" y="1010"/>
                    </a:lnTo>
                    <a:lnTo>
                      <a:pt x="1222" y="1006"/>
                    </a:lnTo>
                    <a:lnTo>
                      <a:pt x="1260" y="1004"/>
                    </a:lnTo>
                    <a:lnTo>
                      <a:pt x="1305" y="1006"/>
                    </a:lnTo>
                    <a:lnTo>
                      <a:pt x="1348" y="1012"/>
                    </a:lnTo>
                    <a:lnTo>
                      <a:pt x="1388" y="1022"/>
                    </a:lnTo>
                    <a:lnTo>
                      <a:pt x="1427" y="1036"/>
                    </a:lnTo>
                    <a:lnTo>
                      <a:pt x="1462" y="1054"/>
                    </a:lnTo>
                    <a:lnTo>
                      <a:pt x="1494" y="1077"/>
                    </a:lnTo>
                    <a:lnTo>
                      <a:pt x="1524" y="1103"/>
                    </a:lnTo>
                    <a:lnTo>
                      <a:pt x="1552" y="1133"/>
                    </a:lnTo>
                    <a:lnTo>
                      <a:pt x="1576" y="1167"/>
                    </a:lnTo>
                    <a:lnTo>
                      <a:pt x="1597" y="1204"/>
                    </a:lnTo>
                    <a:lnTo>
                      <a:pt x="1614" y="1243"/>
                    </a:lnTo>
                    <a:lnTo>
                      <a:pt x="1627" y="1283"/>
                    </a:lnTo>
                    <a:lnTo>
                      <a:pt x="1634" y="1325"/>
                    </a:lnTo>
                    <a:lnTo>
                      <a:pt x="1637" y="1367"/>
                    </a:lnTo>
                    <a:lnTo>
                      <a:pt x="1636" y="1408"/>
                    </a:lnTo>
                    <a:lnTo>
                      <a:pt x="1630" y="1449"/>
                    </a:lnTo>
                    <a:lnTo>
                      <a:pt x="1619" y="1489"/>
                    </a:lnTo>
                    <a:lnTo>
                      <a:pt x="1603" y="1529"/>
                    </a:lnTo>
                    <a:lnTo>
                      <a:pt x="1646" y="1559"/>
                    </a:lnTo>
                    <a:lnTo>
                      <a:pt x="1687" y="1589"/>
                    </a:lnTo>
                    <a:lnTo>
                      <a:pt x="1729" y="1615"/>
                    </a:lnTo>
                    <a:lnTo>
                      <a:pt x="1773" y="1639"/>
                    </a:lnTo>
                    <a:lnTo>
                      <a:pt x="1819" y="1661"/>
                    </a:lnTo>
                    <a:lnTo>
                      <a:pt x="1868" y="1677"/>
                    </a:lnTo>
                    <a:lnTo>
                      <a:pt x="1917" y="1694"/>
                    </a:lnTo>
                    <a:lnTo>
                      <a:pt x="1962" y="1714"/>
                    </a:lnTo>
                    <a:lnTo>
                      <a:pt x="2004" y="1737"/>
                    </a:lnTo>
                    <a:lnTo>
                      <a:pt x="2041" y="1762"/>
                    </a:lnTo>
                    <a:lnTo>
                      <a:pt x="2074" y="1790"/>
                    </a:lnTo>
                    <a:lnTo>
                      <a:pt x="2103" y="1822"/>
                    </a:lnTo>
                    <a:lnTo>
                      <a:pt x="2128" y="1855"/>
                    </a:lnTo>
                    <a:lnTo>
                      <a:pt x="2147" y="1891"/>
                    </a:lnTo>
                    <a:lnTo>
                      <a:pt x="2163" y="1929"/>
                    </a:lnTo>
                    <a:lnTo>
                      <a:pt x="2174" y="1971"/>
                    </a:lnTo>
                    <a:lnTo>
                      <a:pt x="2180" y="2013"/>
                    </a:lnTo>
                    <a:lnTo>
                      <a:pt x="2181" y="2058"/>
                    </a:lnTo>
                    <a:lnTo>
                      <a:pt x="2178" y="2100"/>
                    </a:lnTo>
                    <a:lnTo>
                      <a:pt x="2171" y="2142"/>
                    </a:lnTo>
                    <a:lnTo>
                      <a:pt x="2158" y="2183"/>
                    </a:lnTo>
                    <a:lnTo>
                      <a:pt x="2142" y="2220"/>
                    </a:lnTo>
                    <a:lnTo>
                      <a:pt x="2121" y="2257"/>
                    </a:lnTo>
                    <a:lnTo>
                      <a:pt x="2097" y="2290"/>
                    </a:lnTo>
                    <a:lnTo>
                      <a:pt x="2068" y="2320"/>
                    </a:lnTo>
                    <a:lnTo>
                      <a:pt x="2036" y="2348"/>
                    </a:lnTo>
                    <a:lnTo>
                      <a:pt x="2036" y="2348"/>
                    </a:lnTo>
                    <a:lnTo>
                      <a:pt x="2030" y="2352"/>
                    </a:lnTo>
                    <a:lnTo>
                      <a:pt x="2024" y="2357"/>
                    </a:lnTo>
                    <a:lnTo>
                      <a:pt x="2018" y="2361"/>
                    </a:lnTo>
                    <a:lnTo>
                      <a:pt x="2013" y="2364"/>
                    </a:lnTo>
                    <a:lnTo>
                      <a:pt x="2011" y="2365"/>
                    </a:lnTo>
                    <a:lnTo>
                      <a:pt x="1970" y="2391"/>
                    </a:lnTo>
                    <a:lnTo>
                      <a:pt x="1924" y="2416"/>
                    </a:lnTo>
                    <a:lnTo>
                      <a:pt x="1875" y="2439"/>
                    </a:lnTo>
                    <a:lnTo>
                      <a:pt x="1820" y="2459"/>
                    </a:lnTo>
                    <a:lnTo>
                      <a:pt x="1764" y="2479"/>
                    </a:lnTo>
                    <a:lnTo>
                      <a:pt x="1705" y="2495"/>
                    </a:lnTo>
                    <a:lnTo>
                      <a:pt x="1645" y="2508"/>
                    </a:lnTo>
                    <a:lnTo>
                      <a:pt x="1584" y="2519"/>
                    </a:lnTo>
                    <a:lnTo>
                      <a:pt x="1522" y="2527"/>
                    </a:lnTo>
                    <a:lnTo>
                      <a:pt x="1463" y="2532"/>
                    </a:lnTo>
                    <a:lnTo>
                      <a:pt x="1404" y="2534"/>
                    </a:lnTo>
                    <a:lnTo>
                      <a:pt x="1397" y="2534"/>
                    </a:lnTo>
                    <a:lnTo>
                      <a:pt x="1391" y="2534"/>
                    </a:lnTo>
                    <a:lnTo>
                      <a:pt x="1323" y="2531"/>
                    </a:lnTo>
                    <a:lnTo>
                      <a:pt x="1259" y="2525"/>
                    </a:lnTo>
                    <a:lnTo>
                      <a:pt x="1199" y="2515"/>
                    </a:lnTo>
                    <a:lnTo>
                      <a:pt x="1141" y="2503"/>
                    </a:lnTo>
                    <a:lnTo>
                      <a:pt x="1088" y="2489"/>
                    </a:lnTo>
                    <a:lnTo>
                      <a:pt x="1037" y="2471"/>
                    </a:lnTo>
                    <a:lnTo>
                      <a:pt x="991" y="2453"/>
                    </a:lnTo>
                    <a:lnTo>
                      <a:pt x="948" y="2434"/>
                    </a:lnTo>
                    <a:lnTo>
                      <a:pt x="909" y="2414"/>
                    </a:lnTo>
                    <a:lnTo>
                      <a:pt x="873" y="2393"/>
                    </a:lnTo>
                    <a:lnTo>
                      <a:pt x="839" y="2372"/>
                    </a:lnTo>
                    <a:lnTo>
                      <a:pt x="811" y="2352"/>
                    </a:lnTo>
                    <a:lnTo>
                      <a:pt x="785" y="2333"/>
                    </a:lnTo>
                    <a:lnTo>
                      <a:pt x="763" y="2314"/>
                    </a:lnTo>
                    <a:lnTo>
                      <a:pt x="743" y="2297"/>
                    </a:lnTo>
                    <a:lnTo>
                      <a:pt x="727" y="2282"/>
                    </a:lnTo>
                    <a:lnTo>
                      <a:pt x="714" y="2270"/>
                    </a:lnTo>
                    <a:lnTo>
                      <a:pt x="705" y="2260"/>
                    </a:lnTo>
                    <a:lnTo>
                      <a:pt x="699" y="2252"/>
                    </a:lnTo>
                    <a:lnTo>
                      <a:pt x="671" y="2221"/>
                    </a:lnTo>
                    <a:lnTo>
                      <a:pt x="647" y="2189"/>
                    </a:lnTo>
                    <a:lnTo>
                      <a:pt x="624" y="2154"/>
                    </a:lnTo>
                    <a:lnTo>
                      <a:pt x="605" y="2119"/>
                    </a:lnTo>
                    <a:lnTo>
                      <a:pt x="561" y="2116"/>
                    </a:lnTo>
                    <a:lnTo>
                      <a:pt x="520" y="2111"/>
                    </a:lnTo>
                    <a:lnTo>
                      <a:pt x="485" y="2105"/>
                    </a:lnTo>
                    <a:lnTo>
                      <a:pt x="454" y="2098"/>
                    </a:lnTo>
                    <a:lnTo>
                      <a:pt x="428" y="2091"/>
                    </a:lnTo>
                    <a:lnTo>
                      <a:pt x="406" y="2085"/>
                    </a:lnTo>
                    <a:lnTo>
                      <a:pt x="390" y="2080"/>
                    </a:lnTo>
                    <a:lnTo>
                      <a:pt x="380" y="2076"/>
                    </a:lnTo>
                    <a:lnTo>
                      <a:pt x="329" y="2057"/>
                    </a:lnTo>
                    <a:lnTo>
                      <a:pt x="279" y="2033"/>
                    </a:lnTo>
                    <a:lnTo>
                      <a:pt x="234" y="2004"/>
                    </a:lnTo>
                    <a:lnTo>
                      <a:pt x="191" y="1971"/>
                    </a:lnTo>
                    <a:lnTo>
                      <a:pt x="153" y="1933"/>
                    </a:lnTo>
                    <a:lnTo>
                      <a:pt x="117" y="1892"/>
                    </a:lnTo>
                    <a:lnTo>
                      <a:pt x="85" y="1845"/>
                    </a:lnTo>
                    <a:lnTo>
                      <a:pt x="56" y="1794"/>
                    </a:lnTo>
                    <a:lnTo>
                      <a:pt x="32" y="1740"/>
                    </a:lnTo>
                    <a:lnTo>
                      <a:pt x="15" y="1685"/>
                    </a:lnTo>
                    <a:lnTo>
                      <a:pt x="5" y="1630"/>
                    </a:lnTo>
                    <a:lnTo>
                      <a:pt x="0" y="1575"/>
                    </a:lnTo>
                    <a:lnTo>
                      <a:pt x="1" y="1523"/>
                    </a:lnTo>
                    <a:lnTo>
                      <a:pt x="7" y="1471"/>
                    </a:lnTo>
                    <a:lnTo>
                      <a:pt x="17" y="1421"/>
                    </a:lnTo>
                    <a:lnTo>
                      <a:pt x="32" y="1373"/>
                    </a:lnTo>
                    <a:lnTo>
                      <a:pt x="50" y="1328"/>
                    </a:lnTo>
                    <a:lnTo>
                      <a:pt x="70" y="1284"/>
                    </a:lnTo>
                    <a:lnTo>
                      <a:pt x="95" y="1245"/>
                    </a:lnTo>
                    <a:lnTo>
                      <a:pt x="120" y="1208"/>
                    </a:lnTo>
                    <a:lnTo>
                      <a:pt x="147" y="1176"/>
                    </a:lnTo>
                    <a:lnTo>
                      <a:pt x="174" y="1148"/>
                    </a:lnTo>
                    <a:lnTo>
                      <a:pt x="203" y="1124"/>
                    </a:lnTo>
                    <a:lnTo>
                      <a:pt x="249" y="1091"/>
                    </a:lnTo>
                    <a:lnTo>
                      <a:pt x="295" y="1064"/>
                    </a:lnTo>
                    <a:lnTo>
                      <a:pt x="344" y="1040"/>
                    </a:lnTo>
                    <a:lnTo>
                      <a:pt x="392" y="1021"/>
                    </a:lnTo>
                    <a:lnTo>
                      <a:pt x="443" y="1006"/>
                    </a:lnTo>
                    <a:lnTo>
                      <a:pt x="494" y="996"/>
                    </a:lnTo>
                    <a:lnTo>
                      <a:pt x="547" y="990"/>
                    </a:lnTo>
                    <a:lnTo>
                      <a:pt x="602" y="987"/>
                    </a:lnTo>
                    <a:close/>
                    <a:moveTo>
                      <a:pt x="1481" y="498"/>
                    </a:moveTo>
                    <a:lnTo>
                      <a:pt x="1497" y="500"/>
                    </a:lnTo>
                    <a:lnTo>
                      <a:pt x="1512" y="504"/>
                    </a:lnTo>
                    <a:lnTo>
                      <a:pt x="1527" y="512"/>
                    </a:lnTo>
                    <a:lnTo>
                      <a:pt x="1540" y="522"/>
                    </a:lnTo>
                    <a:lnTo>
                      <a:pt x="1550" y="534"/>
                    </a:lnTo>
                    <a:lnTo>
                      <a:pt x="1558" y="549"/>
                    </a:lnTo>
                    <a:lnTo>
                      <a:pt x="1562" y="565"/>
                    </a:lnTo>
                    <a:lnTo>
                      <a:pt x="1564" y="581"/>
                    </a:lnTo>
                    <a:lnTo>
                      <a:pt x="1562" y="596"/>
                    </a:lnTo>
                    <a:lnTo>
                      <a:pt x="1558" y="612"/>
                    </a:lnTo>
                    <a:lnTo>
                      <a:pt x="1550" y="627"/>
                    </a:lnTo>
                    <a:lnTo>
                      <a:pt x="1540" y="639"/>
                    </a:lnTo>
                    <a:lnTo>
                      <a:pt x="1527" y="649"/>
                    </a:lnTo>
                    <a:lnTo>
                      <a:pt x="1512" y="657"/>
                    </a:lnTo>
                    <a:lnTo>
                      <a:pt x="1497" y="661"/>
                    </a:lnTo>
                    <a:lnTo>
                      <a:pt x="1481" y="663"/>
                    </a:lnTo>
                    <a:lnTo>
                      <a:pt x="1460" y="660"/>
                    </a:lnTo>
                    <a:lnTo>
                      <a:pt x="1441" y="652"/>
                    </a:lnTo>
                    <a:lnTo>
                      <a:pt x="1424" y="639"/>
                    </a:lnTo>
                    <a:lnTo>
                      <a:pt x="1413" y="627"/>
                    </a:lnTo>
                    <a:lnTo>
                      <a:pt x="1405" y="612"/>
                    </a:lnTo>
                    <a:lnTo>
                      <a:pt x="1401" y="596"/>
                    </a:lnTo>
                    <a:lnTo>
                      <a:pt x="1399" y="581"/>
                    </a:lnTo>
                    <a:lnTo>
                      <a:pt x="1401" y="565"/>
                    </a:lnTo>
                    <a:lnTo>
                      <a:pt x="1405" y="549"/>
                    </a:lnTo>
                    <a:lnTo>
                      <a:pt x="1413" y="534"/>
                    </a:lnTo>
                    <a:lnTo>
                      <a:pt x="1424" y="522"/>
                    </a:lnTo>
                    <a:lnTo>
                      <a:pt x="1436" y="512"/>
                    </a:lnTo>
                    <a:lnTo>
                      <a:pt x="1450" y="504"/>
                    </a:lnTo>
                    <a:lnTo>
                      <a:pt x="1465" y="500"/>
                    </a:lnTo>
                    <a:lnTo>
                      <a:pt x="1481" y="498"/>
                    </a:lnTo>
                    <a:close/>
                    <a:moveTo>
                      <a:pt x="1286" y="326"/>
                    </a:moveTo>
                    <a:lnTo>
                      <a:pt x="1302" y="328"/>
                    </a:lnTo>
                    <a:lnTo>
                      <a:pt x="1318" y="332"/>
                    </a:lnTo>
                    <a:lnTo>
                      <a:pt x="1332" y="340"/>
                    </a:lnTo>
                    <a:lnTo>
                      <a:pt x="1345" y="350"/>
                    </a:lnTo>
                    <a:lnTo>
                      <a:pt x="1355" y="362"/>
                    </a:lnTo>
                    <a:lnTo>
                      <a:pt x="1362" y="376"/>
                    </a:lnTo>
                    <a:lnTo>
                      <a:pt x="1367" y="392"/>
                    </a:lnTo>
                    <a:lnTo>
                      <a:pt x="1369" y="409"/>
                    </a:lnTo>
                    <a:lnTo>
                      <a:pt x="1367" y="424"/>
                    </a:lnTo>
                    <a:lnTo>
                      <a:pt x="1362" y="440"/>
                    </a:lnTo>
                    <a:lnTo>
                      <a:pt x="1355" y="454"/>
                    </a:lnTo>
                    <a:lnTo>
                      <a:pt x="1345" y="466"/>
                    </a:lnTo>
                    <a:lnTo>
                      <a:pt x="1332" y="477"/>
                    </a:lnTo>
                    <a:lnTo>
                      <a:pt x="1318" y="485"/>
                    </a:lnTo>
                    <a:lnTo>
                      <a:pt x="1302" y="489"/>
                    </a:lnTo>
                    <a:lnTo>
                      <a:pt x="1286" y="491"/>
                    </a:lnTo>
                    <a:lnTo>
                      <a:pt x="1270" y="489"/>
                    </a:lnTo>
                    <a:lnTo>
                      <a:pt x="1255" y="485"/>
                    </a:lnTo>
                    <a:lnTo>
                      <a:pt x="1241" y="477"/>
                    </a:lnTo>
                    <a:lnTo>
                      <a:pt x="1229" y="466"/>
                    </a:lnTo>
                    <a:lnTo>
                      <a:pt x="1218" y="454"/>
                    </a:lnTo>
                    <a:lnTo>
                      <a:pt x="1211" y="440"/>
                    </a:lnTo>
                    <a:lnTo>
                      <a:pt x="1206" y="424"/>
                    </a:lnTo>
                    <a:lnTo>
                      <a:pt x="1205" y="409"/>
                    </a:lnTo>
                    <a:lnTo>
                      <a:pt x="1206" y="392"/>
                    </a:lnTo>
                    <a:lnTo>
                      <a:pt x="1211" y="376"/>
                    </a:lnTo>
                    <a:lnTo>
                      <a:pt x="1218" y="362"/>
                    </a:lnTo>
                    <a:lnTo>
                      <a:pt x="1229" y="350"/>
                    </a:lnTo>
                    <a:lnTo>
                      <a:pt x="1241" y="340"/>
                    </a:lnTo>
                    <a:lnTo>
                      <a:pt x="1255" y="332"/>
                    </a:lnTo>
                    <a:lnTo>
                      <a:pt x="1270" y="328"/>
                    </a:lnTo>
                    <a:lnTo>
                      <a:pt x="1286" y="326"/>
                    </a:lnTo>
                    <a:close/>
                    <a:moveTo>
                      <a:pt x="1364" y="165"/>
                    </a:moveTo>
                    <a:lnTo>
                      <a:pt x="1331" y="167"/>
                    </a:lnTo>
                    <a:lnTo>
                      <a:pt x="1296" y="173"/>
                    </a:lnTo>
                    <a:lnTo>
                      <a:pt x="1260" y="182"/>
                    </a:lnTo>
                    <a:lnTo>
                      <a:pt x="1248" y="186"/>
                    </a:lnTo>
                    <a:lnTo>
                      <a:pt x="1233" y="193"/>
                    </a:lnTo>
                    <a:lnTo>
                      <a:pt x="1217" y="203"/>
                    </a:lnTo>
                    <a:lnTo>
                      <a:pt x="1199" y="214"/>
                    </a:lnTo>
                    <a:lnTo>
                      <a:pt x="1180" y="228"/>
                    </a:lnTo>
                    <a:lnTo>
                      <a:pt x="1162" y="244"/>
                    </a:lnTo>
                    <a:lnTo>
                      <a:pt x="1145" y="263"/>
                    </a:lnTo>
                    <a:lnTo>
                      <a:pt x="1129" y="284"/>
                    </a:lnTo>
                    <a:lnTo>
                      <a:pt x="1114" y="307"/>
                    </a:lnTo>
                    <a:lnTo>
                      <a:pt x="1102" y="333"/>
                    </a:lnTo>
                    <a:lnTo>
                      <a:pt x="1092" y="360"/>
                    </a:lnTo>
                    <a:lnTo>
                      <a:pt x="1085" y="390"/>
                    </a:lnTo>
                    <a:lnTo>
                      <a:pt x="1082" y="422"/>
                    </a:lnTo>
                    <a:lnTo>
                      <a:pt x="1083" y="456"/>
                    </a:lnTo>
                    <a:lnTo>
                      <a:pt x="1091" y="495"/>
                    </a:lnTo>
                    <a:lnTo>
                      <a:pt x="1101" y="529"/>
                    </a:lnTo>
                    <a:lnTo>
                      <a:pt x="1115" y="562"/>
                    </a:lnTo>
                    <a:lnTo>
                      <a:pt x="1134" y="592"/>
                    </a:lnTo>
                    <a:lnTo>
                      <a:pt x="1156" y="619"/>
                    </a:lnTo>
                    <a:lnTo>
                      <a:pt x="1183" y="643"/>
                    </a:lnTo>
                    <a:lnTo>
                      <a:pt x="1189" y="648"/>
                    </a:lnTo>
                    <a:lnTo>
                      <a:pt x="1192" y="651"/>
                    </a:lnTo>
                    <a:lnTo>
                      <a:pt x="1200" y="657"/>
                    </a:lnTo>
                    <a:lnTo>
                      <a:pt x="1211" y="665"/>
                    </a:lnTo>
                    <a:lnTo>
                      <a:pt x="1225" y="675"/>
                    </a:lnTo>
                    <a:lnTo>
                      <a:pt x="1244" y="686"/>
                    </a:lnTo>
                    <a:lnTo>
                      <a:pt x="1267" y="699"/>
                    </a:lnTo>
                    <a:lnTo>
                      <a:pt x="1293" y="712"/>
                    </a:lnTo>
                    <a:lnTo>
                      <a:pt x="1324" y="724"/>
                    </a:lnTo>
                    <a:lnTo>
                      <a:pt x="1358" y="735"/>
                    </a:lnTo>
                    <a:lnTo>
                      <a:pt x="1396" y="744"/>
                    </a:lnTo>
                    <a:lnTo>
                      <a:pt x="1438" y="752"/>
                    </a:lnTo>
                    <a:lnTo>
                      <a:pt x="1484" y="757"/>
                    </a:lnTo>
                    <a:lnTo>
                      <a:pt x="1534" y="759"/>
                    </a:lnTo>
                    <a:lnTo>
                      <a:pt x="1574" y="758"/>
                    </a:lnTo>
                    <a:lnTo>
                      <a:pt x="1615" y="754"/>
                    </a:lnTo>
                    <a:lnTo>
                      <a:pt x="1660" y="747"/>
                    </a:lnTo>
                    <a:lnTo>
                      <a:pt x="1706" y="737"/>
                    </a:lnTo>
                    <a:lnTo>
                      <a:pt x="1754" y="723"/>
                    </a:lnTo>
                    <a:lnTo>
                      <a:pt x="1800" y="707"/>
                    </a:lnTo>
                    <a:lnTo>
                      <a:pt x="1844" y="688"/>
                    </a:lnTo>
                    <a:lnTo>
                      <a:pt x="1887" y="667"/>
                    </a:lnTo>
                    <a:lnTo>
                      <a:pt x="1925" y="646"/>
                    </a:lnTo>
                    <a:lnTo>
                      <a:pt x="1958" y="624"/>
                    </a:lnTo>
                    <a:lnTo>
                      <a:pt x="1958" y="624"/>
                    </a:lnTo>
                    <a:lnTo>
                      <a:pt x="1982" y="604"/>
                    </a:lnTo>
                    <a:lnTo>
                      <a:pt x="2000" y="585"/>
                    </a:lnTo>
                    <a:lnTo>
                      <a:pt x="2015" y="563"/>
                    </a:lnTo>
                    <a:lnTo>
                      <a:pt x="2024" y="538"/>
                    </a:lnTo>
                    <a:lnTo>
                      <a:pt x="2029" y="513"/>
                    </a:lnTo>
                    <a:lnTo>
                      <a:pt x="2029" y="486"/>
                    </a:lnTo>
                    <a:lnTo>
                      <a:pt x="2028" y="478"/>
                    </a:lnTo>
                    <a:lnTo>
                      <a:pt x="2026" y="468"/>
                    </a:lnTo>
                    <a:lnTo>
                      <a:pt x="2024" y="457"/>
                    </a:lnTo>
                    <a:lnTo>
                      <a:pt x="2020" y="446"/>
                    </a:lnTo>
                    <a:lnTo>
                      <a:pt x="2014" y="434"/>
                    </a:lnTo>
                    <a:lnTo>
                      <a:pt x="2005" y="421"/>
                    </a:lnTo>
                    <a:lnTo>
                      <a:pt x="1994" y="409"/>
                    </a:lnTo>
                    <a:lnTo>
                      <a:pt x="1980" y="397"/>
                    </a:lnTo>
                    <a:lnTo>
                      <a:pt x="1961" y="385"/>
                    </a:lnTo>
                    <a:lnTo>
                      <a:pt x="1938" y="375"/>
                    </a:lnTo>
                    <a:lnTo>
                      <a:pt x="1912" y="367"/>
                    </a:lnTo>
                    <a:lnTo>
                      <a:pt x="1880" y="360"/>
                    </a:lnTo>
                    <a:lnTo>
                      <a:pt x="1836" y="351"/>
                    </a:lnTo>
                    <a:lnTo>
                      <a:pt x="1794" y="339"/>
                    </a:lnTo>
                    <a:lnTo>
                      <a:pt x="1754" y="325"/>
                    </a:lnTo>
                    <a:lnTo>
                      <a:pt x="1716" y="307"/>
                    </a:lnTo>
                    <a:lnTo>
                      <a:pt x="1680" y="290"/>
                    </a:lnTo>
                    <a:lnTo>
                      <a:pt x="1646" y="272"/>
                    </a:lnTo>
                    <a:lnTo>
                      <a:pt x="1612" y="253"/>
                    </a:lnTo>
                    <a:lnTo>
                      <a:pt x="1577" y="233"/>
                    </a:lnTo>
                    <a:lnTo>
                      <a:pt x="1542" y="215"/>
                    </a:lnTo>
                    <a:lnTo>
                      <a:pt x="1508" y="199"/>
                    </a:lnTo>
                    <a:lnTo>
                      <a:pt x="1473" y="185"/>
                    </a:lnTo>
                    <a:lnTo>
                      <a:pt x="1439" y="175"/>
                    </a:lnTo>
                    <a:lnTo>
                      <a:pt x="1402" y="167"/>
                    </a:lnTo>
                    <a:lnTo>
                      <a:pt x="1364" y="165"/>
                    </a:lnTo>
                    <a:close/>
                    <a:moveTo>
                      <a:pt x="1364" y="0"/>
                    </a:moveTo>
                    <a:lnTo>
                      <a:pt x="1407" y="2"/>
                    </a:lnTo>
                    <a:lnTo>
                      <a:pt x="1449" y="8"/>
                    </a:lnTo>
                    <a:lnTo>
                      <a:pt x="1488" y="17"/>
                    </a:lnTo>
                    <a:lnTo>
                      <a:pt x="1525" y="29"/>
                    </a:lnTo>
                    <a:lnTo>
                      <a:pt x="1562" y="43"/>
                    </a:lnTo>
                    <a:lnTo>
                      <a:pt x="1596" y="58"/>
                    </a:lnTo>
                    <a:lnTo>
                      <a:pt x="1629" y="74"/>
                    </a:lnTo>
                    <a:lnTo>
                      <a:pt x="1662" y="91"/>
                    </a:lnTo>
                    <a:lnTo>
                      <a:pt x="1692" y="109"/>
                    </a:lnTo>
                    <a:lnTo>
                      <a:pt x="1727" y="128"/>
                    </a:lnTo>
                    <a:lnTo>
                      <a:pt x="1762" y="146"/>
                    </a:lnTo>
                    <a:lnTo>
                      <a:pt x="1796" y="162"/>
                    </a:lnTo>
                    <a:lnTo>
                      <a:pt x="1832" y="178"/>
                    </a:lnTo>
                    <a:lnTo>
                      <a:pt x="1869" y="189"/>
                    </a:lnTo>
                    <a:lnTo>
                      <a:pt x="1906" y="197"/>
                    </a:lnTo>
                    <a:lnTo>
                      <a:pt x="1954" y="208"/>
                    </a:lnTo>
                    <a:lnTo>
                      <a:pt x="1999" y="222"/>
                    </a:lnTo>
                    <a:lnTo>
                      <a:pt x="2038" y="240"/>
                    </a:lnTo>
                    <a:lnTo>
                      <a:pt x="2074" y="263"/>
                    </a:lnTo>
                    <a:lnTo>
                      <a:pt x="2106" y="288"/>
                    </a:lnTo>
                    <a:lnTo>
                      <a:pt x="2133" y="317"/>
                    </a:lnTo>
                    <a:lnTo>
                      <a:pt x="2155" y="351"/>
                    </a:lnTo>
                    <a:lnTo>
                      <a:pt x="2172" y="386"/>
                    </a:lnTo>
                    <a:lnTo>
                      <a:pt x="2185" y="426"/>
                    </a:lnTo>
                    <a:lnTo>
                      <a:pt x="2192" y="467"/>
                    </a:lnTo>
                    <a:lnTo>
                      <a:pt x="2194" y="506"/>
                    </a:lnTo>
                    <a:lnTo>
                      <a:pt x="2191" y="545"/>
                    </a:lnTo>
                    <a:lnTo>
                      <a:pt x="2183" y="581"/>
                    </a:lnTo>
                    <a:lnTo>
                      <a:pt x="2171" y="616"/>
                    </a:lnTo>
                    <a:lnTo>
                      <a:pt x="2155" y="650"/>
                    </a:lnTo>
                    <a:lnTo>
                      <a:pt x="2134" y="681"/>
                    </a:lnTo>
                    <a:lnTo>
                      <a:pt x="2109" y="710"/>
                    </a:lnTo>
                    <a:lnTo>
                      <a:pt x="2109" y="711"/>
                    </a:lnTo>
                    <a:lnTo>
                      <a:pt x="2089" y="729"/>
                    </a:lnTo>
                    <a:lnTo>
                      <a:pt x="2052" y="759"/>
                    </a:lnTo>
                    <a:lnTo>
                      <a:pt x="2010" y="788"/>
                    </a:lnTo>
                    <a:lnTo>
                      <a:pt x="1962" y="814"/>
                    </a:lnTo>
                    <a:lnTo>
                      <a:pt x="1911" y="839"/>
                    </a:lnTo>
                    <a:lnTo>
                      <a:pt x="1857" y="862"/>
                    </a:lnTo>
                    <a:lnTo>
                      <a:pt x="1802" y="881"/>
                    </a:lnTo>
                    <a:lnTo>
                      <a:pt x="1745" y="897"/>
                    </a:lnTo>
                    <a:lnTo>
                      <a:pt x="1689" y="910"/>
                    </a:lnTo>
                    <a:lnTo>
                      <a:pt x="1633" y="919"/>
                    </a:lnTo>
                    <a:lnTo>
                      <a:pt x="1583" y="923"/>
                    </a:lnTo>
                    <a:lnTo>
                      <a:pt x="1534" y="925"/>
                    </a:lnTo>
                    <a:lnTo>
                      <a:pt x="1477" y="923"/>
                    </a:lnTo>
                    <a:lnTo>
                      <a:pt x="1424" y="918"/>
                    </a:lnTo>
                    <a:lnTo>
                      <a:pt x="1375" y="908"/>
                    </a:lnTo>
                    <a:lnTo>
                      <a:pt x="1329" y="898"/>
                    </a:lnTo>
                    <a:lnTo>
                      <a:pt x="1287" y="885"/>
                    </a:lnTo>
                    <a:lnTo>
                      <a:pt x="1249" y="871"/>
                    </a:lnTo>
                    <a:lnTo>
                      <a:pt x="1214" y="857"/>
                    </a:lnTo>
                    <a:lnTo>
                      <a:pt x="1183" y="841"/>
                    </a:lnTo>
                    <a:lnTo>
                      <a:pt x="1156" y="826"/>
                    </a:lnTo>
                    <a:lnTo>
                      <a:pt x="1133" y="811"/>
                    </a:lnTo>
                    <a:lnTo>
                      <a:pt x="1114" y="798"/>
                    </a:lnTo>
                    <a:lnTo>
                      <a:pt x="1098" y="787"/>
                    </a:lnTo>
                    <a:lnTo>
                      <a:pt x="1087" y="778"/>
                    </a:lnTo>
                    <a:lnTo>
                      <a:pt x="1079" y="771"/>
                    </a:lnTo>
                    <a:lnTo>
                      <a:pt x="1042" y="738"/>
                    </a:lnTo>
                    <a:lnTo>
                      <a:pt x="1010" y="702"/>
                    </a:lnTo>
                    <a:lnTo>
                      <a:pt x="983" y="662"/>
                    </a:lnTo>
                    <a:lnTo>
                      <a:pt x="959" y="620"/>
                    </a:lnTo>
                    <a:lnTo>
                      <a:pt x="941" y="574"/>
                    </a:lnTo>
                    <a:lnTo>
                      <a:pt x="928" y="525"/>
                    </a:lnTo>
                    <a:lnTo>
                      <a:pt x="920" y="475"/>
                    </a:lnTo>
                    <a:lnTo>
                      <a:pt x="918" y="427"/>
                    </a:lnTo>
                    <a:lnTo>
                      <a:pt x="920" y="382"/>
                    </a:lnTo>
                    <a:lnTo>
                      <a:pt x="928" y="339"/>
                    </a:lnTo>
                    <a:lnTo>
                      <a:pt x="939" y="298"/>
                    </a:lnTo>
                    <a:lnTo>
                      <a:pt x="954" y="260"/>
                    </a:lnTo>
                    <a:lnTo>
                      <a:pt x="973" y="223"/>
                    </a:lnTo>
                    <a:lnTo>
                      <a:pt x="995" y="189"/>
                    </a:lnTo>
                    <a:lnTo>
                      <a:pt x="1019" y="158"/>
                    </a:lnTo>
                    <a:lnTo>
                      <a:pt x="1045" y="130"/>
                    </a:lnTo>
                    <a:lnTo>
                      <a:pt x="1072" y="105"/>
                    </a:lnTo>
                    <a:lnTo>
                      <a:pt x="1101" y="81"/>
                    </a:lnTo>
                    <a:lnTo>
                      <a:pt x="1129" y="62"/>
                    </a:lnTo>
                    <a:lnTo>
                      <a:pt x="1158" y="46"/>
                    </a:lnTo>
                    <a:lnTo>
                      <a:pt x="1186" y="33"/>
                    </a:lnTo>
                    <a:lnTo>
                      <a:pt x="1214" y="24"/>
                    </a:lnTo>
                    <a:lnTo>
                      <a:pt x="1265" y="10"/>
                    </a:lnTo>
                    <a:lnTo>
                      <a:pt x="1315" y="2"/>
                    </a:lnTo>
                    <a:lnTo>
                      <a:pt x="136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164" name="Gruppieren 163"/>
            <p:cNvGrpSpPr>
              <a:grpSpLocks noChangeAspect="1"/>
            </p:cNvGrpSpPr>
            <p:nvPr/>
          </p:nvGrpSpPr>
          <p:grpSpPr>
            <a:xfrm>
              <a:off x="5585376" y="3323748"/>
              <a:ext cx="451606" cy="453648"/>
              <a:chOff x="9312439" y="7270105"/>
              <a:chExt cx="346555" cy="348117"/>
            </a:xfrm>
          </p:grpSpPr>
          <p:sp>
            <p:nvSpPr>
              <p:cNvPr id="165" name="Rectangle 160"/>
              <p:cNvSpPr>
                <a:spLocks noChangeArrowheads="1"/>
              </p:cNvSpPr>
              <p:nvPr/>
            </p:nvSpPr>
            <p:spPr bwMode="auto">
              <a:xfrm>
                <a:off x="9312439" y="7270105"/>
                <a:ext cx="346555" cy="348117"/>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66" name="Rectangle 161"/>
              <p:cNvSpPr>
                <a:spLocks noChangeArrowheads="1"/>
              </p:cNvSpPr>
              <p:nvPr/>
            </p:nvSpPr>
            <p:spPr bwMode="auto">
              <a:xfrm>
                <a:off x="9312439" y="7270105"/>
                <a:ext cx="346555" cy="348117"/>
              </a:xfrm>
              <a:prstGeom prst="rect">
                <a:avLst/>
              </a:prstGeom>
              <a:solidFill>
                <a:srgbClr val="EF7B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67" name="Freeform 162"/>
              <p:cNvSpPr>
                <a:spLocks noEditPoints="1"/>
              </p:cNvSpPr>
              <p:nvPr/>
            </p:nvSpPr>
            <p:spPr bwMode="auto">
              <a:xfrm>
                <a:off x="9373320" y="7427772"/>
                <a:ext cx="224792" cy="104591"/>
              </a:xfrm>
              <a:custGeom>
                <a:avLst/>
                <a:gdLst>
                  <a:gd name="T0" fmla="*/ 180 w 2168"/>
                  <a:gd name="T1" fmla="*/ 226 h 1006"/>
                  <a:gd name="T2" fmla="*/ 215 w 2168"/>
                  <a:gd name="T3" fmla="*/ 340 h 1006"/>
                  <a:gd name="T4" fmla="*/ 270 w 2168"/>
                  <a:gd name="T5" fmla="*/ 443 h 1006"/>
                  <a:gd name="T6" fmla="*/ 340 w 2168"/>
                  <a:gd name="T7" fmla="*/ 537 h 1006"/>
                  <a:gd name="T8" fmla="*/ 425 w 2168"/>
                  <a:gd name="T9" fmla="*/ 618 h 1006"/>
                  <a:gd name="T10" fmla="*/ 522 w 2168"/>
                  <a:gd name="T11" fmla="*/ 687 h 1006"/>
                  <a:gd name="T12" fmla="*/ 628 w 2168"/>
                  <a:gd name="T13" fmla="*/ 743 h 1006"/>
                  <a:gd name="T14" fmla="*/ 742 w 2168"/>
                  <a:gd name="T15" fmla="*/ 788 h 1006"/>
                  <a:gd name="T16" fmla="*/ 862 w 2168"/>
                  <a:gd name="T17" fmla="*/ 819 h 1006"/>
                  <a:gd name="T18" fmla="*/ 984 w 2168"/>
                  <a:gd name="T19" fmla="*/ 837 h 1006"/>
                  <a:gd name="T20" fmla="*/ 1109 w 2168"/>
                  <a:gd name="T21" fmla="*/ 840 h 1006"/>
                  <a:gd name="T22" fmla="*/ 1232 w 2168"/>
                  <a:gd name="T23" fmla="*/ 829 h 1006"/>
                  <a:gd name="T24" fmla="*/ 1354 w 2168"/>
                  <a:gd name="T25" fmla="*/ 805 h 1006"/>
                  <a:gd name="T26" fmla="*/ 1472 w 2168"/>
                  <a:gd name="T27" fmla="*/ 768 h 1006"/>
                  <a:gd name="T28" fmla="*/ 1583 w 2168"/>
                  <a:gd name="T29" fmla="*/ 717 h 1006"/>
                  <a:gd name="T30" fmla="*/ 1684 w 2168"/>
                  <a:gd name="T31" fmla="*/ 653 h 1006"/>
                  <a:gd name="T32" fmla="*/ 1775 w 2168"/>
                  <a:gd name="T33" fmla="*/ 578 h 1006"/>
                  <a:gd name="T34" fmla="*/ 1854 w 2168"/>
                  <a:gd name="T35" fmla="*/ 491 h 1006"/>
                  <a:gd name="T36" fmla="*/ 1917 w 2168"/>
                  <a:gd name="T37" fmla="*/ 394 h 1006"/>
                  <a:gd name="T38" fmla="*/ 1962 w 2168"/>
                  <a:gd name="T39" fmla="*/ 284 h 1006"/>
                  <a:gd name="T40" fmla="*/ 1987 w 2168"/>
                  <a:gd name="T41" fmla="*/ 166 h 1006"/>
                  <a:gd name="T42" fmla="*/ 0 w 2168"/>
                  <a:gd name="T43" fmla="*/ 0 h 1006"/>
                  <a:gd name="T44" fmla="*/ 2157 w 2168"/>
                  <a:gd name="T45" fmla="*/ 82 h 1006"/>
                  <a:gd name="T46" fmla="*/ 2147 w 2168"/>
                  <a:gd name="T47" fmla="*/ 215 h 1006"/>
                  <a:gd name="T48" fmla="*/ 2117 w 2168"/>
                  <a:gd name="T49" fmla="*/ 338 h 1006"/>
                  <a:gd name="T50" fmla="*/ 2072 w 2168"/>
                  <a:gd name="T51" fmla="*/ 452 h 1006"/>
                  <a:gd name="T52" fmla="*/ 2010 w 2168"/>
                  <a:gd name="T53" fmla="*/ 556 h 1006"/>
                  <a:gd name="T54" fmla="*/ 1936 w 2168"/>
                  <a:gd name="T55" fmla="*/ 650 h 1006"/>
                  <a:gd name="T56" fmla="*/ 1849 w 2168"/>
                  <a:gd name="T57" fmla="*/ 734 h 1006"/>
                  <a:gd name="T58" fmla="*/ 1751 w 2168"/>
                  <a:gd name="T59" fmla="*/ 807 h 1006"/>
                  <a:gd name="T60" fmla="*/ 2168 w 2168"/>
                  <a:gd name="T61" fmla="*/ 840 h 1006"/>
                  <a:gd name="T62" fmla="*/ 1113 w 2168"/>
                  <a:gd name="T63" fmla="*/ 1005 h 1006"/>
                  <a:gd name="T64" fmla="*/ 1042 w 2168"/>
                  <a:gd name="T65" fmla="*/ 1005 h 1006"/>
                  <a:gd name="T66" fmla="*/ 1 w 2168"/>
                  <a:gd name="T67" fmla="*/ 840 h 1006"/>
                  <a:gd name="T68" fmla="*/ 405 w 2168"/>
                  <a:gd name="T69" fmla="*/ 807 h 1006"/>
                  <a:gd name="T70" fmla="*/ 308 w 2168"/>
                  <a:gd name="T71" fmla="*/ 734 h 1006"/>
                  <a:gd name="T72" fmla="*/ 221 w 2168"/>
                  <a:gd name="T73" fmla="*/ 650 h 1006"/>
                  <a:gd name="T74" fmla="*/ 146 w 2168"/>
                  <a:gd name="T75" fmla="*/ 556 h 1006"/>
                  <a:gd name="T76" fmla="*/ 85 w 2168"/>
                  <a:gd name="T77" fmla="*/ 452 h 1006"/>
                  <a:gd name="T78" fmla="*/ 40 w 2168"/>
                  <a:gd name="T79" fmla="*/ 338 h 1006"/>
                  <a:gd name="T80" fmla="*/ 10 w 2168"/>
                  <a:gd name="T81" fmla="*/ 215 h 1006"/>
                  <a:gd name="T82" fmla="*/ 0 w 2168"/>
                  <a:gd name="T83" fmla="*/ 82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68" h="1006">
                    <a:moveTo>
                      <a:pt x="170" y="166"/>
                    </a:moveTo>
                    <a:lnTo>
                      <a:pt x="180" y="226"/>
                    </a:lnTo>
                    <a:lnTo>
                      <a:pt x="195" y="284"/>
                    </a:lnTo>
                    <a:lnTo>
                      <a:pt x="215" y="340"/>
                    </a:lnTo>
                    <a:lnTo>
                      <a:pt x="240" y="394"/>
                    </a:lnTo>
                    <a:lnTo>
                      <a:pt x="270" y="443"/>
                    </a:lnTo>
                    <a:lnTo>
                      <a:pt x="303" y="491"/>
                    </a:lnTo>
                    <a:lnTo>
                      <a:pt x="340" y="537"/>
                    </a:lnTo>
                    <a:lnTo>
                      <a:pt x="381" y="578"/>
                    </a:lnTo>
                    <a:lnTo>
                      <a:pt x="425" y="618"/>
                    </a:lnTo>
                    <a:lnTo>
                      <a:pt x="473" y="653"/>
                    </a:lnTo>
                    <a:lnTo>
                      <a:pt x="522" y="687"/>
                    </a:lnTo>
                    <a:lnTo>
                      <a:pt x="574" y="717"/>
                    </a:lnTo>
                    <a:lnTo>
                      <a:pt x="628" y="743"/>
                    </a:lnTo>
                    <a:lnTo>
                      <a:pt x="684" y="768"/>
                    </a:lnTo>
                    <a:lnTo>
                      <a:pt x="742" y="788"/>
                    </a:lnTo>
                    <a:lnTo>
                      <a:pt x="801" y="805"/>
                    </a:lnTo>
                    <a:lnTo>
                      <a:pt x="862" y="819"/>
                    </a:lnTo>
                    <a:lnTo>
                      <a:pt x="923" y="829"/>
                    </a:lnTo>
                    <a:lnTo>
                      <a:pt x="984" y="837"/>
                    </a:lnTo>
                    <a:lnTo>
                      <a:pt x="1046" y="840"/>
                    </a:lnTo>
                    <a:lnTo>
                      <a:pt x="1109" y="840"/>
                    </a:lnTo>
                    <a:lnTo>
                      <a:pt x="1171" y="837"/>
                    </a:lnTo>
                    <a:lnTo>
                      <a:pt x="1232" y="829"/>
                    </a:lnTo>
                    <a:lnTo>
                      <a:pt x="1294" y="819"/>
                    </a:lnTo>
                    <a:lnTo>
                      <a:pt x="1354" y="805"/>
                    </a:lnTo>
                    <a:lnTo>
                      <a:pt x="1413" y="788"/>
                    </a:lnTo>
                    <a:lnTo>
                      <a:pt x="1472" y="768"/>
                    </a:lnTo>
                    <a:lnTo>
                      <a:pt x="1528" y="743"/>
                    </a:lnTo>
                    <a:lnTo>
                      <a:pt x="1583" y="717"/>
                    </a:lnTo>
                    <a:lnTo>
                      <a:pt x="1634" y="687"/>
                    </a:lnTo>
                    <a:lnTo>
                      <a:pt x="1684" y="653"/>
                    </a:lnTo>
                    <a:lnTo>
                      <a:pt x="1732" y="618"/>
                    </a:lnTo>
                    <a:lnTo>
                      <a:pt x="1775" y="578"/>
                    </a:lnTo>
                    <a:lnTo>
                      <a:pt x="1817" y="537"/>
                    </a:lnTo>
                    <a:lnTo>
                      <a:pt x="1854" y="491"/>
                    </a:lnTo>
                    <a:lnTo>
                      <a:pt x="1887" y="443"/>
                    </a:lnTo>
                    <a:lnTo>
                      <a:pt x="1917" y="394"/>
                    </a:lnTo>
                    <a:lnTo>
                      <a:pt x="1942" y="340"/>
                    </a:lnTo>
                    <a:lnTo>
                      <a:pt x="1962" y="284"/>
                    </a:lnTo>
                    <a:lnTo>
                      <a:pt x="1977" y="226"/>
                    </a:lnTo>
                    <a:lnTo>
                      <a:pt x="1987" y="166"/>
                    </a:lnTo>
                    <a:lnTo>
                      <a:pt x="170" y="166"/>
                    </a:lnTo>
                    <a:close/>
                    <a:moveTo>
                      <a:pt x="0" y="0"/>
                    </a:moveTo>
                    <a:lnTo>
                      <a:pt x="2157" y="0"/>
                    </a:lnTo>
                    <a:lnTo>
                      <a:pt x="2157" y="82"/>
                    </a:lnTo>
                    <a:lnTo>
                      <a:pt x="2154" y="150"/>
                    </a:lnTo>
                    <a:lnTo>
                      <a:pt x="2147" y="215"/>
                    </a:lnTo>
                    <a:lnTo>
                      <a:pt x="2134" y="278"/>
                    </a:lnTo>
                    <a:lnTo>
                      <a:pt x="2117" y="338"/>
                    </a:lnTo>
                    <a:lnTo>
                      <a:pt x="2097" y="397"/>
                    </a:lnTo>
                    <a:lnTo>
                      <a:pt x="2072" y="452"/>
                    </a:lnTo>
                    <a:lnTo>
                      <a:pt x="2043" y="505"/>
                    </a:lnTo>
                    <a:lnTo>
                      <a:pt x="2010" y="556"/>
                    </a:lnTo>
                    <a:lnTo>
                      <a:pt x="1975" y="604"/>
                    </a:lnTo>
                    <a:lnTo>
                      <a:pt x="1936" y="650"/>
                    </a:lnTo>
                    <a:lnTo>
                      <a:pt x="1893" y="694"/>
                    </a:lnTo>
                    <a:lnTo>
                      <a:pt x="1849" y="734"/>
                    </a:lnTo>
                    <a:lnTo>
                      <a:pt x="1801" y="772"/>
                    </a:lnTo>
                    <a:lnTo>
                      <a:pt x="1751" y="807"/>
                    </a:lnTo>
                    <a:lnTo>
                      <a:pt x="1699" y="840"/>
                    </a:lnTo>
                    <a:lnTo>
                      <a:pt x="2168" y="840"/>
                    </a:lnTo>
                    <a:lnTo>
                      <a:pt x="2168" y="1005"/>
                    </a:lnTo>
                    <a:lnTo>
                      <a:pt x="1113" y="1005"/>
                    </a:lnTo>
                    <a:lnTo>
                      <a:pt x="1078" y="1006"/>
                    </a:lnTo>
                    <a:lnTo>
                      <a:pt x="1042" y="1005"/>
                    </a:lnTo>
                    <a:lnTo>
                      <a:pt x="1" y="1005"/>
                    </a:lnTo>
                    <a:lnTo>
                      <a:pt x="1" y="840"/>
                    </a:lnTo>
                    <a:lnTo>
                      <a:pt x="457" y="840"/>
                    </a:lnTo>
                    <a:lnTo>
                      <a:pt x="405" y="807"/>
                    </a:lnTo>
                    <a:lnTo>
                      <a:pt x="355" y="772"/>
                    </a:lnTo>
                    <a:lnTo>
                      <a:pt x="308" y="734"/>
                    </a:lnTo>
                    <a:lnTo>
                      <a:pt x="263" y="694"/>
                    </a:lnTo>
                    <a:lnTo>
                      <a:pt x="221" y="650"/>
                    </a:lnTo>
                    <a:lnTo>
                      <a:pt x="182" y="604"/>
                    </a:lnTo>
                    <a:lnTo>
                      <a:pt x="146" y="556"/>
                    </a:lnTo>
                    <a:lnTo>
                      <a:pt x="113" y="505"/>
                    </a:lnTo>
                    <a:lnTo>
                      <a:pt x="85" y="452"/>
                    </a:lnTo>
                    <a:lnTo>
                      <a:pt x="60" y="397"/>
                    </a:lnTo>
                    <a:lnTo>
                      <a:pt x="40" y="338"/>
                    </a:lnTo>
                    <a:lnTo>
                      <a:pt x="22" y="278"/>
                    </a:lnTo>
                    <a:lnTo>
                      <a:pt x="10" y="215"/>
                    </a:lnTo>
                    <a:lnTo>
                      <a:pt x="3" y="150"/>
                    </a:lnTo>
                    <a:lnTo>
                      <a:pt x="0" y="8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8" name="Rectangle 163"/>
              <p:cNvSpPr>
                <a:spLocks noChangeArrowheads="1"/>
              </p:cNvSpPr>
              <p:nvPr/>
            </p:nvSpPr>
            <p:spPr bwMode="auto">
              <a:xfrm>
                <a:off x="9442007" y="7357525"/>
                <a:ext cx="17172" cy="53076"/>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169" name="Rectangle 164"/>
              <p:cNvSpPr>
                <a:spLocks noChangeArrowheads="1"/>
              </p:cNvSpPr>
              <p:nvPr/>
            </p:nvSpPr>
            <p:spPr bwMode="auto">
              <a:xfrm>
                <a:off x="9476350" y="7357525"/>
                <a:ext cx="17172" cy="53076"/>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170" name="Rectangle 165"/>
              <p:cNvSpPr>
                <a:spLocks noChangeArrowheads="1"/>
              </p:cNvSpPr>
              <p:nvPr/>
            </p:nvSpPr>
            <p:spPr bwMode="auto">
              <a:xfrm>
                <a:off x="9512254" y="7357525"/>
                <a:ext cx="17172" cy="53076"/>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171" name="Gruppieren 170"/>
            <p:cNvGrpSpPr>
              <a:grpSpLocks noChangeAspect="1"/>
            </p:cNvGrpSpPr>
            <p:nvPr/>
          </p:nvGrpSpPr>
          <p:grpSpPr>
            <a:xfrm>
              <a:off x="6727428" y="4298857"/>
              <a:ext cx="451619" cy="453648"/>
              <a:chOff x="9312439" y="7679777"/>
              <a:chExt cx="346555" cy="348116"/>
            </a:xfrm>
          </p:grpSpPr>
          <p:sp>
            <p:nvSpPr>
              <p:cNvPr id="172" name="Rectangle 285"/>
              <p:cNvSpPr>
                <a:spLocks noChangeArrowheads="1"/>
              </p:cNvSpPr>
              <p:nvPr/>
            </p:nvSpPr>
            <p:spPr bwMode="auto">
              <a:xfrm>
                <a:off x="9312439" y="7679777"/>
                <a:ext cx="346555" cy="348116"/>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73" name="Rectangle 286"/>
              <p:cNvSpPr>
                <a:spLocks noChangeArrowheads="1"/>
              </p:cNvSpPr>
              <p:nvPr/>
            </p:nvSpPr>
            <p:spPr bwMode="auto">
              <a:xfrm>
                <a:off x="9312439" y="7679777"/>
                <a:ext cx="346555" cy="348116"/>
              </a:xfrm>
              <a:prstGeom prst="rect">
                <a:avLst/>
              </a:prstGeom>
              <a:solidFill>
                <a:srgbClr val="EF7B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74" name="Rectangle 287"/>
              <p:cNvSpPr>
                <a:spLocks noChangeArrowheads="1"/>
              </p:cNvSpPr>
              <p:nvPr/>
            </p:nvSpPr>
            <p:spPr bwMode="auto">
              <a:xfrm>
                <a:off x="9407664" y="7863982"/>
                <a:ext cx="17172" cy="8585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175" name="Freeform 288"/>
              <p:cNvSpPr>
                <a:spLocks noEditPoints="1"/>
              </p:cNvSpPr>
              <p:nvPr/>
            </p:nvSpPr>
            <p:spPr bwMode="auto">
              <a:xfrm>
                <a:off x="9373320" y="7723487"/>
                <a:ext cx="112396" cy="260697"/>
              </a:xfrm>
              <a:custGeom>
                <a:avLst/>
                <a:gdLst>
                  <a:gd name="T0" fmla="*/ 205 w 1080"/>
                  <a:gd name="T1" fmla="*/ 1005 h 2507"/>
                  <a:gd name="T2" fmla="*/ 175 w 1080"/>
                  <a:gd name="T3" fmla="*/ 1014 h 2507"/>
                  <a:gd name="T4" fmla="*/ 167 w 1080"/>
                  <a:gd name="T5" fmla="*/ 1039 h 2507"/>
                  <a:gd name="T6" fmla="*/ 165 w 1080"/>
                  <a:gd name="T7" fmla="*/ 1085 h 2507"/>
                  <a:gd name="T8" fmla="*/ 166 w 1080"/>
                  <a:gd name="T9" fmla="*/ 2290 h 2507"/>
                  <a:gd name="T10" fmla="*/ 172 w 1080"/>
                  <a:gd name="T11" fmla="*/ 2327 h 2507"/>
                  <a:gd name="T12" fmla="*/ 191 w 1080"/>
                  <a:gd name="T13" fmla="*/ 2336 h 2507"/>
                  <a:gd name="T14" fmla="*/ 249 w 1080"/>
                  <a:gd name="T15" fmla="*/ 2342 h 2507"/>
                  <a:gd name="T16" fmla="*/ 875 w 1080"/>
                  <a:gd name="T17" fmla="*/ 2339 h 2507"/>
                  <a:gd name="T18" fmla="*/ 905 w 1080"/>
                  <a:gd name="T19" fmla="*/ 2330 h 2507"/>
                  <a:gd name="T20" fmla="*/ 913 w 1080"/>
                  <a:gd name="T21" fmla="*/ 2306 h 2507"/>
                  <a:gd name="T22" fmla="*/ 915 w 1080"/>
                  <a:gd name="T23" fmla="*/ 2259 h 2507"/>
                  <a:gd name="T24" fmla="*/ 915 w 1080"/>
                  <a:gd name="T25" fmla="*/ 2242 h 2507"/>
                  <a:gd name="T26" fmla="*/ 915 w 1080"/>
                  <a:gd name="T27" fmla="*/ 2191 h 2507"/>
                  <a:gd name="T28" fmla="*/ 915 w 1080"/>
                  <a:gd name="T29" fmla="*/ 2090 h 2507"/>
                  <a:gd name="T30" fmla="*/ 915 w 1080"/>
                  <a:gd name="T31" fmla="*/ 1069 h 2507"/>
                  <a:gd name="T32" fmla="*/ 911 w 1080"/>
                  <a:gd name="T33" fmla="*/ 1025 h 2507"/>
                  <a:gd name="T34" fmla="*/ 899 w 1080"/>
                  <a:gd name="T35" fmla="*/ 1011 h 2507"/>
                  <a:gd name="T36" fmla="*/ 856 w 1080"/>
                  <a:gd name="T37" fmla="*/ 1002 h 2507"/>
                  <a:gd name="T38" fmla="*/ 412 w 1080"/>
                  <a:gd name="T39" fmla="*/ 711 h 2507"/>
                  <a:gd name="T40" fmla="*/ 359 w 1080"/>
                  <a:gd name="T41" fmla="*/ 740 h 2507"/>
                  <a:gd name="T42" fmla="*/ 336 w 1080"/>
                  <a:gd name="T43" fmla="*/ 801 h 2507"/>
                  <a:gd name="T44" fmla="*/ 752 w 1080"/>
                  <a:gd name="T45" fmla="*/ 801 h 2507"/>
                  <a:gd name="T46" fmla="*/ 728 w 1080"/>
                  <a:gd name="T47" fmla="*/ 740 h 2507"/>
                  <a:gd name="T48" fmla="*/ 676 w 1080"/>
                  <a:gd name="T49" fmla="*/ 711 h 2507"/>
                  <a:gd name="T50" fmla="*/ 440 w 1080"/>
                  <a:gd name="T51" fmla="*/ 546 h 2507"/>
                  <a:gd name="T52" fmla="*/ 527 w 1080"/>
                  <a:gd name="T53" fmla="*/ 165 h 2507"/>
                  <a:gd name="T54" fmla="*/ 831 w 1080"/>
                  <a:gd name="T55" fmla="*/ 608 h 2507"/>
                  <a:gd name="T56" fmla="*/ 893 w 1080"/>
                  <a:gd name="T57" fmla="*/ 694 h 2507"/>
                  <a:gd name="T58" fmla="*/ 916 w 1080"/>
                  <a:gd name="T59" fmla="*/ 801 h 2507"/>
                  <a:gd name="T60" fmla="*/ 973 w 1080"/>
                  <a:gd name="T61" fmla="*/ 863 h 2507"/>
                  <a:gd name="T62" fmla="*/ 1032 w 1080"/>
                  <a:gd name="T63" fmla="*/ 907 h 2507"/>
                  <a:gd name="T64" fmla="*/ 1063 w 1080"/>
                  <a:gd name="T65" fmla="*/ 961 h 2507"/>
                  <a:gd name="T66" fmla="*/ 1077 w 1080"/>
                  <a:gd name="T67" fmla="*/ 1018 h 2507"/>
                  <a:gd name="T68" fmla="*/ 1080 w 1080"/>
                  <a:gd name="T69" fmla="*/ 1070 h 2507"/>
                  <a:gd name="T70" fmla="*/ 1080 w 1080"/>
                  <a:gd name="T71" fmla="*/ 2087 h 2507"/>
                  <a:gd name="T72" fmla="*/ 1079 w 1080"/>
                  <a:gd name="T73" fmla="*/ 2188 h 2507"/>
                  <a:gd name="T74" fmla="*/ 1079 w 1080"/>
                  <a:gd name="T75" fmla="*/ 2247 h 2507"/>
                  <a:gd name="T76" fmla="*/ 1080 w 1080"/>
                  <a:gd name="T77" fmla="*/ 2260 h 2507"/>
                  <a:gd name="T78" fmla="*/ 1078 w 1080"/>
                  <a:gd name="T79" fmla="*/ 2307 h 2507"/>
                  <a:gd name="T80" fmla="*/ 1070 w 1080"/>
                  <a:gd name="T81" fmla="*/ 2360 h 2507"/>
                  <a:gd name="T82" fmla="*/ 1048 w 1080"/>
                  <a:gd name="T83" fmla="*/ 2414 h 2507"/>
                  <a:gd name="T84" fmla="*/ 1005 w 1080"/>
                  <a:gd name="T85" fmla="*/ 2462 h 2507"/>
                  <a:gd name="T86" fmla="*/ 936 w 1080"/>
                  <a:gd name="T87" fmla="*/ 2495 h 2507"/>
                  <a:gd name="T88" fmla="*/ 831 w 1080"/>
                  <a:gd name="T89" fmla="*/ 2507 h 2507"/>
                  <a:gd name="T90" fmla="*/ 176 w 1080"/>
                  <a:gd name="T91" fmla="*/ 2501 h 2507"/>
                  <a:gd name="T92" fmla="*/ 95 w 1080"/>
                  <a:gd name="T93" fmla="*/ 2474 h 2507"/>
                  <a:gd name="T94" fmla="*/ 44 w 1080"/>
                  <a:gd name="T95" fmla="*/ 2431 h 2507"/>
                  <a:gd name="T96" fmla="*/ 15 w 1080"/>
                  <a:gd name="T97" fmla="*/ 2379 h 2507"/>
                  <a:gd name="T98" fmla="*/ 3 w 1080"/>
                  <a:gd name="T99" fmla="*/ 2324 h 2507"/>
                  <a:gd name="T100" fmla="*/ 1 w 1080"/>
                  <a:gd name="T101" fmla="*/ 2275 h 2507"/>
                  <a:gd name="T102" fmla="*/ 1 w 1080"/>
                  <a:gd name="T103" fmla="*/ 1070 h 2507"/>
                  <a:gd name="T104" fmla="*/ 4 w 1080"/>
                  <a:gd name="T105" fmla="*/ 1017 h 2507"/>
                  <a:gd name="T106" fmla="*/ 18 w 1080"/>
                  <a:gd name="T107" fmla="*/ 959 h 2507"/>
                  <a:gd name="T108" fmla="*/ 52 w 1080"/>
                  <a:gd name="T109" fmla="*/ 904 h 2507"/>
                  <a:gd name="T110" fmla="*/ 112 w 1080"/>
                  <a:gd name="T111" fmla="*/ 861 h 2507"/>
                  <a:gd name="T112" fmla="*/ 172 w 1080"/>
                  <a:gd name="T113" fmla="*/ 801 h 2507"/>
                  <a:gd name="T114" fmla="*/ 195 w 1080"/>
                  <a:gd name="T115" fmla="*/ 694 h 2507"/>
                  <a:gd name="T116" fmla="*/ 258 w 1080"/>
                  <a:gd name="T117" fmla="*/ 608 h 2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0" h="2507">
                    <a:moveTo>
                      <a:pt x="249" y="1002"/>
                    </a:moveTo>
                    <a:lnTo>
                      <a:pt x="224" y="1002"/>
                    </a:lnTo>
                    <a:lnTo>
                      <a:pt x="205" y="1005"/>
                    </a:lnTo>
                    <a:lnTo>
                      <a:pt x="191" y="1008"/>
                    </a:lnTo>
                    <a:lnTo>
                      <a:pt x="181" y="1011"/>
                    </a:lnTo>
                    <a:lnTo>
                      <a:pt x="175" y="1014"/>
                    </a:lnTo>
                    <a:lnTo>
                      <a:pt x="172" y="1017"/>
                    </a:lnTo>
                    <a:lnTo>
                      <a:pt x="169" y="1025"/>
                    </a:lnTo>
                    <a:lnTo>
                      <a:pt x="167" y="1039"/>
                    </a:lnTo>
                    <a:lnTo>
                      <a:pt x="166" y="1053"/>
                    </a:lnTo>
                    <a:lnTo>
                      <a:pt x="166" y="1069"/>
                    </a:lnTo>
                    <a:lnTo>
                      <a:pt x="165" y="1085"/>
                    </a:lnTo>
                    <a:lnTo>
                      <a:pt x="165" y="2259"/>
                    </a:lnTo>
                    <a:lnTo>
                      <a:pt x="166" y="2274"/>
                    </a:lnTo>
                    <a:lnTo>
                      <a:pt x="166" y="2290"/>
                    </a:lnTo>
                    <a:lnTo>
                      <a:pt x="167" y="2306"/>
                    </a:lnTo>
                    <a:lnTo>
                      <a:pt x="169" y="2319"/>
                    </a:lnTo>
                    <a:lnTo>
                      <a:pt x="172" y="2327"/>
                    </a:lnTo>
                    <a:lnTo>
                      <a:pt x="175" y="2330"/>
                    </a:lnTo>
                    <a:lnTo>
                      <a:pt x="181" y="2333"/>
                    </a:lnTo>
                    <a:lnTo>
                      <a:pt x="191" y="2336"/>
                    </a:lnTo>
                    <a:lnTo>
                      <a:pt x="205" y="2339"/>
                    </a:lnTo>
                    <a:lnTo>
                      <a:pt x="224" y="2341"/>
                    </a:lnTo>
                    <a:lnTo>
                      <a:pt x="249" y="2342"/>
                    </a:lnTo>
                    <a:lnTo>
                      <a:pt x="831" y="2342"/>
                    </a:lnTo>
                    <a:lnTo>
                      <a:pt x="856" y="2341"/>
                    </a:lnTo>
                    <a:lnTo>
                      <a:pt x="875" y="2339"/>
                    </a:lnTo>
                    <a:lnTo>
                      <a:pt x="889" y="2336"/>
                    </a:lnTo>
                    <a:lnTo>
                      <a:pt x="899" y="2333"/>
                    </a:lnTo>
                    <a:lnTo>
                      <a:pt x="905" y="2330"/>
                    </a:lnTo>
                    <a:lnTo>
                      <a:pt x="908" y="2327"/>
                    </a:lnTo>
                    <a:lnTo>
                      <a:pt x="911" y="2319"/>
                    </a:lnTo>
                    <a:lnTo>
                      <a:pt x="913" y="2306"/>
                    </a:lnTo>
                    <a:lnTo>
                      <a:pt x="914" y="2290"/>
                    </a:lnTo>
                    <a:lnTo>
                      <a:pt x="915" y="2274"/>
                    </a:lnTo>
                    <a:lnTo>
                      <a:pt x="915" y="2259"/>
                    </a:lnTo>
                    <a:lnTo>
                      <a:pt x="915" y="2256"/>
                    </a:lnTo>
                    <a:lnTo>
                      <a:pt x="915" y="2250"/>
                    </a:lnTo>
                    <a:lnTo>
                      <a:pt x="915" y="2242"/>
                    </a:lnTo>
                    <a:lnTo>
                      <a:pt x="915" y="2230"/>
                    </a:lnTo>
                    <a:lnTo>
                      <a:pt x="915" y="2212"/>
                    </a:lnTo>
                    <a:lnTo>
                      <a:pt x="915" y="2191"/>
                    </a:lnTo>
                    <a:lnTo>
                      <a:pt x="915" y="2164"/>
                    </a:lnTo>
                    <a:lnTo>
                      <a:pt x="915" y="2130"/>
                    </a:lnTo>
                    <a:lnTo>
                      <a:pt x="915" y="2090"/>
                    </a:lnTo>
                    <a:lnTo>
                      <a:pt x="915" y="2042"/>
                    </a:lnTo>
                    <a:lnTo>
                      <a:pt x="915" y="1085"/>
                    </a:lnTo>
                    <a:lnTo>
                      <a:pt x="915" y="1069"/>
                    </a:lnTo>
                    <a:lnTo>
                      <a:pt x="914" y="1053"/>
                    </a:lnTo>
                    <a:lnTo>
                      <a:pt x="913" y="1039"/>
                    </a:lnTo>
                    <a:lnTo>
                      <a:pt x="911" y="1025"/>
                    </a:lnTo>
                    <a:lnTo>
                      <a:pt x="908" y="1017"/>
                    </a:lnTo>
                    <a:lnTo>
                      <a:pt x="905" y="1014"/>
                    </a:lnTo>
                    <a:lnTo>
                      <a:pt x="899" y="1011"/>
                    </a:lnTo>
                    <a:lnTo>
                      <a:pt x="889" y="1008"/>
                    </a:lnTo>
                    <a:lnTo>
                      <a:pt x="875" y="1005"/>
                    </a:lnTo>
                    <a:lnTo>
                      <a:pt x="856" y="1002"/>
                    </a:lnTo>
                    <a:lnTo>
                      <a:pt x="831" y="1002"/>
                    </a:lnTo>
                    <a:lnTo>
                      <a:pt x="249" y="1002"/>
                    </a:lnTo>
                    <a:close/>
                    <a:moveTo>
                      <a:pt x="412" y="711"/>
                    </a:moveTo>
                    <a:lnTo>
                      <a:pt x="394" y="715"/>
                    </a:lnTo>
                    <a:lnTo>
                      <a:pt x="376" y="724"/>
                    </a:lnTo>
                    <a:lnTo>
                      <a:pt x="359" y="740"/>
                    </a:lnTo>
                    <a:lnTo>
                      <a:pt x="347" y="758"/>
                    </a:lnTo>
                    <a:lnTo>
                      <a:pt x="339" y="779"/>
                    </a:lnTo>
                    <a:lnTo>
                      <a:pt x="336" y="801"/>
                    </a:lnTo>
                    <a:lnTo>
                      <a:pt x="336" y="837"/>
                    </a:lnTo>
                    <a:lnTo>
                      <a:pt x="752" y="837"/>
                    </a:lnTo>
                    <a:lnTo>
                      <a:pt x="752" y="801"/>
                    </a:lnTo>
                    <a:lnTo>
                      <a:pt x="749" y="779"/>
                    </a:lnTo>
                    <a:lnTo>
                      <a:pt x="741" y="758"/>
                    </a:lnTo>
                    <a:lnTo>
                      <a:pt x="728" y="740"/>
                    </a:lnTo>
                    <a:lnTo>
                      <a:pt x="713" y="724"/>
                    </a:lnTo>
                    <a:lnTo>
                      <a:pt x="694" y="715"/>
                    </a:lnTo>
                    <a:lnTo>
                      <a:pt x="676" y="711"/>
                    </a:lnTo>
                    <a:lnTo>
                      <a:pt x="412" y="711"/>
                    </a:lnTo>
                    <a:close/>
                    <a:moveTo>
                      <a:pt x="527" y="165"/>
                    </a:moveTo>
                    <a:lnTo>
                      <a:pt x="440" y="546"/>
                    </a:lnTo>
                    <a:lnTo>
                      <a:pt x="648" y="546"/>
                    </a:lnTo>
                    <a:lnTo>
                      <a:pt x="561" y="165"/>
                    </a:lnTo>
                    <a:lnTo>
                      <a:pt x="527" y="165"/>
                    </a:lnTo>
                    <a:close/>
                    <a:moveTo>
                      <a:pt x="396" y="0"/>
                    </a:moveTo>
                    <a:lnTo>
                      <a:pt x="692" y="0"/>
                    </a:lnTo>
                    <a:lnTo>
                      <a:pt x="831" y="608"/>
                    </a:lnTo>
                    <a:lnTo>
                      <a:pt x="855" y="633"/>
                    </a:lnTo>
                    <a:lnTo>
                      <a:pt x="876" y="662"/>
                    </a:lnTo>
                    <a:lnTo>
                      <a:pt x="893" y="694"/>
                    </a:lnTo>
                    <a:lnTo>
                      <a:pt x="905" y="727"/>
                    </a:lnTo>
                    <a:lnTo>
                      <a:pt x="913" y="764"/>
                    </a:lnTo>
                    <a:lnTo>
                      <a:pt x="916" y="801"/>
                    </a:lnTo>
                    <a:lnTo>
                      <a:pt x="916" y="845"/>
                    </a:lnTo>
                    <a:lnTo>
                      <a:pt x="947" y="853"/>
                    </a:lnTo>
                    <a:lnTo>
                      <a:pt x="973" y="863"/>
                    </a:lnTo>
                    <a:lnTo>
                      <a:pt x="996" y="876"/>
                    </a:lnTo>
                    <a:lnTo>
                      <a:pt x="1015" y="891"/>
                    </a:lnTo>
                    <a:lnTo>
                      <a:pt x="1032" y="907"/>
                    </a:lnTo>
                    <a:lnTo>
                      <a:pt x="1045" y="924"/>
                    </a:lnTo>
                    <a:lnTo>
                      <a:pt x="1055" y="942"/>
                    </a:lnTo>
                    <a:lnTo>
                      <a:pt x="1063" y="961"/>
                    </a:lnTo>
                    <a:lnTo>
                      <a:pt x="1069" y="980"/>
                    </a:lnTo>
                    <a:lnTo>
                      <a:pt x="1074" y="999"/>
                    </a:lnTo>
                    <a:lnTo>
                      <a:pt x="1077" y="1018"/>
                    </a:lnTo>
                    <a:lnTo>
                      <a:pt x="1078" y="1037"/>
                    </a:lnTo>
                    <a:lnTo>
                      <a:pt x="1079" y="1054"/>
                    </a:lnTo>
                    <a:lnTo>
                      <a:pt x="1080" y="1070"/>
                    </a:lnTo>
                    <a:lnTo>
                      <a:pt x="1080" y="1085"/>
                    </a:lnTo>
                    <a:lnTo>
                      <a:pt x="1080" y="2042"/>
                    </a:lnTo>
                    <a:lnTo>
                      <a:pt x="1080" y="2087"/>
                    </a:lnTo>
                    <a:lnTo>
                      <a:pt x="1080" y="2126"/>
                    </a:lnTo>
                    <a:lnTo>
                      <a:pt x="1080" y="2160"/>
                    </a:lnTo>
                    <a:lnTo>
                      <a:pt x="1079" y="2188"/>
                    </a:lnTo>
                    <a:lnTo>
                      <a:pt x="1079" y="2211"/>
                    </a:lnTo>
                    <a:lnTo>
                      <a:pt x="1079" y="2231"/>
                    </a:lnTo>
                    <a:lnTo>
                      <a:pt x="1079" y="2247"/>
                    </a:lnTo>
                    <a:lnTo>
                      <a:pt x="1078" y="2259"/>
                    </a:lnTo>
                    <a:lnTo>
                      <a:pt x="1080" y="2259"/>
                    </a:lnTo>
                    <a:lnTo>
                      <a:pt x="1080" y="2260"/>
                    </a:lnTo>
                    <a:lnTo>
                      <a:pt x="1080" y="2274"/>
                    </a:lnTo>
                    <a:lnTo>
                      <a:pt x="1079" y="2290"/>
                    </a:lnTo>
                    <a:lnTo>
                      <a:pt x="1078" y="2307"/>
                    </a:lnTo>
                    <a:lnTo>
                      <a:pt x="1077" y="2324"/>
                    </a:lnTo>
                    <a:lnTo>
                      <a:pt x="1074" y="2342"/>
                    </a:lnTo>
                    <a:lnTo>
                      <a:pt x="1070" y="2360"/>
                    </a:lnTo>
                    <a:lnTo>
                      <a:pt x="1065" y="2379"/>
                    </a:lnTo>
                    <a:lnTo>
                      <a:pt x="1058" y="2397"/>
                    </a:lnTo>
                    <a:lnTo>
                      <a:pt x="1048" y="2414"/>
                    </a:lnTo>
                    <a:lnTo>
                      <a:pt x="1037" y="2431"/>
                    </a:lnTo>
                    <a:lnTo>
                      <a:pt x="1022" y="2447"/>
                    </a:lnTo>
                    <a:lnTo>
                      <a:pt x="1005" y="2462"/>
                    </a:lnTo>
                    <a:lnTo>
                      <a:pt x="985" y="2474"/>
                    </a:lnTo>
                    <a:lnTo>
                      <a:pt x="962" y="2485"/>
                    </a:lnTo>
                    <a:lnTo>
                      <a:pt x="936" y="2495"/>
                    </a:lnTo>
                    <a:lnTo>
                      <a:pt x="904" y="2501"/>
                    </a:lnTo>
                    <a:lnTo>
                      <a:pt x="870" y="2506"/>
                    </a:lnTo>
                    <a:lnTo>
                      <a:pt x="831" y="2507"/>
                    </a:lnTo>
                    <a:lnTo>
                      <a:pt x="249" y="2507"/>
                    </a:lnTo>
                    <a:lnTo>
                      <a:pt x="210" y="2506"/>
                    </a:lnTo>
                    <a:lnTo>
                      <a:pt x="176" y="2501"/>
                    </a:lnTo>
                    <a:lnTo>
                      <a:pt x="146" y="2495"/>
                    </a:lnTo>
                    <a:lnTo>
                      <a:pt x="118" y="2485"/>
                    </a:lnTo>
                    <a:lnTo>
                      <a:pt x="95" y="2474"/>
                    </a:lnTo>
                    <a:lnTo>
                      <a:pt x="75" y="2462"/>
                    </a:lnTo>
                    <a:lnTo>
                      <a:pt x="58" y="2447"/>
                    </a:lnTo>
                    <a:lnTo>
                      <a:pt x="44" y="2431"/>
                    </a:lnTo>
                    <a:lnTo>
                      <a:pt x="33" y="2414"/>
                    </a:lnTo>
                    <a:lnTo>
                      <a:pt x="23" y="2397"/>
                    </a:lnTo>
                    <a:lnTo>
                      <a:pt x="15" y="2379"/>
                    </a:lnTo>
                    <a:lnTo>
                      <a:pt x="10" y="2360"/>
                    </a:lnTo>
                    <a:lnTo>
                      <a:pt x="6" y="2342"/>
                    </a:lnTo>
                    <a:lnTo>
                      <a:pt x="3" y="2324"/>
                    </a:lnTo>
                    <a:lnTo>
                      <a:pt x="2" y="2307"/>
                    </a:lnTo>
                    <a:lnTo>
                      <a:pt x="1" y="2290"/>
                    </a:lnTo>
                    <a:lnTo>
                      <a:pt x="1" y="2275"/>
                    </a:lnTo>
                    <a:lnTo>
                      <a:pt x="0" y="2260"/>
                    </a:lnTo>
                    <a:lnTo>
                      <a:pt x="0" y="1085"/>
                    </a:lnTo>
                    <a:lnTo>
                      <a:pt x="1" y="1070"/>
                    </a:lnTo>
                    <a:lnTo>
                      <a:pt x="1" y="1053"/>
                    </a:lnTo>
                    <a:lnTo>
                      <a:pt x="2" y="1036"/>
                    </a:lnTo>
                    <a:lnTo>
                      <a:pt x="4" y="1017"/>
                    </a:lnTo>
                    <a:lnTo>
                      <a:pt x="7" y="998"/>
                    </a:lnTo>
                    <a:lnTo>
                      <a:pt x="11" y="978"/>
                    </a:lnTo>
                    <a:lnTo>
                      <a:pt x="18" y="959"/>
                    </a:lnTo>
                    <a:lnTo>
                      <a:pt x="26" y="939"/>
                    </a:lnTo>
                    <a:lnTo>
                      <a:pt x="38" y="921"/>
                    </a:lnTo>
                    <a:lnTo>
                      <a:pt x="52" y="904"/>
                    </a:lnTo>
                    <a:lnTo>
                      <a:pt x="68" y="888"/>
                    </a:lnTo>
                    <a:lnTo>
                      <a:pt x="88" y="873"/>
                    </a:lnTo>
                    <a:lnTo>
                      <a:pt x="112" y="861"/>
                    </a:lnTo>
                    <a:lnTo>
                      <a:pt x="139" y="851"/>
                    </a:lnTo>
                    <a:lnTo>
                      <a:pt x="172" y="843"/>
                    </a:lnTo>
                    <a:lnTo>
                      <a:pt x="172" y="801"/>
                    </a:lnTo>
                    <a:lnTo>
                      <a:pt x="175" y="764"/>
                    </a:lnTo>
                    <a:lnTo>
                      <a:pt x="183" y="727"/>
                    </a:lnTo>
                    <a:lnTo>
                      <a:pt x="195" y="694"/>
                    </a:lnTo>
                    <a:lnTo>
                      <a:pt x="212" y="662"/>
                    </a:lnTo>
                    <a:lnTo>
                      <a:pt x="233" y="633"/>
                    </a:lnTo>
                    <a:lnTo>
                      <a:pt x="258" y="608"/>
                    </a:lnTo>
                    <a:lnTo>
                      <a:pt x="39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76" name="Freeform 289"/>
              <p:cNvSpPr>
                <a:spLocks noEditPoints="1"/>
              </p:cNvSpPr>
              <p:nvPr/>
            </p:nvSpPr>
            <p:spPr bwMode="auto">
              <a:xfrm>
                <a:off x="9502888" y="7754708"/>
                <a:ext cx="95225" cy="229476"/>
              </a:xfrm>
              <a:custGeom>
                <a:avLst/>
                <a:gdLst>
                  <a:gd name="T0" fmla="*/ 333 w 917"/>
                  <a:gd name="T1" fmla="*/ 922 h 2208"/>
                  <a:gd name="T2" fmla="*/ 303 w 917"/>
                  <a:gd name="T3" fmla="*/ 1074 h 2208"/>
                  <a:gd name="T4" fmla="*/ 256 w 917"/>
                  <a:gd name="T5" fmla="*/ 1213 h 2208"/>
                  <a:gd name="T6" fmla="*/ 210 w 917"/>
                  <a:gd name="T7" fmla="*/ 1345 h 2208"/>
                  <a:gd name="T8" fmla="*/ 177 w 917"/>
                  <a:gd name="T9" fmla="*/ 1492 h 2208"/>
                  <a:gd name="T10" fmla="*/ 169 w 917"/>
                  <a:gd name="T11" fmla="*/ 1661 h 2208"/>
                  <a:gd name="T12" fmla="*/ 168 w 917"/>
                  <a:gd name="T13" fmla="*/ 1816 h 2208"/>
                  <a:gd name="T14" fmla="*/ 167 w 917"/>
                  <a:gd name="T15" fmla="*/ 1939 h 2208"/>
                  <a:gd name="T16" fmla="*/ 165 w 917"/>
                  <a:gd name="T17" fmla="*/ 2019 h 2208"/>
                  <a:gd name="T18" fmla="*/ 415 w 917"/>
                  <a:gd name="T19" fmla="*/ 2043 h 2208"/>
                  <a:gd name="T20" fmla="*/ 749 w 917"/>
                  <a:gd name="T21" fmla="*/ 2040 h 2208"/>
                  <a:gd name="T22" fmla="*/ 749 w 917"/>
                  <a:gd name="T23" fmla="*/ 2006 h 2208"/>
                  <a:gd name="T24" fmla="*/ 750 w 917"/>
                  <a:gd name="T25" fmla="*/ 1913 h 2208"/>
                  <a:gd name="T26" fmla="*/ 752 w 917"/>
                  <a:gd name="T27" fmla="*/ 1778 h 2208"/>
                  <a:gd name="T28" fmla="*/ 752 w 917"/>
                  <a:gd name="T29" fmla="*/ 1612 h 2208"/>
                  <a:gd name="T30" fmla="*/ 744 w 917"/>
                  <a:gd name="T31" fmla="*/ 1509 h 2208"/>
                  <a:gd name="T32" fmla="*/ 718 w 917"/>
                  <a:gd name="T33" fmla="*/ 1373 h 2208"/>
                  <a:gd name="T34" fmla="*/ 678 w 917"/>
                  <a:gd name="T35" fmla="*/ 1251 h 2208"/>
                  <a:gd name="T36" fmla="*/ 631 w 917"/>
                  <a:gd name="T37" fmla="*/ 1121 h 2208"/>
                  <a:gd name="T38" fmla="*/ 594 w 917"/>
                  <a:gd name="T39" fmla="*/ 975 h 2208"/>
                  <a:gd name="T40" fmla="*/ 587 w 917"/>
                  <a:gd name="T41" fmla="*/ 498 h 2208"/>
                  <a:gd name="T42" fmla="*/ 335 w 917"/>
                  <a:gd name="T43" fmla="*/ 333 h 2208"/>
                  <a:gd name="T44" fmla="*/ 335 w 917"/>
                  <a:gd name="T45" fmla="*/ 165 h 2208"/>
                  <a:gd name="T46" fmla="*/ 751 w 917"/>
                  <a:gd name="T47" fmla="*/ 498 h 2208"/>
                  <a:gd name="T48" fmla="*/ 751 w 917"/>
                  <a:gd name="T49" fmla="*/ 917 h 2208"/>
                  <a:gd name="T50" fmla="*/ 784 w 917"/>
                  <a:gd name="T51" fmla="*/ 1059 h 2208"/>
                  <a:gd name="T52" fmla="*/ 833 w 917"/>
                  <a:gd name="T53" fmla="*/ 1195 h 2208"/>
                  <a:gd name="T54" fmla="*/ 874 w 917"/>
                  <a:gd name="T55" fmla="*/ 1324 h 2208"/>
                  <a:gd name="T56" fmla="*/ 906 w 917"/>
                  <a:gd name="T57" fmla="*/ 1472 h 2208"/>
                  <a:gd name="T58" fmla="*/ 917 w 917"/>
                  <a:gd name="T59" fmla="*/ 1587 h 2208"/>
                  <a:gd name="T60" fmla="*/ 917 w 917"/>
                  <a:gd name="T61" fmla="*/ 1758 h 2208"/>
                  <a:gd name="T62" fmla="*/ 916 w 917"/>
                  <a:gd name="T63" fmla="*/ 1900 h 2208"/>
                  <a:gd name="T64" fmla="*/ 914 w 917"/>
                  <a:gd name="T65" fmla="*/ 2000 h 2208"/>
                  <a:gd name="T66" fmla="*/ 914 w 917"/>
                  <a:gd name="T67" fmla="*/ 2043 h 2208"/>
                  <a:gd name="T68" fmla="*/ 890 w 917"/>
                  <a:gd name="T69" fmla="*/ 2126 h 2208"/>
                  <a:gd name="T70" fmla="*/ 831 w 917"/>
                  <a:gd name="T71" fmla="*/ 2185 h 2208"/>
                  <a:gd name="T72" fmla="*/ 748 w 917"/>
                  <a:gd name="T73" fmla="*/ 2208 h 2208"/>
                  <a:gd name="T74" fmla="*/ 108 w 917"/>
                  <a:gd name="T75" fmla="*/ 2197 h 2208"/>
                  <a:gd name="T76" fmla="*/ 40 w 917"/>
                  <a:gd name="T77" fmla="*/ 2149 h 2208"/>
                  <a:gd name="T78" fmla="*/ 3 w 917"/>
                  <a:gd name="T79" fmla="*/ 2072 h 2208"/>
                  <a:gd name="T80" fmla="*/ 0 w 917"/>
                  <a:gd name="T81" fmla="*/ 2036 h 2208"/>
                  <a:gd name="T82" fmla="*/ 1 w 917"/>
                  <a:gd name="T83" fmla="*/ 1980 h 2208"/>
                  <a:gd name="T84" fmla="*/ 2 w 917"/>
                  <a:gd name="T85" fmla="*/ 1873 h 2208"/>
                  <a:gd name="T86" fmla="*/ 3 w 917"/>
                  <a:gd name="T87" fmla="*/ 1725 h 2208"/>
                  <a:gd name="T88" fmla="*/ 4 w 917"/>
                  <a:gd name="T89" fmla="*/ 1612 h 2208"/>
                  <a:gd name="T90" fmla="*/ 4 w 917"/>
                  <a:gd name="T91" fmla="*/ 1587 h 2208"/>
                  <a:gd name="T92" fmla="*/ 22 w 917"/>
                  <a:gd name="T93" fmla="*/ 1421 h 2208"/>
                  <a:gd name="T94" fmla="*/ 58 w 917"/>
                  <a:gd name="T95" fmla="*/ 1279 h 2208"/>
                  <a:gd name="T96" fmla="*/ 101 w 917"/>
                  <a:gd name="T97" fmla="*/ 1155 h 2208"/>
                  <a:gd name="T98" fmla="*/ 150 w 917"/>
                  <a:gd name="T99" fmla="*/ 1011 h 2208"/>
                  <a:gd name="T100" fmla="*/ 171 w 917"/>
                  <a:gd name="T101" fmla="*/ 867 h 2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7" h="2208">
                    <a:moveTo>
                      <a:pt x="335" y="498"/>
                    </a:moveTo>
                    <a:lnTo>
                      <a:pt x="335" y="867"/>
                    </a:lnTo>
                    <a:lnTo>
                      <a:pt x="333" y="922"/>
                    </a:lnTo>
                    <a:lnTo>
                      <a:pt x="326" y="975"/>
                    </a:lnTo>
                    <a:lnTo>
                      <a:pt x="316" y="1025"/>
                    </a:lnTo>
                    <a:lnTo>
                      <a:pt x="303" y="1074"/>
                    </a:lnTo>
                    <a:lnTo>
                      <a:pt x="289" y="1121"/>
                    </a:lnTo>
                    <a:lnTo>
                      <a:pt x="273" y="1167"/>
                    </a:lnTo>
                    <a:lnTo>
                      <a:pt x="256" y="1213"/>
                    </a:lnTo>
                    <a:lnTo>
                      <a:pt x="240" y="1256"/>
                    </a:lnTo>
                    <a:lnTo>
                      <a:pt x="224" y="1299"/>
                    </a:lnTo>
                    <a:lnTo>
                      <a:pt x="210" y="1345"/>
                    </a:lnTo>
                    <a:lnTo>
                      <a:pt x="197" y="1391"/>
                    </a:lnTo>
                    <a:lnTo>
                      <a:pt x="186" y="1440"/>
                    </a:lnTo>
                    <a:lnTo>
                      <a:pt x="177" y="1492"/>
                    </a:lnTo>
                    <a:lnTo>
                      <a:pt x="171" y="1546"/>
                    </a:lnTo>
                    <a:lnTo>
                      <a:pt x="169" y="1604"/>
                    </a:lnTo>
                    <a:lnTo>
                      <a:pt x="169" y="1661"/>
                    </a:lnTo>
                    <a:lnTo>
                      <a:pt x="169" y="1716"/>
                    </a:lnTo>
                    <a:lnTo>
                      <a:pt x="168" y="1767"/>
                    </a:lnTo>
                    <a:lnTo>
                      <a:pt x="168" y="1816"/>
                    </a:lnTo>
                    <a:lnTo>
                      <a:pt x="167" y="1861"/>
                    </a:lnTo>
                    <a:lnTo>
                      <a:pt x="167" y="1902"/>
                    </a:lnTo>
                    <a:lnTo>
                      <a:pt x="167" y="1939"/>
                    </a:lnTo>
                    <a:lnTo>
                      <a:pt x="166" y="1971"/>
                    </a:lnTo>
                    <a:lnTo>
                      <a:pt x="166" y="1998"/>
                    </a:lnTo>
                    <a:lnTo>
                      <a:pt x="165" y="2019"/>
                    </a:lnTo>
                    <a:lnTo>
                      <a:pt x="165" y="2034"/>
                    </a:lnTo>
                    <a:lnTo>
                      <a:pt x="165" y="2042"/>
                    </a:lnTo>
                    <a:lnTo>
                      <a:pt x="415" y="2043"/>
                    </a:lnTo>
                    <a:lnTo>
                      <a:pt x="748" y="2043"/>
                    </a:lnTo>
                    <a:lnTo>
                      <a:pt x="748" y="2042"/>
                    </a:lnTo>
                    <a:lnTo>
                      <a:pt x="749" y="2040"/>
                    </a:lnTo>
                    <a:lnTo>
                      <a:pt x="749" y="2036"/>
                    </a:lnTo>
                    <a:lnTo>
                      <a:pt x="749" y="2024"/>
                    </a:lnTo>
                    <a:lnTo>
                      <a:pt x="749" y="2006"/>
                    </a:lnTo>
                    <a:lnTo>
                      <a:pt x="750" y="1980"/>
                    </a:lnTo>
                    <a:lnTo>
                      <a:pt x="750" y="1950"/>
                    </a:lnTo>
                    <a:lnTo>
                      <a:pt x="750" y="1913"/>
                    </a:lnTo>
                    <a:lnTo>
                      <a:pt x="751" y="1873"/>
                    </a:lnTo>
                    <a:lnTo>
                      <a:pt x="751" y="1827"/>
                    </a:lnTo>
                    <a:lnTo>
                      <a:pt x="752" y="1778"/>
                    </a:lnTo>
                    <a:lnTo>
                      <a:pt x="752" y="1725"/>
                    </a:lnTo>
                    <a:lnTo>
                      <a:pt x="752" y="1670"/>
                    </a:lnTo>
                    <a:lnTo>
                      <a:pt x="752" y="1612"/>
                    </a:lnTo>
                    <a:lnTo>
                      <a:pt x="750" y="1612"/>
                    </a:lnTo>
                    <a:lnTo>
                      <a:pt x="749" y="1559"/>
                    </a:lnTo>
                    <a:lnTo>
                      <a:pt x="744" y="1509"/>
                    </a:lnTo>
                    <a:lnTo>
                      <a:pt x="738" y="1461"/>
                    </a:lnTo>
                    <a:lnTo>
                      <a:pt x="728" y="1416"/>
                    </a:lnTo>
                    <a:lnTo>
                      <a:pt x="718" y="1373"/>
                    </a:lnTo>
                    <a:lnTo>
                      <a:pt x="705" y="1332"/>
                    </a:lnTo>
                    <a:lnTo>
                      <a:pt x="692" y="1291"/>
                    </a:lnTo>
                    <a:lnTo>
                      <a:pt x="678" y="1251"/>
                    </a:lnTo>
                    <a:lnTo>
                      <a:pt x="663" y="1213"/>
                    </a:lnTo>
                    <a:lnTo>
                      <a:pt x="647" y="1167"/>
                    </a:lnTo>
                    <a:lnTo>
                      <a:pt x="631" y="1121"/>
                    </a:lnTo>
                    <a:lnTo>
                      <a:pt x="616" y="1074"/>
                    </a:lnTo>
                    <a:lnTo>
                      <a:pt x="604" y="1025"/>
                    </a:lnTo>
                    <a:lnTo>
                      <a:pt x="594" y="975"/>
                    </a:lnTo>
                    <a:lnTo>
                      <a:pt x="587" y="922"/>
                    </a:lnTo>
                    <a:lnTo>
                      <a:pt x="585" y="867"/>
                    </a:lnTo>
                    <a:lnTo>
                      <a:pt x="587" y="498"/>
                    </a:lnTo>
                    <a:lnTo>
                      <a:pt x="335" y="498"/>
                    </a:lnTo>
                    <a:close/>
                    <a:moveTo>
                      <a:pt x="335" y="165"/>
                    </a:moveTo>
                    <a:lnTo>
                      <a:pt x="335" y="333"/>
                    </a:lnTo>
                    <a:lnTo>
                      <a:pt x="587" y="333"/>
                    </a:lnTo>
                    <a:lnTo>
                      <a:pt x="587" y="165"/>
                    </a:lnTo>
                    <a:lnTo>
                      <a:pt x="335" y="165"/>
                    </a:lnTo>
                    <a:close/>
                    <a:moveTo>
                      <a:pt x="171" y="0"/>
                    </a:moveTo>
                    <a:lnTo>
                      <a:pt x="751" y="0"/>
                    </a:lnTo>
                    <a:lnTo>
                      <a:pt x="751" y="498"/>
                    </a:lnTo>
                    <a:lnTo>
                      <a:pt x="751" y="498"/>
                    </a:lnTo>
                    <a:lnTo>
                      <a:pt x="749" y="867"/>
                    </a:lnTo>
                    <a:lnTo>
                      <a:pt x="751" y="917"/>
                    </a:lnTo>
                    <a:lnTo>
                      <a:pt x="758" y="965"/>
                    </a:lnTo>
                    <a:lnTo>
                      <a:pt x="769" y="1012"/>
                    </a:lnTo>
                    <a:lnTo>
                      <a:pt x="784" y="1059"/>
                    </a:lnTo>
                    <a:lnTo>
                      <a:pt x="800" y="1107"/>
                    </a:lnTo>
                    <a:lnTo>
                      <a:pt x="818" y="1155"/>
                    </a:lnTo>
                    <a:lnTo>
                      <a:pt x="833" y="1195"/>
                    </a:lnTo>
                    <a:lnTo>
                      <a:pt x="847" y="1236"/>
                    </a:lnTo>
                    <a:lnTo>
                      <a:pt x="861" y="1279"/>
                    </a:lnTo>
                    <a:lnTo>
                      <a:pt x="874" y="1324"/>
                    </a:lnTo>
                    <a:lnTo>
                      <a:pt x="886" y="1371"/>
                    </a:lnTo>
                    <a:lnTo>
                      <a:pt x="898" y="1421"/>
                    </a:lnTo>
                    <a:lnTo>
                      <a:pt x="906" y="1472"/>
                    </a:lnTo>
                    <a:lnTo>
                      <a:pt x="912" y="1528"/>
                    </a:lnTo>
                    <a:lnTo>
                      <a:pt x="915" y="1587"/>
                    </a:lnTo>
                    <a:lnTo>
                      <a:pt x="917" y="1587"/>
                    </a:lnTo>
                    <a:lnTo>
                      <a:pt x="917" y="1646"/>
                    </a:lnTo>
                    <a:lnTo>
                      <a:pt x="917" y="1704"/>
                    </a:lnTo>
                    <a:lnTo>
                      <a:pt x="917" y="1758"/>
                    </a:lnTo>
                    <a:lnTo>
                      <a:pt x="916" y="1809"/>
                    </a:lnTo>
                    <a:lnTo>
                      <a:pt x="916" y="1857"/>
                    </a:lnTo>
                    <a:lnTo>
                      <a:pt x="916" y="1900"/>
                    </a:lnTo>
                    <a:lnTo>
                      <a:pt x="915" y="1939"/>
                    </a:lnTo>
                    <a:lnTo>
                      <a:pt x="915" y="1972"/>
                    </a:lnTo>
                    <a:lnTo>
                      <a:pt x="914" y="2000"/>
                    </a:lnTo>
                    <a:lnTo>
                      <a:pt x="914" y="2021"/>
                    </a:lnTo>
                    <a:lnTo>
                      <a:pt x="914" y="2036"/>
                    </a:lnTo>
                    <a:lnTo>
                      <a:pt x="914" y="2043"/>
                    </a:lnTo>
                    <a:lnTo>
                      <a:pt x="911" y="2073"/>
                    </a:lnTo>
                    <a:lnTo>
                      <a:pt x="903" y="2101"/>
                    </a:lnTo>
                    <a:lnTo>
                      <a:pt x="890" y="2126"/>
                    </a:lnTo>
                    <a:lnTo>
                      <a:pt x="874" y="2150"/>
                    </a:lnTo>
                    <a:lnTo>
                      <a:pt x="854" y="2169"/>
                    </a:lnTo>
                    <a:lnTo>
                      <a:pt x="831" y="2185"/>
                    </a:lnTo>
                    <a:lnTo>
                      <a:pt x="806" y="2197"/>
                    </a:lnTo>
                    <a:lnTo>
                      <a:pt x="777" y="2205"/>
                    </a:lnTo>
                    <a:lnTo>
                      <a:pt x="748" y="2208"/>
                    </a:lnTo>
                    <a:lnTo>
                      <a:pt x="166" y="2208"/>
                    </a:lnTo>
                    <a:lnTo>
                      <a:pt x="137" y="2205"/>
                    </a:lnTo>
                    <a:lnTo>
                      <a:pt x="108" y="2197"/>
                    </a:lnTo>
                    <a:lnTo>
                      <a:pt x="82" y="2185"/>
                    </a:lnTo>
                    <a:lnTo>
                      <a:pt x="59" y="2169"/>
                    </a:lnTo>
                    <a:lnTo>
                      <a:pt x="40" y="2149"/>
                    </a:lnTo>
                    <a:lnTo>
                      <a:pt x="23" y="2125"/>
                    </a:lnTo>
                    <a:lnTo>
                      <a:pt x="11" y="2100"/>
                    </a:lnTo>
                    <a:lnTo>
                      <a:pt x="3" y="2072"/>
                    </a:lnTo>
                    <a:lnTo>
                      <a:pt x="0" y="2042"/>
                    </a:lnTo>
                    <a:lnTo>
                      <a:pt x="0" y="2040"/>
                    </a:lnTo>
                    <a:lnTo>
                      <a:pt x="0" y="2036"/>
                    </a:lnTo>
                    <a:lnTo>
                      <a:pt x="0" y="2024"/>
                    </a:lnTo>
                    <a:lnTo>
                      <a:pt x="1" y="2006"/>
                    </a:lnTo>
                    <a:lnTo>
                      <a:pt x="1" y="1980"/>
                    </a:lnTo>
                    <a:lnTo>
                      <a:pt x="1" y="1950"/>
                    </a:lnTo>
                    <a:lnTo>
                      <a:pt x="2" y="1913"/>
                    </a:lnTo>
                    <a:lnTo>
                      <a:pt x="2" y="1873"/>
                    </a:lnTo>
                    <a:lnTo>
                      <a:pt x="3" y="1827"/>
                    </a:lnTo>
                    <a:lnTo>
                      <a:pt x="3" y="1778"/>
                    </a:lnTo>
                    <a:lnTo>
                      <a:pt x="3" y="1725"/>
                    </a:lnTo>
                    <a:lnTo>
                      <a:pt x="4" y="1670"/>
                    </a:lnTo>
                    <a:lnTo>
                      <a:pt x="4" y="1612"/>
                    </a:lnTo>
                    <a:lnTo>
                      <a:pt x="4" y="1612"/>
                    </a:lnTo>
                    <a:lnTo>
                      <a:pt x="4" y="1604"/>
                    </a:lnTo>
                    <a:lnTo>
                      <a:pt x="4" y="1587"/>
                    </a:lnTo>
                    <a:lnTo>
                      <a:pt x="4" y="1587"/>
                    </a:lnTo>
                    <a:lnTo>
                      <a:pt x="8" y="1528"/>
                    </a:lnTo>
                    <a:lnTo>
                      <a:pt x="14" y="1472"/>
                    </a:lnTo>
                    <a:lnTo>
                      <a:pt x="22" y="1421"/>
                    </a:lnTo>
                    <a:lnTo>
                      <a:pt x="33" y="1371"/>
                    </a:lnTo>
                    <a:lnTo>
                      <a:pt x="45" y="1324"/>
                    </a:lnTo>
                    <a:lnTo>
                      <a:pt x="58" y="1279"/>
                    </a:lnTo>
                    <a:lnTo>
                      <a:pt x="72" y="1236"/>
                    </a:lnTo>
                    <a:lnTo>
                      <a:pt x="87" y="1195"/>
                    </a:lnTo>
                    <a:lnTo>
                      <a:pt x="101" y="1155"/>
                    </a:lnTo>
                    <a:lnTo>
                      <a:pt x="120" y="1107"/>
                    </a:lnTo>
                    <a:lnTo>
                      <a:pt x="136" y="1059"/>
                    </a:lnTo>
                    <a:lnTo>
                      <a:pt x="150" y="1011"/>
                    </a:lnTo>
                    <a:lnTo>
                      <a:pt x="161" y="965"/>
                    </a:lnTo>
                    <a:lnTo>
                      <a:pt x="168" y="917"/>
                    </a:lnTo>
                    <a:lnTo>
                      <a:pt x="171" y="867"/>
                    </a:lnTo>
                    <a:lnTo>
                      <a:pt x="17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177" name="Gruppieren 176"/>
            <p:cNvGrpSpPr>
              <a:grpSpLocks noChangeAspect="1"/>
            </p:cNvGrpSpPr>
            <p:nvPr/>
          </p:nvGrpSpPr>
          <p:grpSpPr>
            <a:xfrm>
              <a:off x="6283457" y="4714245"/>
              <a:ext cx="451619" cy="453648"/>
              <a:chOff x="9312500" y="6860433"/>
              <a:chExt cx="346555" cy="348116"/>
            </a:xfrm>
          </p:grpSpPr>
          <p:sp>
            <p:nvSpPr>
              <p:cNvPr id="178" name="Rectangle 237"/>
              <p:cNvSpPr>
                <a:spLocks noChangeArrowheads="1"/>
              </p:cNvSpPr>
              <p:nvPr/>
            </p:nvSpPr>
            <p:spPr bwMode="auto">
              <a:xfrm>
                <a:off x="9312500" y="6860433"/>
                <a:ext cx="346555" cy="348116"/>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79" name="Rectangle 238"/>
              <p:cNvSpPr>
                <a:spLocks noChangeArrowheads="1"/>
              </p:cNvSpPr>
              <p:nvPr/>
            </p:nvSpPr>
            <p:spPr bwMode="auto">
              <a:xfrm>
                <a:off x="9312500" y="6860433"/>
                <a:ext cx="346555" cy="348116"/>
              </a:xfrm>
              <a:prstGeom prst="rect">
                <a:avLst/>
              </a:prstGeom>
              <a:solidFill>
                <a:srgbClr val="EF7B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80" name="Freeform 239"/>
              <p:cNvSpPr>
                <a:spLocks noEditPoints="1"/>
              </p:cNvSpPr>
              <p:nvPr/>
            </p:nvSpPr>
            <p:spPr bwMode="auto">
              <a:xfrm>
                <a:off x="9424896" y="6894776"/>
                <a:ext cx="121763" cy="279429"/>
              </a:xfrm>
              <a:custGeom>
                <a:avLst/>
                <a:gdLst>
                  <a:gd name="T0" fmla="*/ 778 w 1162"/>
                  <a:gd name="T1" fmla="*/ 1755 h 2677"/>
                  <a:gd name="T2" fmla="*/ 675 w 1162"/>
                  <a:gd name="T3" fmla="*/ 1894 h 2677"/>
                  <a:gd name="T4" fmla="*/ 785 w 1162"/>
                  <a:gd name="T5" fmla="*/ 2048 h 2677"/>
                  <a:gd name="T6" fmla="*/ 936 w 1162"/>
                  <a:gd name="T7" fmla="*/ 1964 h 2677"/>
                  <a:gd name="T8" fmla="*/ 998 w 1162"/>
                  <a:gd name="T9" fmla="*/ 1800 h 2677"/>
                  <a:gd name="T10" fmla="*/ 164 w 1162"/>
                  <a:gd name="T11" fmla="*/ 1800 h 2677"/>
                  <a:gd name="T12" fmla="*/ 226 w 1162"/>
                  <a:gd name="T13" fmla="*/ 1964 h 2677"/>
                  <a:gd name="T14" fmla="*/ 378 w 1162"/>
                  <a:gd name="T15" fmla="*/ 2048 h 2677"/>
                  <a:gd name="T16" fmla="*/ 488 w 1162"/>
                  <a:gd name="T17" fmla="*/ 1893 h 2677"/>
                  <a:gd name="T18" fmla="*/ 385 w 1162"/>
                  <a:gd name="T19" fmla="*/ 1755 h 2677"/>
                  <a:gd name="T20" fmla="*/ 914 w 1162"/>
                  <a:gd name="T21" fmla="*/ 1214 h 2677"/>
                  <a:gd name="T22" fmla="*/ 749 w 1162"/>
                  <a:gd name="T23" fmla="*/ 1276 h 2677"/>
                  <a:gd name="T24" fmla="*/ 667 w 1162"/>
                  <a:gd name="T25" fmla="*/ 1428 h 2677"/>
                  <a:gd name="T26" fmla="*/ 820 w 1162"/>
                  <a:gd name="T27" fmla="*/ 1539 h 2677"/>
                  <a:gd name="T28" fmla="*/ 957 w 1162"/>
                  <a:gd name="T29" fmla="*/ 1435 h 2677"/>
                  <a:gd name="T30" fmla="*/ 998 w 1162"/>
                  <a:gd name="T31" fmla="*/ 1214 h 2677"/>
                  <a:gd name="T32" fmla="*/ 175 w 1162"/>
                  <a:gd name="T33" fmla="*/ 1371 h 2677"/>
                  <a:gd name="T34" fmla="*/ 279 w 1162"/>
                  <a:gd name="T35" fmla="*/ 1509 h 2677"/>
                  <a:gd name="T36" fmla="*/ 499 w 1162"/>
                  <a:gd name="T37" fmla="*/ 1549 h 2677"/>
                  <a:gd name="T38" fmla="*/ 459 w 1162"/>
                  <a:gd name="T39" fmla="*/ 1328 h 2677"/>
                  <a:gd name="T40" fmla="*/ 321 w 1162"/>
                  <a:gd name="T41" fmla="*/ 1224 h 2677"/>
                  <a:gd name="T42" fmla="*/ 877 w 1162"/>
                  <a:gd name="T43" fmla="*/ 715 h 2677"/>
                  <a:gd name="T44" fmla="*/ 725 w 1162"/>
                  <a:gd name="T45" fmla="*/ 799 h 2677"/>
                  <a:gd name="T46" fmla="*/ 664 w 1162"/>
                  <a:gd name="T47" fmla="*/ 963 h 2677"/>
                  <a:gd name="T48" fmla="*/ 853 w 1162"/>
                  <a:gd name="T49" fmla="*/ 1025 h 2677"/>
                  <a:gd name="T50" fmla="*/ 975 w 1162"/>
                  <a:gd name="T51" fmla="*/ 903 h 2677"/>
                  <a:gd name="T52" fmla="*/ 914 w 1162"/>
                  <a:gd name="T53" fmla="*/ 712 h 2677"/>
                  <a:gd name="T54" fmla="*/ 175 w 1162"/>
                  <a:gd name="T55" fmla="*/ 869 h 2677"/>
                  <a:gd name="T56" fmla="*/ 279 w 1162"/>
                  <a:gd name="T57" fmla="*/ 1008 h 2677"/>
                  <a:gd name="T58" fmla="*/ 499 w 1162"/>
                  <a:gd name="T59" fmla="*/ 1049 h 2677"/>
                  <a:gd name="T60" fmla="*/ 459 w 1162"/>
                  <a:gd name="T61" fmla="*/ 827 h 2677"/>
                  <a:gd name="T62" fmla="*/ 321 w 1162"/>
                  <a:gd name="T63" fmla="*/ 723 h 2677"/>
                  <a:gd name="T64" fmla="*/ 498 w 1162"/>
                  <a:gd name="T65" fmla="*/ 321 h 2677"/>
                  <a:gd name="T66" fmla="*/ 450 w 1162"/>
                  <a:gd name="T67" fmla="*/ 488 h 2677"/>
                  <a:gd name="T68" fmla="*/ 522 w 1162"/>
                  <a:gd name="T69" fmla="*/ 649 h 2677"/>
                  <a:gd name="T70" fmla="*/ 699 w 1162"/>
                  <a:gd name="T71" fmla="*/ 557 h 2677"/>
                  <a:gd name="T72" fmla="*/ 699 w 1162"/>
                  <a:gd name="T73" fmla="*/ 385 h 2677"/>
                  <a:gd name="T74" fmla="*/ 581 w 1162"/>
                  <a:gd name="T75" fmla="*/ 0 h 2677"/>
                  <a:gd name="T76" fmla="*/ 854 w 1162"/>
                  <a:gd name="T77" fmla="*/ 330 h 2677"/>
                  <a:gd name="T78" fmla="*/ 872 w 1162"/>
                  <a:gd name="T79" fmla="*/ 549 h 2677"/>
                  <a:gd name="T80" fmla="*/ 1152 w 1162"/>
                  <a:gd name="T81" fmla="*/ 888 h 2677"/>
                  <a:gd name="T82" fmla="*/ 1162 w 1162"/>
                  <a:gd name="T83" fmla="*/ 1049 h 2677"/>
                  <a:gd name="T84" fmla="*/ 1124 w 1162"/>
                  <a:gd name="T85" fmla="*/ 1474 h 2677"/>
                  <a:gd name="T86" fmla="*/ 1160 w 1162"/>
                  <a:gd name="T87" fmla="*/ 1847 h 2677"/>
                  <a:gd name="T88" fmla="*/ 1071 w 1162"/>
                  <a:gd name="T89" fmla="*/ 2060 h 2677"/>
                  <a:gd name="T90" fmla="*/ 888 w 1162"/>
                  <a:gd name="T91" fmla="*/ 2192 h 2677"/>
                  <a:gd name="T92" fmla="*/ 664 w 1162"/>
                  <a:gd name="T93" fmla="*/ 2677 h 2677"/>
                  <a:gd name="T94" fmla="*/ 320 w 1162"/>
                  <a:gd name="T95" fmla="*/ 2205 h 2677"/>
                  <a:gd name="T96" fmla="*/ 122 w 1162"/>
                  <a:gd name="T97" fmla="*/ 2094 h 2677"/>
                  <a:gd name="T98" fmla="*/ 11 w 1162"/>
                  <a:gd name="T99" fmla="*/ 1895 h 2677"/>
                  <a:gd name="T100" fmla="*/ 60 w 1162"/>
                  <a:gd name="T101" fmla="*/ 1513 h 2677"/>
                  <a:gd name="T102" fmla="*/ 0 w 1162"/>
                  <a:gd name="T103" fmla="*/ 1298 h 2677"/>
                  <a:gd name="T104" fmla="*/ 23 w 1162"/>
                  <a:gd name="T105" fmla="*/ 932 h 2677"/>
                  <a:gd name="T106" fmla="*/ 249 w 1162"/>
                  <a:gd name="T107" fmla="*/ 547 h 2677"/>
                  <a:gd name="T108" fmla="*/ 295 w 1162"/>
                  <a:gd name="T109" fmla="*/ 374 h 2677"/>
                  <a:gd name="T110" fmla="*/ 405 w 1162"/>
                  <a:gd name="T111" fmla="*/ 176 h 2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62" h="2677">
                    <a:moveTo>
                      <a:pt x="914" y="1715"/>
                    </a:moveTo>
                    <a:lnTo>
                      <a:pt x="877" y="1718"/>
                    </a:lnTo>
                    <a:lnTo>
                      <a:pt x="842" y="1726"/>
                    </a:lnTo>
                    <a:lnTo>
                      <a:pt x="809" y="1738"/>
                    </a:lnTo>
                    <a:lnTo>
                      <a:pt x="778" y="1755"/>
                    </a:lnTo>
                    <a:lnTo>
                      <a:pt x="749" y="1776"/>
                    </a:lnTo>
                    <a:lnTo>
                      <a:pt x="725" y="1802"/>
                    </a:lnTo>
                    <a:lnTo>
                      <a:pt x="704" y="1829"/>
                    </a:lnTo>
                    <a:lnTo>
                      <a:pt x="687" y="1861"/>
                    </a:lnTo>
                    <a:lnTo>
                      <a:pt x="675" y="1894"/>
                    </a:lnTo>
                    <a:lnTo>
                      <a:pt x="667" y="1928"/>
                    </a:lnTo>
                    <a:lnTo>
                      <a:pt x="664" y="1966"/>
                    </a:lnTo>
                    <a:lnTo>
                      <a:pt x="664" y="2051"/>
                    </a:lnTo>
                    <a:lnTo>
                      <a:pt x="747" y="2051"/>
                    </a:lnTo>
                    <a:lnTo>
                      <a:pt x="785" y="2048"/>
                    </a:lnTo>
                    <a:lnTo>
                      <a:pt x="820" y="2040"/>
                    </a:lnTo>
                    <a:lnTo>
                      <a:pt x="853" y="2028"/>
                    </a:lnTo>
                    <a:lnTo>
                      <a:pt x="884" y="2011"/>
                    </a:lnTo>
                    <a:lnTo>
                      <a:pt x="912" y="1989"/>
                    </a:lnTo>
                    <a:lnTo>
                      <a:pt x="936" y="1964"/>
                    </a:lnTo>
                    <a:lnTo>
                      <a:pt x="957" y="1937"/>
                    </a:lnTo>
                    <a:lnTo>
                      <a:pt x="975" y="1905"/>
                    </a:lnTo>
                    <a:lnTo>
                      <a:pt x="988" y="1872"/>
                    </a:lnTo>
                    <a:lnTo>
                      <a:pt x="996" y="1836"/>
                    </a:lnTo>
                    <a:lnTo>
                      <a:pt x="998" y="1800"/>
                    </a:lnTo>
                    <a:lnTo>
                      <a:pt x="998" y="1715"/>
                    </a:lnTo>
                    <a:lnTo>
                      <a:pt x="914" y="1715"/>
                    </a:lnTo>
                    <a:close/>
                    <a:moveTo>
                      <a:pt x="249" y="1715"/>
                    </a:moveTo>
                    <a:lnTo>
                      <a:pt x="164" y="1715"/>
                    </a:lnTo>
                    <a:lnTo>
                      <a:pt x="164" y="1800"/>
                    </a:lnTo>
                    <a:lnTo>
                      <a:pt x="167" y="1836"/>
                    </a:lnTo>
                    <a:lnTo>
                      <a:pt x="175" y="1872"/>
                    </a:lnTo>
                    <a:lnTo>
                      <a:pt x="188" y="1905"/>
                    </a:lnTo>
                    <a:lnTo>
                      <a:pt x="205" y="1937"/>
                    </a:lnTo>
                    <a:lnTo>
                      <a:pt x="226" y="1964"/>
                    </a:lnTo>
                    <a:lnTo>
                      <a:pt x="251" y="1989"/>
                    </a:lnTo>
                    <a:lnTo>
                      <a:pt x="279" y="2011"/>
                    </a:lnTo>
                    <a:lnTo>
                      <a:pt x="310" y="2028"/>
                    </a:lnTo>
                    <a:lnTo>
                      <a:pt x="343" y="2040"/>
                    </a:lnTo>
                    <a:lnTo>
                      <a:pt x="378" y="2048"/>
                    </a:lnTo>
                    <a:lnTo>
                      <a:pt x="415" y="2051"/>
                    </a:lnTo>
                    <a:lnTo>
                      <a:pt x="499" y="2051"/>
                    </a:lnTo>
                    <a:lnTo>
                      <a:pt x="499" y="1966"/>
                    </a:lnTo>
                    <a:lnTo>
                      <a:pt x="496" y="1928"/>
                    </a:lnTo>
                    <a:lnTo>
                      <a:pt x="488" y="1893"/>
                    </a:lnTo>
                    <a:lnTo>
                      <a:pt x="476" y="1861"/>
                    </a:lnTo>
                    <a:lnTo>
                      <a:pt x="459" y="1829"/>
                    </a:lnTo>
                    <a:lnTo>
                      <a:pt x="438" y="1802"/>
                    </a:lnTo>
                    <a:lnTo>
                      <a:pt x="412" y="1776"/>
                    </a:lnTo>
                    <a:lnTo>
                      <a:pt x="385" y="1755"/>
                    </a:lnTo>
                    <a:lnTo>
                      <a:pt x="354" y="1738"/>
                    </a:lnTo>
                    <a:lnTo>
                      <a:pt x="321" y="1726"/>
                    </a:lnTo>
                    <a:lnTo>
                      <a:pt x="285" y="1718"/>
                    </a:lnTo>
                    <a:lnTo>
                      <a:pt x="249" y="1715"/>
                    </a:lnTo>
                    <a:close/>
                    <a:moveTo>
                      <a:pt x="914" y="1214"/>
                    </a:moveTo>
                    <a:lnTo>
                      <a:pt x="877" y="1217"/>
                    </a:lnTo>
                    <a:lnTo>
                      <a:pt x="842" y="1224"/>
                    </a:lnTo>
                    <a:lnTo>
                      <a:pt x="809" y="1237"/>
                    </a:lnTo>
                    <a:lnTo>
                      <a:pt x="778" y="1254"/>
                    </a:lnTo>
                    <a:lnTo>
                      <a:pt x="749" y="1276"/>
                    </a:lnTo>
                    <a:lnTo>
                      <a:pt x="725" y="1300"/>
                    </a:lnTo>
                    <a:lnTo>
                      <a:pt x="704" y="1328"/>
                    </a:lnTo>
                    <a:lnTo>
                      <a:pt x="687" y="1359"/>
                    </a:lnTo>
                    <a:lnTo>
                      <a:pt x="675" y="1392"/>
                    </a:lnTo>
                    <a:lnTo>
                      <a:pt x="667" y="1428"/>
                    </a:lnTo>
                    <a:lnTo>
                      <a:pt x="664" y="1465"/>
                    </a:lnTo>
                    <a:lnTo>
                      <a:pt x="664" y="1549"/>
                    </a:lnTo>
                    <a:lnTo>
                      <a:pt x="747" y="1549"/>
                    </a:lnTo>
                    <a:lnTo>
                      <a:pt x="785" y="1547"/>
                    </a:lnTo>
                    <a:lnTo>
                      <a:pt x="820" y="1539"/>
                    </a:lnTo>
                    <a:lnTo>
                      <a:pt x="853" y="1526"/>
                    </a:lnTo>
                    <a:lnTo>
                      <a:pt x="884" y="1509"/>
                    </a:lnTo>
                    <a:lnTo>
                      <a:pt x="912" y="1488"/>
                    </a:lnTo>
                    <a:lnTo>
                      <a:pt x="936" y="1463"/>
                    </a:lnTo>
                    <a:lnTo>
                      <a:pt x="957" y="1435"/>
                    </a:lnTo>
                    <a:lnTo>
                      <a:pt x="975" y="1404"/>
                    </a:lnTo>
                    <a:lnTo>
                      <a:pt x="988" y="1371"/>
                    </a:lnTo>
                    <a:lnTo>
                      <a:pt x="996" y="1334"/>
                    </a:lnTo>
                    <a:lnTo>
                      <a:pt x="998" y="1298"/>
                    </a:lnTo>
                    <a:lnTo>
                      <a:pt x="998" y="1214"/>
                    </a:lnTo>
                    <a:lnTo>
                      <a:pt x="914" y="1214"/>
                    </a:lnTo>
                    <a:close/>
                    <a:moveTo>
                      <a:pt x="164" y="1214"/>
                    </a:moveTo>
                    <a:lnTo>
                      <a:pt x="164" y="1298"/>
                    </a:lnTo>
                    <a:lnTo>
                      <a:pt x="167" y="1334"/>
                    </a:lnTo>
                    <a:lnTo>
                      <a:pt x="175" y="1371"/>
                    </a:lnTo>
                    <a:lnTo>
                      <a:pt x="188" y="1404"/>
                    </a:lnTo>
                    <a:lnTo>
                      <a:pt x="205" y="1435"/>
                    </a:lnTo>
                    <a:lnTo>
                      <a:pt x="226" y="1463"/>
                    </a:lnTo>
                    <a:lnTo>
                      <a:pt x="251" y="1488"/>
                    </a:lnTo>
                    <a:lnTo>
                      <a:pt x="279" y="1509"/>
                    </a:lnTo>
                    <a:lnTo>
                      <a:pt x="310" y="1526"/>
                    </a:lnTo>
                    <a:lnTo>
                      <a:pt x="343" y="1539"/>
                    </a:lnTo>
                    <a:lnTo>
                      <a:pt x="378" y="1547"/>
                    </a:lnTo>
                    <a:lnTo>
                      <a:pt x="415" y="1549"/>
                    </a:lnTo>
                    <a:lnTo>
                      <a:pt x="499" y="1549"/>
                    </a:lnTo>
                    <a:lnTo>
                      <a:pt x="499" y="1464"/>
                    </a:lnTo>
                    <a:lnTo>
                      <a:pt x="496" y="1428"/>
                    </a:lnTo>
                    <a:lnTo>
                      <a:pt x="488" y="1392"/>
                    </a:lnTo>
                    <a:lnTo>
                      <a:pt x="476" y="1359"/>
                    </a:lnTo>
                    <a:lnTo>
                      <a:pt x="459" y="1328"/>
                    </a:lnTo>
                    <a:lnTo>
                      <a:pt x="438" y="1300"/>
                    </a:lnTo>
                    <a:lnTo>
                      <a:pt x="412" y="1276"/>
                    </a:lnTo>
                    <a:lnTo>
                      <a:pt x="385" y="1254"/>
                    </a:lnTo>
                    <a:lnTo>
                      <a:pt x="354" y="1237"/>
                    </a:lnTo>
                    <a:lnTo>
                      <a:pt x="321" y="1224"/>
                    </a:lnTo>
                    <a:lnTo>
                      <a:pt x="285" y="1217"/>
                    </a:lnTo>
                    <a:lnTo>
                      <a:pt x="249" y="1214"/>
                    </a:lnTo>
                    <a:lnTo>
                      <a:pt x="164" y="1214"/>
                    </a:lnTo>
                    <a:close/>
                    <a:moveTo>
                      <a:pt x="914" y="712"/>
                    </a:moveTo>
                    <a:lnTo>
                      <a:pt x="877" y="715"/>
                    </a:lnTo>
                    <a:lnTo>
                      <a:pt x="842" y="723"/>
                    </a:lnTo>
                    <a:lnTo>
                      <a:pt x="809" y="735"/>
                    </a:lnTo>
                    <a:lnTo>
                      <a:pt x="778" y="753"/>
                    </a:lnTo>
                    <a:lnTo>
                      <a:pt x="749" y="774"/>
                    </a:lnTo>
                    <a:lnTo>
                      <a:pt x="725" y="799"/>
                    </a:lnTo>
                    <a:lnTo>
                      <a:pt x="704" y="827"/>
                    </a:lnTo>
                    <a:lnTo>
                      <a:pt x="687" y="858"/>
                    </a:lnTo>
                    <a:lnTo>
                      <a:pt x="675" y="892"/>
                    </a:lnTo>
                    <a:lnTo>
                      <a:pt x="667" y="927"/>
                    </a:lnTo>
                    <a:lnTo>
                      <a:pt x="664" y="963"/>
                    </a:lnTo>
                    <a:lnTo>
                      <a:pt x="664" y="1049"/>
                    </a:lnTo>
                    <a:lnTo>
                      <a:pt x="747" y="1049"/>
                    </a:lnTo>
                    <a:lnTo>
                      <a:pt x="785" y="1046"/>
                    </a:lnTo>
                    <a:lnTo>
                      <a:pt x="820" y="1037"/>
                    </a:lnTo>
                    <a:lnTo>
                      <a:pt x="853" y="1025"/>
                    </a:lnTo>
                    <a:lnTo>
                      <a:pt x="884" y="1008"/>
                    </a:lnTo>
                    <a:lnTo>
                      <a:pt x="912" y="987"/>
                    </a:lnTo>
                    <a:lnTo>
                      <a:pt x="936" y="961"/>
                    </a:lnTo>
                    <a:lnTo>
                      <a:pt x="957" y="934"/>
                    </a:lnTo>
                    <a:lnTo>
                      <a:pt x="975" y="903"/>
                    </a:lnTo>
                    <a:lnTo>
                      <a:pt x="988" y="869"/>
                    </a:lnTo>
                    <a:lnTo>
                      <a:pt x="996" y="834"/>
                    </a:lnTo>
                    <a:lnTo>
                      <a:pt x="998" y="797"/>
                    </a:lnTo>
                    <a:lnTo>
                      <a:pt x="998" y="712"/>
                    </a:lnTo>
                    <a:lnTo>
                      <a:pt x="914" y="712"/>
                    </a:lnTo>
                    <a:close/>
                    <a:moveTo>
                      <a:pt x="249" y="712"/>
                    </a:moveTo>
                    <a:lnTo>
                      <a:pt x="164" y="712"/>
                    </a:lnTo>
                    <a:lnTo>
                      <a:pt x="164" y="797"/>
                    </a:lnTo>
                    <a:lnTo>
                      <a:pt x="167" y="834"/>
                    </a:lnTo>
                    <a:lnTo>
                      <a:pt x="175" y="869"/>
                    </a:lnTo>
                    <a:lnTo>
                      <a:pt x="188" y="903"/>
                    </a:lnTo>
                    <a:lnTo>
                      <a:pt x="205" y="934"/>
                    </a:lnTo>
                    <a:lnTo>
                      <a:pt x="226" y="961"/>
                    </a:lnTo>
                    <a:lnTo>
                      <a:pt x="251" y="987"/>
                    </a:lnTo>
                    <a:lnTo>
                      <a:pt x="279" y="1008"/>
                    </a:lnTo>
                    <a:lnTo>
                      <a:pt x="310" y="1025"/>
                    </a:lnTo>
                    <a:lnTo>
                      <a:pt x="343" y="1037"/>
                    </a:lnTo>
                    <a:lnTo>
                      <a:pt x="378" y="1046"/>
                    </a:lnTo>
                    <a:lnTo>
                      <a:pt x="415" y="1049"/>
                    </a:lnTo>
                    <a:lnTo>
                      <a:pt x="499" y="1049"/>
                    </a:lnTo>
                    <a:lnTo>
                      <a:pt x="499" y="963"/>
                    </a:lnTo>
                    <a:lnTo>
                      <a:pt x="496" y="926"/>
                    </a:lnTo>
                    <a:lnTo>
                      <a:pt x="488" y="891"/>
                    </a:lnTo>
                    <a:lnTo>
                      <a:pt x="476" y="858"/>
                    </a:lnTo>
                    <a:lnTo>
                      <a:pt x="459" y="827"/>
                    </a:lnTo>
                    <a:lnTo>
                      <a:pt x="438" y="799"/>
                    </a:lnTo>
                    <a:lnTo>
                      <a:pt x="412" y="774"/>
                    </a:lnTo>
                    <a:lnTo>
                      <a:pt x="385" y="753"/>
                    </a:lnTo>
                    <a:lnTo>
                      <a:pt x="354" y="735"/>
                    </a:lnTo>
                    <a:lnTo>
                      <a:pt x="321" y="723"/>
                    </a:lnTo>
                    <a:lnTo>
                      <a:pt x="285" y="715"/>
                    </a:lnTo>
                    <a:lnTo>
                      <a:pt x="249" y="712"/>
                    </a:lnTo>
                    <a:close/>
                    <a:moveTo>
                      <a:pt x="581" y="234"/>
                    </a:moveTo>
                    <a:lnTo>
                      <a:pt x="522" y="293"/>
                    </a:lnTo>
                    <a:lnTo>
                      <a:pt x="498" y="321"/>
                    </a:lnTo>
                    <a:lnTo>
                      <a:pt x="478" y="352"/>
                    </a:lnTo>
                    <a:lnTo>
                      <a:pt x="464" y="385"/>
                    </a:lnTo>
                    <a:lnTo>
                      <a:pt x="454" y="418"/>
                    </a:lnTo>
                    <a:lnTo>
                      <a:pt x="450" y="454"/>
                    </a:lnTo>
                    <a:lnTo>
                      <a:pt x="450" y="488"/>
                    </a:lnTo>
                    <a:lnTo>
                      <a:pt x="454" y="524"/>
                    </a:lnTo>
                    <a:lnTo>
                      <a:pt x="464" y="557"/>
                    </a:lnTo>
                    <a:lnTo>
                      <a:pt x="478" y="589"/>
                    </a:lnTo>
                    <a:lnTo>
                      <a:pt x="498" y="621"/>
                    </a:lnTo>
                    <a:lnTo>
                      <a:pt x="522" y="649"/>
                    </a:lnTo>
                    <a:lnTo>
                      <a:pt x="581" y="708"/>
                    </a:lnTo>
                    <a:lnTo>
                      <a:pt x="641" y="649"/>
                    </a:lnTo>
                    <a:lnTo>
                      <a:pt x="665" y="621"/>
                    </a:lnTo>
                    <a:lnTo>
                      <a:pt x="685" y="589"/>
                    </a:lnTo>
                    <a:lnTo>
                      <a:pt x="699" y="557"/>
                    </a:lnTo>
                    <a:lnTo>
                      <a:pt x="709" y="524"/>
                    </a:lnTo>
                    <a:lnTo>
                      <a:pt x="713" y="488"/>
                    </a:lnTo>
                    <a:lnTo>
                      <a:pt x="713" y="454"/>
                    </a:lnTo>
                    <a:lnTo>
                      <a:pt x="709" y="418"/>
                    </a:lnTo>
                    <a:lnTo>
                      <a:pt x="699" y="385"/>
                    </a:lnTo>
                    <a:lnTo>
                      <a:pt x="685" y="352"/>
                    </a:lnTo>
                    <a:lnTo>
                      <a:pt x="665" y="321"/>
                    </a:lnTo>
                    <a:lnTo>
                      <a:pt x="641" y="293"/>
                    </a:lnTo>
                    <a:lnTo>
                      <a:pt x="581" y="234"/>
                    </a:lnTo>
                    <a:close/>
                    <a:moveTo>
                      <a:pt x="581" y="0"/>
                    </a:moveTo>
                    <a:lnTo>
                      <a:pt x="758" y="176"/>
                    </a:lnTo>
                    <a:lnTo>
                      <a:pt x="789" y="211"/>
                    </a:lnTo>
                    <a:lnTo>
                      <a:pt x="815" y="249"/>
                    </a:lnTo>
                    <a:lnTo>
                      <a:pt x="837" y="288"/>
                    </a:lnTo>
                    <a:lnTo>
                      <a:pt x="854" y="330"/>
                    </a:lnTo>
                    <a:lnTo>
                      <a:pt x="867" y="374"/>
                    </a:lnTo>
                    <a:lnTo>
                      <a:pt x="875" y="417"/>
                    </a:lnTo>
                    <a:lnTo>
                      <a:pt x="879" y="461"/>
                    </a:lnTo>
                    <a:lnTo>
                      <a:pt x="877" y="505"/>
                    </a:lnTo>
                    <a:lnTo>
                      <a:pt x="872" y="549"/>
                    </a:lnTo>
                    <a:lnTo>
                      <a:pt x="914" y="547"/>
                    </a:lnTo>
                    <a:lnTo>
                      <a:pt x="1162" y="547"/>
                    </a:lnTo>
                    <a:lnTo>
                      <a:pt x="1162" y="797"/>
                    </a:lnTo>
                    <a:lnTo>
                      <a:pt x="1160" y="844"/>
                    </a:lnTo>
                    <a:lnTo>
                      <a:pt x="1152" y="888"/>
                    </a:lnTo>
                    <a:lnTo>
                      <a:pt x="1140" y="932"/>
                    </a:lnTo>
                    <a:lnTo>
                      <a:pt x="1124" y="973"/>
                    </a:lnTo>
                    <a:lnTo>
                      <a:pt x="1103" y="1012"/>
                    </a:lnTo>
                    <a:lnTo>
                      <a:pt x="1078" y="1049"/>
                    </a:lnTo>
                    <a:lnTo>
                      <a:pt x="1162" y="1049"/>
                    </a:lnTo>
                    <a:lnTo>
                      <a:pt x="1162" y="1298"/>
                    </a:lnTo>
                    <a:lnTo>
                      <a:pt x="1160" y="1345"/>
                    </a:lnTo>
                    <a:lnTo>
                      <a:pt x="1152" y="1389"/>
                    </a:lnTo>
                    <a:lnTo>
                      <a:pt x="1140" y="1433"/>
                    </a:lnTo>
                    <a:lnTo>
                      <a:pt x="1124" y="1474"/>
                    </a:lnTo>
                    <a:lnTo>
                      <a:pt x="1103" y="1513"/>
                    </a:lnTo>
                    <a:lnTo>
                      <a:pt x="1078" y="1549"/>
                    </a:lnTo>
                    <a:lnTo>
                      <a:pt x="1162" y="1549"/>
                    </a:lnTo>
                    <a:lnTo>
                      <a:pt x="1162" y="1800"/>
                    </a:lnTo>
                    <a:lnTo>
                      <a:pt x="1160" y="1847"/>
                    </a:lnTo>
                    <a:lnTo>
                      <a:pt x="1152" y="1895"/>
                    </a:lnTo>
                    <a:lnTo>
                      <a:pt x="1138" y="1940"/>
                    </a:lnTo>
                    <a:lnTo>
                      <a:pt x="1121" y="1982"/>
                    </a:lnTo>
                    <a:lnTo>
                      <a:pt x="1098" y="2023"/>
                    </a:lnTo>
                    <a:lnTo>
                      <a:pt x="1071" y="2060"/>
                    </a:lnTo>
                    <a:lnTo>
                      <a:pt x="1041" y="2094"/>
                    </a:lnTo>
                    <a:lnTo>
                      <a:pt x="1007" y="2124"/>
                    </a:lnTo>
                    <a:lnTo>
                      <a:pt x="970" y="2151"/>
                    </a:lnTo>
                    <a:lnTo>
                      <a:pt x="930" y="2174"/>
                    </a:lnTo>
                    <a:lnTo>
                      <a:pt x="888" y="2192"/>
                    </a:lnTo>
                    <a:lnTo>
                      <a:pt x="842" y="2205"/>
                    </a:lnTo>
                    <a:lnTo>
                      <a:pt x="796" y="2213"/>
                    </a:lnTo>
                    <a:lnTo>
                      <a:pt x="747" y="2216"/>
                    </a:lnTo>
                    <a:lnTo>
                      <a:pt x="664" y="2216"/>
                    </a:lnTo>
                    <a:lnTo>
                      <a:pt x="664" y="2677"/>
                    </a:lnTo>
                    <a:lnTo>
                      <a:pt x="499" y="2677"/>
                    </a:lnTo>
                    <a:lnTo>
                      <a:pt x="499" y="2216"/>
                    </a:lnTo>
                    <a:lnTo>
                      <a:pt x="415" y="2216"/>
                    </a:lnTo>
                    <a:lnTo>
                      <a:pt x="367" y="2213"/>
                    </a:lnTo>
                    <a:lnTo>
                      <a:pt x="320" y="2205"/>
                    </a:lnTo>
                    <a:lnTo>
                      <a:pt x="275" y="2192"/>
                    </a:lnTo>
                    <a:lnTo>
                      <a:pt x="233" y="2174"/>
                    </a:lnTo>
                    <a:lnTo>
                      <a:pt x="192" y="2151"/>
                    </a:lnTo>
                    <a:lnTo>
                      <a:pt x="156" y="2124"/>
                    </a:lnTo>
                    <a:lnTo>
                      <a:pt x="122" y="2094"/>
                    </a:lnTo>
                    <a:lnTo>
                      <a:pt x="92" y="2060"/>
                    </a:lnTo>
                    <a:lnTo>
                      <a:pt x="65" y="2023"/>
                    </a:lnTo>
                    <a:lnTo>
                      <a:pt x="42" y="1982"/>
                    </a:lnTo>
                    <a:lnTo>
                      <a:pt x="24" y="1940"/>
                    </a:lnTo>
                    <a:lnTo>
                      <a:pt x="11" y="1895"/>
                    </a:lnTo>
                    <a:lnTo>
                      <a:pt x="3" y="1847"/>
                    </a:lnTo>
                    <a:lnTo>
                      <a:pt x="0" y="1800"/>
                    </a:lnTo>
                    <a:lnTo>
                      <a:pt x="0" y="1549"/>
                    </a:lnTo>
                    <a:lnTo>
                      <a:pt x="85" y="1549"/>
                    </a:lnTo>
                    <a:lnTo>
                      <a:pt x="60" y="1513"/>
                    </a:lnTo>
                    <a:lnTo>
                      <a:pt x="39" y="1474"/>
                    </a:lnTo>
                    <a:lnTo>
                      <a:pt x="23" y="1433"/>
                    </a:lnTo>
                    <a:lnTo>
                      <a:pt x="10" y="1389"/>
                    </a:lnTo>
                    <a:lnTo>
                      <a:pt x="3" y="1345"/>
                    </a:lnTo>
                    <a:lnTo>
                      <a:pt x="0" y="1298"/>
                    </a:lnTo>
                    <a:lnTo>
                      <a:pt x="0" y="1049"/>
                    </a:lnTo>
                    <a:lnTo>
                      <a:pt x="85" y="1049"/>
                    </a:lnTo>
                    <a:lnTo>
                      <a:pt x="60" y="1012"/>
                    </a:lnTo>
                    <a:lnTo>
                      <a:pt x="39" y="973"/>
                    </a:lnTo>
                    <a:lnTo>
                      <a:pt x="23" y="932"/>
                    </a:lnTo>
                    <a:lnTo>
                      <a:pt x="10" y="888"/>
                    </a:lnTo>
                    <a:lnTo>
                      <a:pt x="3" y="844"/>
                    </a:lnTo>
                    <a:lnTo>
                      <a:pt x="0" y="797"/>
                    </a:lnTo>
                    <a:lnTo>
                      <a:pt x="0" y="547"/>
                    </a:lnTo>
                    <a:lnTo>
                      <a:pt x="249" y="547"/>
                    </a:lnTo>
                    <a:lnTo>
                      <a:pt x="291" y="549"/>
                    </a:lnTo>
                    <a:lnTo>
                      <a:pt x="285" y="505"/>
                    </a:lnTo>
                    <a:lnTo>
                      <a:pt x="284" y="461"/>
                    </a:lnTo>
                    <a:lnTo>
                      <a:pt x="287" y="417"/>
                    </a:lnTo>
                    <a:lnTo>
                      <a:pt x="295" y="374"/>
                    </a:lnTo>
                    <a:lnTo>
                      <a:pt x="309" y="330"/>
                    </a:lnTo>
                    <a:lnTo>
                      <a:pt x="326" y="288"/>
                    </a:lnTo>
                    <a:lnTo>
                      <a:pt x="348" y="249"/>
                    </a:lnTo>
                    <a:lnTo>
                      <a:pt x="374" y="211"/>
                    </a:lnTo>
                    <a:lnTo>
                      <a:pt x="405" y="176"/>
                    </a:lnTo>
                    <a:lnTo>
                      <a:pt x="58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pic>
          <p:nvPicPr>
            <p:cNvPr id="181"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610919" y="4997032"/>
              <a:ext cx="453648" cy="453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82" name="Group 126"/>
            <p:cNvGrpSpPr>
              <a:grpSpLocks noChangeAspect="1"/>
            </p:cNvGrpSpPr>
            <p:nvPr/>
          </p:nvGrpSpPr>
          <p:grpSpPr bwMode="auto">
            <a:xfrm>
              <a:off x="7379516" y="4714245"/>
              <a:ext cx="451606" cy="453648"/>
              <a:chOff x="3969" y="3502"/>
              <a:chExt cx="222" cy="223"/>
            </a:xfrm>
          </p:grpSpPr>
          <p:sp>
            <p:nvSpPr>
              <p:cNvPr id="183" name="Rectangle 127"/>
              <p:cNvSpPr>
                <a:spLocks noChangeArrowheads="1"/>
              </p:cNvSpPr>
              <p:nvPr/>
            </p:nvSpPr>
            <p:spPr bwMode="auto">
              <a:xfrm>
                <a:off x="3969" y="3502"/>
                <a:ext cx="222" cy="223"/>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84" name="Rectangle 128"/>
              <p:cNvSpPr>
                <a:spLocks noChangeArrowheads="1"/>
              </p:cNvSpPr>
              <p:nvPr/>
            </p:nvSpPr>
            <p:spPr bwMode="auto">
              <a:xfrm>
                <a:off x="3969" y="3502"/>
                <a:ext cx="222" cy="223"/>
              </a:xfrm>
              <a:prstGeom prst="rect">
                <a:avLst/>
              </a:prstGeom>
              <a:solidFill>
                <a:srgbClr val="265A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85" name="Freeform 129"/>
              <p:cNvSpPr>
                <a:spLocks noEditPoints="1"/>
              </p:cNvSpPr>
              <p:nvPr/>
            </p:nvSpPr>
            <p:spPr bwMode="auto">
              <a:xfrm>
                <a:off x="3997" y="3575"/>
                <a:ext cx="162" cy="78"/>
              </a:xfrm>
              <a:custGeom>
                <a:avLst/>
                <a:gdLst>
                  <a:gd name="T0" fmla="*/ 1669 w 2430"/>
                  <a:gd name="T1" fmla="*/ 366 h 1168"/>
                  <a:gd name="T2" fmla="*/ 1623 w 2430"/>
                  <a:gd name="T3" fmla="*/ 559 h 1168"/>
                  <a:gd name="T4" fmla="*/ 1651 w 2430"/>
                  <a:gd name="T5" fmla="*/ 755 h 1168"/>
                  <a:gd name="T6" fmla="*/ 1752 w 2430"/>
                  <a:gd name="T7" fmla="*/ 931 h 1168"/>
                  <a:gd name="T8" fmla="*/ 1969 w 2430"/>
                  <a:gd name="T9" fmla="*/ 817 h 1168"/>
                  <a:gd name="T10" fmla="*/ 2128 w 2430"/>
                  <a:gd name="T11" fmla="*/ 689 h 1168"/>
                  <a:gd name="T12" fmla="*/ 2227 w 2430"/>
                  <a:gd name="T13" fmla="*/ 584 h 1168"/>
                  <a:gd name="T14" fmla="*/ 2128 w 2430"/>
                  <a:gd name="T15" fmla="*/ 479 h 1168"/>
                  <a:gd name="T16" fmla="*/ 1969 w 2430"/>
                  <a:gd name="T17" fmla="*/ 351 h 1168"/>
                  <a:gd name="T18" fmla="*/ 1751 w 2430"/>
                  <a:gd name="T19" fmla="*/ 236 h 1168"/>
                  <a:gd name="T20" fmla="*/ 1166 w 2430"/>
                  <a:gd name="T21" fmla="*/ 185 h 1168"/>
                  <a:gd name="T22" fmla="*/ 931 w 2430"/>
                  <a:gd name="T23" fmla="*/ 263 h 1168"/>
                  <a:gd name="T24" fmla="*/ 744 w 2430"/>
                  <a:gd name="T25" fmla="*/ 374 h 1168"/>
                  <a:gd name="T26" fmla="*/ 606 w 2430"/>
                  <a:gd name="T27" fmla="*/ 490 h 1168"/>
                  <a:gd name="T28" fmla="*/ 518 w 2430"/>
                  <a:gd name="T29" fmla="*/ 585 h 1168"/>
                  <a:gd name="T30" fmla="*/ 606 w 2430"/>
                  <a:gd name="T31" fmla="*/ 679 h 1168"/>
                  <a:gd name="T32" fmla="*/ 743 w 2430"/>
                  <a:gd name="T33" fmla="*/ 794 h 1168"/>
                  <a:gd name="T34" fmla="*/ 930 w 2430"/>
                  <a:gd name="T35" fmla="*/ 905 h 1168"/>
                  <a:gd name="T36" fmla="*/ 1165 w 2430"/>
                  <a:gd name="T37" fmla="*/ 983 h 1168"/>
                  <a:gd name="T38" fmla="*/ 1428 w 2430"/>
                  <a:gd name="T39" fmla="*/ 1002 h 1168"/>
                  <a:gd name="T40" fmla="*/ 1550 w 2430"/>
                  <a:gd name="T41" fmla="*/ 929 h 1168"/>
                  <a:gd name="T42" fmla="*/ 1468 w 2430"/>
                  <a:gd name="T43" fmla="*/ 702 h 1168"/>
                  <a:gd name="T44" fmla="*/ 1468 w 2430"/>
                  <a:gd name="T45" fmla="*/ 464 h 1168"/>
                  <a:gd name="T46" fmla="*/ 1549 w 2430"/>
                  <a:gd name="T47" fmla="*/ 238 h 1168"/>
                  <a:gd name="T48" fmla="*/ 1373 w 2430"/>
                  <a:gd name="T49" fmla="*/ 165 h 1168"/>
                  <a:gd name="T50" fmla="*/ 1597 w 2430"/>
                  <a:gd name="T51" fmla="*/ 20 h 1168"/>
                  <a:gd name="T52" fmla="*/ 1854 w 2430"/>
                  <a:gd name="T53" fmla="*/ 99 h 1168"/>
                  <a:gd name="T54" fmla="*/ 2062 w 2430"/>
                  <a:gd name="T55" fmla="*/ 214 h 1168"/>
                  <a:gd name="T56" fmla="*/ 2222 w 2430"/>
                  <a:gd name="T57" fmla="*/ 339 h 1168"/>
                  <a:gd name="T58" fmla="*/ 2331 w 2430"/>
                  <a:gd name="T59" fmla="*/ 451 h 1168"/>
                  <a:gd name="T60" fmla="*/ 2389 w 2430"/>
                  <a:gd name="T61" fmla="*/ 524 h 1168"/>
                  <a:gd name="T62" fmla="*/ 2399 w 2430"/>
                  <a:gd name="T63" fmla="*/ 630 h 1168"/>
                  <a:gd name="T64" fmla="*/ 2366 w 2430"/>
                  <a:gd name="T65" fmla="*/ 675 h 1168"/>
                  <a:gd name="T66" fmla="*/ 2282 w 2430"/>
                  <a:gd name="T67" fmla="*/ 770 h 1168"/>
                  <a:gd name="T68" fmla="*/ 2148 w 2430"/>
                  <a:gd name="T69" fmla="*/ 892 h 1168"/>
                  <a:gd name="T70" fmla="*/ 1964 w 2430"/>
                  <a:gd name="T71" fmla="*/ 1015 h 1168"/>
                  <a:gd name="T72" fmla="*/ 1731 w 2430"/>
                  <a:gd name="T73" fmla="*/ 1115 h 1168"/>
                  <a:gd name="T74" fmla="*/ 1451 w 2430"/>
                  <a:gd name="T75" fmla="*/ 1166 h 1168"/>
                  <a:gd name="T76" fmla="*/ 1155 w 2430"/>
                  <a:gd name="T77" fmla="*/ 1149 h 1168"/>
                  <a:gd name="T78" fmla="*/ 905 w 2430"/>
                  <a:gd name="T79" fmla="*/ 1075 h 1168"/>
                  <a:gd name="T80" fmla="*/ 700 w 2430"/>
                  <a:gd name="T81" fmla="*/ 967 h 1168"/>
                  <a:gd name="T82" fmla="*/ 542 w 2430"/>
                  <a:gd name="T83" fmla="*/ 845 h 1168"/>
                  <a:gd name="T84" fmla="*/ 430 w 2430"/>
                  <a:gd name="T85" fmla="*/ 734 h 1168"/>
                  <a:gd name="T86" fmla="*/ 341 w 2430"/>
                  <a:gd name="T87" fmla="*/ 679 h 1168"/>
                  <a:gd name="T88" fmla="*/ 226 w 2430"/>
                  <a:gd name="T89" fmla="*/ 755 h 1168"/>
                  <a:gd name="T90" fmla="*/ 167 w 2430"/>
                  <a:gd name="T91" fmla="*/ 882 h 1168"/>
                  <a:gd name="T92" fmla="*/ 12 w 2430"/>
                  <a:gd name="T93" fmla="*/ 820 h 1168"/>
                  <a:gd name="T94" fmla="*/ 98 w 2430"/>
                  <a:gd name="T95" fmla="*/ 649 h 1168"/>
                  <a:gd name="T96" fmla="*/ 98 w 2430"/>
                  <a:gd name="T97" fmla="*/ 519 h 1168"/>
                  <a:gd name="T98" fmla="*/ 12 w 2430"/>
                  <a:gd name="T99" fmla="*/ 348 h 1168"/>
                  <a:gd name="T100" fmla="*/ 167 w 2430"/>
                  <a:gd name="T101" fmla="*/ 287 h 1168"/>
                  <a:gd name="T102" fmla="*/ 226 w 2430"/>
                  <a:gd name="T103" fmla="*/ 413 h 1168"/>
                  <a:gd name="T104" fmla="*/ 341 w 2430"/>
                  <a:gd name="T105" fmla="*/ 489 h 1168"/>
                  <a:gd name="T106" fmla="*/ 430 w 2430"/>
                  <a:gd name="T107" fmla="*/ 435 h 1168"/>
                  <a:gd name="T108" fmla="*/ 542 w 2430"/>
                  <a:gd name="T109" fmla="*/ 323 h 1168"/>
                  <a:gd name="T110" fmla="*/ 700 w 2430"/>
                  <a:gd name="T111" fmla="*/ 201 h 1168"/>
                  <a:gd name="T112" fmla="*/ 905 w 2430"/>
                  <a:gd name="T113" fmla="*/ 93 h 1168"/>
                  <a:gd name="T114" fmla="*/ 1155 w 2430"/>
                  <a:gd name="T115" fmla="*/ 19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30" h="1168">
                    <a:moveTo>
                      <a:pt x="1751" y="236"/>
                    </a:moveTo>
                    <a:lnTo>
                      <a:pt x="1719" y="277"/>
                    </a:lnTo>
                    <a:lnTo>
                      <a:pt x="1691" y="321"/>
                    </a:lnTo>
                    <a:lnTo>
                      <a:pt x="1669" y="366"/>
                    </a:lnTo>
                    <a:lnTo>
                      <a:pt x="1651" y="412"/>
                    </a:lnTo>
                    <a:lnTo>
                      <a:pt x="1636" y="461"/>
                    </a:lnTo>
                    <a:lnTo>
                      <a:pt x="1627" y="510"/>
                    </a:lnTo>
                    <a:lnTo>
                      <a:pt x="1623" y="559"/>
                    </a:lnTo>
                    <a:lnTo>
                      <a:pt x="1623" y="609"/>
                    </a:lnTo>
                    <a:lnTo>
                      <a:pt x="1627" y="659"/>
                    </a:lnTo>
                    <a:lnTo>
                      <a:pt x="1638" y="707"/>
                    </a:lnTo>
                    <a:lnTo>
                      <a:pt x="1651" y="755"/>
                    </a:lnTo>
                    <a:lnTo>
                      <a:pt x="1669" y="801"/>
                    </a:lnTo>
                    <a:lnTo>
                      <a:pt x="1692" y="847"/>
                    </a:lnTo>
                    <a:lnTo>
                      <a:pt x="1719" y="891"/>
                    </a:lnTo>
                    <a:lnTo>
                      <a:pt x="1752" y="931"/>
                    </a:lnTo>
                    <a:lnTo>
                      <a:pt x="1811" y="906"/>
                    </a:lnTo>
                    <a:lnTo>
                      <a:pt x="1868" y="877"/>
                    </a:lnTo>
                    <a:lnTo>
                      <a:pt x="1920" y="847"/>
                    </a:lnTo>
                    <a:lnTo>
                      <a:pt x="1969" y="817"/>
                    </a:lnTo>
                    <a:lnTo>
                      <a:pt x="2015" y="784"/>
                    </a:lnTo>
                    <a:lnTo>
                      <a:pt x="2056" y="752"/>
                    </a:lnTo>
                    <a:lnTo>
                      <a:pt x="2095" y="719"/>
                    </a:lnTo>
                    <a:lnTo>
                      <a:pt x="2128" y="689"/>
                    </a:lnTo>
                    <a:lnTo>
                      <a:pt x="2159" y="659"/>
                    </a:lnTo>
                    <a:lnTo>
                      <a:pt x="2185" y="631"/>
                    </a:lnTo>
                    <a:lnTo>
                      <a:pt x="2208" y="606"/>
                    </a:lnTo>
                    <a:lnTo>
                      <a:pt x="2227" y="584"/>
                    </a:lnTo>
                    <a:lnTo>
                      <a:pt x="2208" y="562"/>
                    </a:lnTo>
                    <a:lnTo>
                      <a:pt x="2185" y="537"/>
                    </a:lnTo>
                    <a:lnTo>
                      <a:pt x="2159" y="509"/>
                    </a:lnTo>
                    <a:lnTo>
                      <a:pt x="2128" y="479"/>
                    </a:lnTo>
                    <a:lnTo>
                      <a:pt x="2095" y="448"/>
                    </a:lnTo>
                    <a:lnTo>
                      <a:pt x="2056" y="415"/>
                    </a:lnTo>
                    <a:lnTo>
                      <a:pt x="2015" y="383"/>
                    </a:lnTo>
                    <a:lnTo>
                      <a:pt x="1969" y="351"/>
                    </a:lnTo>
                    <a:lnTo>
                      <a:pt x="1920" y="320"/>
                    </a:lnTo>
                    <a:lnTo>
                      <a:pt x="1868" y="290"/>
                    </a:lnTo>
                    <a:lnTo>
                      <a:pt x="1811" y="261"/>
                    </a:lnTo>
                    <a:lnTo>
                      <a:pt x="1751" y="236"/>
                    </a:lnTo>
                    <a:close/>
                    <a:moveTo>
                      <a:pt x="1373" y="165"/>
                    </a:moveTo>
                    <a:lnTo>
                      <a:pt x="1301" y="168"/>
                    </a:lnTo>
                    <a:lnTo>
                      <a:pt x="1232" y="174"/>
                    </a:lnTo>
                    <a:lnTo>
                      <a:pt x="1166" y="185"/>
                    </a:lnTo>
                    <a:lnTo>
                      <a:pt x="1104" y="200"/>
                    </a:lnTo>
                    <a:lnTo>
                      <a:pt x="1043" y="219"/>
                    </a:lnTo>
                    <a:lnTo>
                      <a:pt x="986" y="240"/>
                    </a:lnTo>
                    <a:lnTo>
                      <a:pt x="931" y="263"/>
                    </a:lnTo>
                    <a:lnTo>
                      <a:pt x="881" y="290"/>
                    </a:lnTo>
                    <a:lnTo>
                      <a:pt x="832" y="317"/>
                    </a:lnTo>
                    <a:lnTo>
                      <a:pt x="787" y="345"/>
                    </a:lnTo>
                    <a:lnTo>
                      <a:pt x="744" y="374"/>
                    </a:lnTo>
                    <a:lnTo>
                      <a:pt x="705" y="404"/>
                    </a:lnTo>
                    <a:lnTo>
                      <a:pt x="669" y="434"/>
                    </a:lnTo>
                    <a:lnTo>
                      <a:pt x="635" y="462"/>
                    </a:lnTo>
                    <a:lnTo>
                      <a:pt x="606" y="490"/>
                    </a:lnTo>
                    <a:lnTo>
                      <a:pt x="579" y="517"/>
                    </a:lnTo>
                    <a:lnTo>
                      <a:pt x="556" y="542"/>
                    </a:lnTo>
                    <a:lnTo>
                      <a:pt x="536" y="564"/>
                    </a:lnTo>
                    <a:lnTo>
                      <a:pt x="518" y="585"/>
                    </a:lnTo>
                    <a:lnTo>
                      <a:pt x="536" y="604"/>
                    </a:lnTo>
                    <a:lnTo>
                      <a:pt x="556" y="627"/>
                    </a:lnTo>
                    <a:lnTo>
                      <a:pt x="579" y="651"/>
                    </a:lnTo>
                    <a:lnTo>
                      <a:pt x="606" y="679"/>
                    </a:lnTo>
                    <a:lnTo>
                      <a:pt x="635" y="706"/>
                    </a:lnTo>
                    <a:lnTo>
                      <a:pt x="669" y="736"/>
                    </a:lnTo>
                    <a:lnTo>
                      <a:pt x="704" y="765"/>
                    </a:lnTo>
                    <a:lnTo>
                      <a:pt x="743" y="794"/>
                    </a:lnTo>
                    <a:lnTo>
                      <a:pt x="786" y="824"/>
                    </a:lnTo>
                    <a:lnTo>
                      <a:pt x="831" y="852"/>
                    </a:lnTo>
                    <a:lnTo>
                      <a:pt x="880" y="880"/>
                    </a:lnTo>
                    <a:lnTo>
                      <a:pt x="930" y="905"/>
                    </a:lnTo>
                    <a:lnTo>
                      <a:pt x="985" y="928"/>
                    </a:lnTo>
                    <a:lnTo>
                      <a:pt x="1042" y="949"/>
                    </a:lnTo>
                    <a:lnTo>
                      <a:pt x="1103" y="968"/>
                    </a:lnTo>
                    <a:lnTo>
                      <a:pt x="1165" y="983"/>
                    </a:lnTo>
                    <a:lnTo>
                      <a:pt x="1232" y="994"/>
                    </a:lnTo>
                    <a:lnTo>
                      <a:pt x="1300" y="1001"/>
                    </a:lnTo>
                    <a:lnTo>
                      <a:pt x="1373" y="1003"/>
                    </a:lnTo>
                    <a:lnTo>
                      <a:pt x="1428" y="1002"/>
                    </a:lnTo>
                    <a:lnTo>
                      <a:pt x="1481" y="997"/>
                    </a:lnTo>
                    <a:lnTo>
                      <a:pt x="1533" y="991"/>
                    </a:lnTo>
                    <a:lnTo>
                      <a:pt x="1582" y="982"/>
                    </a:lnTo>
                    <a:lnTo>
                      <a:pt x="1550" y="929"/>
                    </a:lnTo>
                    <a:lnTo>
                      <a:pt x="1521" y="875"/>
                    </a:lnTo>
                    <a:lnTo>
                      <a:pt x="1498" y="819"/>
                    </a:lnTo>
                    <a:lnTo>
                      <a:pt x="1481" y="761"/>
                    </a:lnTo>
                    <a:lnTo>
                      <a:pt x="1468" y="702"/>
                    </a:lnTo>
                    <a:lnTo>
                      <a:pt x="1460" y="643"/>
                    </a:lnTo>
                    <a:lnTo>
                      <a:pt x="1458" y="583"/>
                    </a:lnTo>
                    <a:lnTo>
                      <a:pt x="1460" y="524"/>
                    </a:lnTo>
                    <a:lnTo>
                      <a:pt x="1468" y="464"/>
                    </a:lnTo>
                    <a:lnTo>
                      <a:pt x="1480" y="406"/>
                    </a:lnTo>
                    <a:lnTo>
                      <a:pt x="1498" y="348"/>
                    </a:lnTo>
                    <a:lnTo>
                      <a:pt x="1520" y="293"/>
                    </a:lnTo>
                    <a:lnTo>
                      <a:pt x="1549" y="238"/>
                    </a:lnTo>
                    <a:lnTo>
                      <a:pt x="1581" y="186"/>
                    </a:lnTo>
                    <a:lnTo>
                      <a:pt x="1514" y="175"/>
                    </a:lnTo>
                    <a:lnTo>
                      <a:pt x="1445" y="168"/>
                    </a:lnTo>
                    <a:lnTo>
                      <a:pt x="1373" y="165"/>
                    </a:lnTo>
                    <a:close/>
                    <a:moveTo>
                      <a:pt x="1373" y="0"/>
                    </a:moveTo>
                    <a:lnTo>
                      <a:pt x="1451" y="2"/>
                    </a:lnTo>
                    <a:lnTo>
                      <a:pt x="1525" y="9"/>
                    </a:lnTo>
                    <a:lnTo>
                      <a:pt x="1597" y="20"/>
                    </a:lnTo>
                    <a:lnTo>
                      <a:pt x="1666" y="35"/>
                    </a:lnTo>
                    <a:lnTo>
                      <a:pt x="1731" y="53"/>
                    </a:lnTo>
                    <a:lnTo>
                      <a:pt x="1795" y="75"/>
                    </a:lnTo>
                    <a:lnTo>
                      <a:pt x="1854" y="99"/>
                    </a:lnTo>
                    <a:lnTo>
                      <a:pt x="1911" y="125"/>
                    </a:lnTo>
                    <a:lnTo>
                      <a:pt x="1964" y="153"/>
                    </a:lnTo>
                    <a:lnTo>
                      <a:pt x="2015" y="183"/>
                    </a:lnTo>
                    <a:lnTo>
                      <a:pt x="2062" y="214"/>
                    </a:lnTo>
                    <a:lnTo>
                      <a:pt x="2107" y="245"/>
                    </a:lnTo>
                    <a:lnTo>
                      <a:pt x="2148" y="276"/>
                    </a:lnTo>
                    <a:lnTo>
                      <a:pt x="2186" y="308"/>
                    </a:lnTo>
                    <a:lnTo>
                      <a:pt x="2222" y="339"/>
                    </a:lnTo>
                    <a:lnTo>
                      <a:pt x="2254" y="370"/>
                    </a:lnTo>
                    <a:lnTo>
                      <a:pt x="2282" y="398"/>
                    </a:lnTo>
                    <a:lnTo>
                      <a:pt x="2309" y="425"/>
                    </a:lnTo>
                    <a:lnTo>
                      <a:pt x="2331" y="451"/>
                    </a:lnTo>
                    <a:lnTo>
                      <a:pt x="2350" y="474"/>
                    </a:lnTo>
                    <a:lnTo>
                      <a:pt x="2366" y="493"/>
                    </a:lnTo>
                    <a:lnTo>
                      <a:pt x="2379" y="511"/>
                    </a:lnTo>
                    <a:lnTo>
                      <a:pt x="2389" y="524"/>
                    </a:lnTo>
                    <a:lnTo>
                      <a:pt x="2395" y="533"/>
                    </a:lnTo>
                    <a:lnTo>
                      <a:pt x="2399" y="538"/>
                    </a:lnTo>
                    <a:lnTo>
                      <a:pt x="2430" y="585"/>
                    </a:lnTo>
                    <a:lnTo>
                      <a:pt x="2399" y="630"/>
                    </a:lnTo>
                    <a:lnTo>
                      <a:pt x="2395" y="635"/>
                    </a:lnTo>
                    <a:lnTo>
                      <a:pt x="2389" y="644"/>
                    </a:lnTo>
                    <a:lnTo>
                      <a:pt x="2379" y="658"/>
                    </a:lnTo>
                    <a:lnTo>
                      <a:pt x="2366" y="675"/>
                    </a:lnTo>
                    <a:lnTo>
                      <a:pt x="2350" y="694"/>
                    </a:lnTo>
                    <a:lnTo>
                      <a:pt x="2331" y="717"/>
                    </a:lnTo>
                    <a:lnTo>
                      <a:pt x="2309" y="743"/>
                    </a:lnTo>
                    <a:lnTo>
                      <a:pt x="2282" y="770"/>
                    </a:lnTo>
                    <a:lnTo>
                      <a:pt x="2254" y="798"/>
                    </a:lnTo>
                    <a:lnTo>
                      <a:pt x="2222" y="829"/>
                    </a:lnTo>
                    <a:lnTo>
                      <a:pt x="2186" y="860"/>
                    </a:lnTo>
                    <a:lnTo>
                      <a:pt x="2148" y="892"/>
                    </a:lnTo>
                    <a:lnTo>
                      <a:pt x="2107" y="923"/>
                    </a:lnTo>
                    <a:lnTo>
                      <a:pt x="2062" y="955"/>
                    </a:lnTo>
                    <a:lnTo>
                      <a:pt x="2015" y="985"/>
                    </a:lnTo>
                    <a:lnTo>
                      <a:pt x="1964" y="1015"/>
                    </a:lnTo>
                    <a:lnTo>
                      <a:pt x="1911" y="1043"/>
                    </a:lnTo>
                    <a:lnTo>
                      <a:pt x="1854" y="1069"/>
                    </a:lnTo>
                    <a:lnTo>
                      <a:pt x="1795" y="1093"/>
                    </a:lnTo>
                    <a:lnTo>
                      <a:pt x="1731" y="1115"/>
                    </a:lnTo>
                    <a:lnTo>
                      <a:pt x="1666" y="1133"/>
                    </a:lnTo>
                    <a:lnTo>
                      <a:pt x="1597" y="1148"/>
                    </a:lnTo>
                    <a:lnTo>
                      <a:pt x="1525" y="1159"/>
                    </a:lnTo>
                    <a:lnTo>
                      <a:pt x="1451" y="1166"/>
                    </a:lnTo>
                    <a:lnTo>
                      <a:pt x="1373" y="1168"/>
                    </a:lnTo>
                    <a:lnTo>
                      <a:pt x="1297" y="1166"/>
                    </a:lnTo>
                    <a:lnTo>
                      <a:pt x="1225" y="1160"/>
                    </a:lnTo>
                    <a:lnTo>
                      <a:pt x="1155" y="1149"/>
                    </a:lnTo>
                    <a:lnTo>
                      <a:pt x="1089" y="1136"/>
                    </a:lnTo>
                    <a:lnTo>
                      <a:pt x="1025" y="1119"/>
                    </a:lnTo>
                    <a:lnTo>
                      <a:pt x="963" y="1098"/>
                    </a:lnTo>
                    <a:lnTo>
                      <a:pt x="905" y="1075"/>
                    </a:lnTo>
                    <a:lnTo>
                      <a:pt x="849" y="1051"/>
                    </a:lnTo>
                    <a:lnTo>
                      <a:pt x="797" y="1024"/>
                    </a:lnTo>
                    <a:lnTo>
                      <a:pt x="747" y="996"/>
                    </a:lnTo>
                    <a:lnTo>
                      <a:pt x="700" y="967"/>
                    </a:lnTo>
                    <a:lnTo>
                      <a:pt x="657" y="936"/>
                    </a:lnTo>
                    <a:lnTo>
                      <a:pt x="615" y="906"/>
                    </a:lnTo>
                    <a:lnTo>
                      <a:pt x="577" y="875"/>
                    </a:lnTo>
                    <a:lnTo>
                      <a:pt x="542" y="845"/>
                    </a:lnTo>
                    <a:lnTo>
                      <a:pt x="509" y="816"/>
                    </a:lnTo>
                    <a:lnTo>
                      <a:pt x="480" y="787"/>
                    </a:lnTo>
                    <a:lnTo>
                      <a:pt x="453" y="760"/>
                    </a:lnTo>
                    <a:lnTo>
                      <a:pt x="430" y="734"/>
                    </a:lnTo>
                    <a:lnTo>
                      <a:pt x="408" y="710"/>
                    </a:lnTo>
                    <a:lnTo>
                      <a:pt x="391" y="689"/>
                    </a:lnTo>
                    <a:lnTo>
                      <a:pt x="376" y="671"/>
                    </a:lnTo>
                    <a:lnTo>
                      <a:pt x="341" y="679"/>
                    </a:lnTo>
                    <a:lnTo>
                      <a:pt x="308" y="691"/>
                    </a:lnTo>
                    <a:lnTo>
                      <a:pt x="277" y="708"/>
                    </a:lnTo>
                    <a:lnTo>
                      <a:pt x="250" y="729"/>
                    </a:lnTo>
                    <a:lnTo>
                      <a:pt x="226" y="755"/>
                    </a:lnTo>
                    <a:lnTo>
                      <a:pt x="205" y="782"/>
                    </a:lnTo>
                    <a:lnTo>
                      <a:pt x="187" y="814"/>
                    </a:lnTo>
                    <a:lnTo>
                      <a:pt x="175" y="846"/>
                    </a:lnTo>
                    <a:lnTo>
                      <a:pt x="167" y="882"/>
                    </a:lnTo>
                    <a:lnTo>
                      <a:pt x="164" y="919"/>
                    </a:lnTo>
                    <a:lnTo>
                      <a:pt x="0" y="919"/>
                    </a:lnTo>
                    <a:lnTo>
                      <a:pt x="3" y="868"/>
                    </a:lnTo>
                    <a:lnTo>
                      <a:pt x="12" y="820"/>
                    </a:lnTo>
                    <a:lnTo>
                      <a:pt x="26" y="773"/>
                    </a:lnTo>
                    <a:lnTo>
                      <a:pt x="45" y="728"/>
                    </a:lnTo>
                    <a:lnTo>
                      <a:pt x="69" y="687"/>
                    </a:lnTo>
                    <a:lnTo>
                      <a:pt x="98" y="649"/>
                    </a:lnTo>
                    <a:lnTo>
                      <a:pt x="131" y="615"/>
                    </a:lnTo>
                    <a:lnTo>
                      <a:pt x="167" y="585"/>
                    </a:lnTo>
                    <a:lnTo>
                      <a:pt x="131" y="553"/>
                    </a:lnTo>
                    <a:lnTo>
                      <a:pt x="98" y="519"/>
                    </a:lnTo>
                    <a:lnTo>
                      <a:pt x="69" y="481"/>
                    </a:lnTo>
                    <a:lnTo>
                      <a:pt x="45" y="440"/>
                    </a:lnTo>
                    <a:lnTo>
                      <a:pt x="26" y="395"/>
                    </a:lnTo>
                    <a:lnTo>
                      <a:pt x="12" y="348"/>
                    </a:lnTo>
                    <a:lnTo>
                      <a:pt x="3" y="300"/>
                    </a:lnTo>
                    <a:lnTo>
                      <a:pt x="0" y="249"/>
                    </a:lnTo>
                    <a:lnTo>
                      <a:pt x="164" y="249"/>
                    </a:lnTo>
                    <a:lnTo>
                      <a:pt x="167" y="287"/>
                    </a:lnTo>
                    <a:lnTo>
                      <a:pt x="175" y="322"/>
                    </a:lnTo>
                    <a:lnTo>
                      <a:pt x="187" y="354"/>
                    </a:lnTo>
                    <a:lnTo>
                      <a:pt x="205" y="386"/>
                    </a:lnTo>
                    <a:lnTo>
                      <a:pt x="226" y="413"/>
                    </a:lnTo>
                    <a:lnTo>
                      <a:pt x="250" y="439"/>
                    </a:lnTo>
                    <a:lnTo>
                      <a:pt x="277" y="460"/>
                    </a:lnTo>
                    <a:lnTo>
                      <a:pt x="308" y="477"/>
                    </a:lnTo>
                    <a:lnTo>
                      <a:pt x="341" y="489"/>
                    </a:lnTo>
                    <a:lnTo>
                      <a:pt x="376" y="498"/>
                    </a:lnTo>
                    <a:lnTo>
                      <a:pt x="391" y="479"/>
                    </a:lnTo>
                    <a:lnTo>
                      <a:pt x="408" y="458"/>
                    </a:lnTo>
                    <a:lnTo>
                      <a:pt x="430" y="435"/>
                    </a:lnTo>
                    <a:lnTo>
                      <a:pt x="453" y="408"/>
                    </a:lnTo>
                    <a:lnTo>
                      <a:pt x="480" y="381"/>
                    </a:lnTo>
                    <a:lnTo>
                      <a:pt x="509" y="352"/>
                    </a:lnTo>
                    <a:lnTo>
                      <a:pt x="542" y="323"/>
                    </a:lnTo>
                    <a:lnTo>
                      <a:pt x="577" y="293"/>
                    </a:lnTo>
                    <a:lnTo>
                      <a:pt x="615" y="262"/>
                    </a:lnTo>
                    <a:lnTo>
                      <a:pt x="657" y="232"/>
                    </a:lnTo>
                    <a:lnTo>
                      <a:pt x="700" y="201"/>
                    </a:lnTo>
                    <a:lnTo>
                      <a:pt x="747" y="172"/>
                    </a:lnTo>
                    <a:lnTo>
                      <a:pt x="797" y="145"/>
                    </a:lnTo>
                    <a:lnTo>
                      <a:pt x="849" y="117"/>
                    </a:lnTo>
                    <a:lnTo>
                      <a:pt x="905" y="93"/>
                    </a:lnTo>
                    <a:lnTo>
                      <a:pt x="963" y="70"/>
                    </a:lnTo>
                    <a:lnTo>
                      <a:pt x="1025" y="50"/>
                    </a:lnTo>
                    <a:lnTo>
                      <a:pt x="1089" y="33"/>
                    </a:lnTo>
                    <a:lnTo>
                      <a:pt x="1155" y="19"/>
                    </a:lnTo>
                    <a:lnTo>
                      <a:pt x="1225" y="9"/>
                    </a:lnTo>
                    <a:lnTo>
                      <a:pt x="1297" y="2"/>
                    </a:lnTo>
                    <a:lnTo>
                      <a:pt x="137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6" name="Freeform 130"/>
              <p:cNvSpPr>
                <a:spLocks/>
              </p:cNvSpPr>
              <p:nvPr/>
            </p:nvSpPr>
            <p:spPr bwMode="auto">
              <a:xfrm>
                <a:off x="4119" y="3603"/>
                <a:ext cx="11" cy="11"/>
              </a:xfrm>
              <a:custGeom>
                <a:avLst/>
                <a:gdLst>
                  <a:gd name="T0" fmla="*/ 83 w 166"/>
                  <a:gd name="T1" fmla="*/ 0 h 167"/>
                  <a:gd name="T2" fmla="*/ 99 w 166"/>
                  <a:gd name="T3" fmla="*/ 2 h 167"/>
                  <a:gd name="T4" fmla="*/ 114 w 166"/>
                  <a:gd name="T5" fmla="*/ 7 h 167"/>
                  <a:gd name="T6" fmla="*/ 128 w 166"/>
                  <a:gd name="T7" fmla="*/ 14 h 167"/>
                  <a:gd name="T8" fmla="*/ 142 w 166"/>
                  <a:gd name="T9" fmla="*/ 25 h 167"/>
                  <a:gd name="T10" fmla="*/ 152 w 166"/>
                  <a:gd name="T11" fmla="*/ 38 h 167"/>
                  <a:gd name="T12" fmla="*/ 159 w 166"/>
                  <a:gd name="T13" fmla="*/ 52 h 167"/>
                  <a:gd name="T14" fmla="*/ 164 w 166"/>
                  <a:gd name="T15" fmla="*/ 67 h 167"/>
                  <a:gd name="T16" fmla="*/ 166 w 166"/>
                  <a:gd name="T17" fmla="*/ 83 h 167"/>
                  <a:gd name="T18" fmla="*/ 164 w 166"/>
                  <a:gd name="T19" fmla="*/ 100 h 167"/>
                  <a:gd name="T20" fmla="*/ 159 w 166"/>
                  <a:gd name="T21" fmla="*/ 115 h 167"/>
                  <a:gd name="T22" fmla="*/ 152 w 166"/>
                  <a:gd name="T23" fmla="*/ 129 h 167"/>
                  <a:gd name="T24" fmla="*/ 142 w 166"/>
                  <a:gd name="T25" fmla="*/ 142 h 167"/>
                  <a:gd name="T26" fmla="*/ 128 w 166"/>
                  <a:gd name="T27" fmla="*/ 152 h 167"/>
                  <a:gd name="T28" fmla="*/ 114 w 166"/>
                  <a:gd name="T29" fmla="*/ 159 h 167"/>
                  <a:gd name="T30" fmla="*/ 99 w 166"/>
                  <a:gd name="T31" fmla="*/ 165 h 167"/>
                  <a:gd name="T32" fmla="*/ 83 w 166"/>
                  <a:gd name="T33" fmla="*/ 167 h 167"/>
                  <a:gd name="T34" fmla="*/ 67 w 166"/>
                  <a:gd name="T35" fmla="*/ 165 h 167"/>
                  <a:gd name="T36" fmla="*/ 52 w 166"/>
                  <a:gd name="T37" fmla="*/ 159 h 167"/>
                  <a:gd name="T38" fmla="*/ 38 w 166"/>
                  <a:gd name="T39" fmla="*/ 152 h 167"/>
                  <a:gd name="T40" fmla="*/ 24 w 166"/>
                  <a:gd name="T41" fmla="*/ 142 h 167"/>
                  <a:gd name="T42" fmla="*/ 14 w 166"/>
                  <a:gd name="T43" fmla="*/ 129 h 167"/>
                  <a:gd name="T44" fmla="*/ 7 w 166"/>
                  <a:gd name="T45" fmla="*/ 115 h 167"/>
                  <a:gd name="T46" fmla="*/ 2 w 166"/>
                  <a:gd name="T47" fmla="*/ 100 h 167"/>
                  <a:gd name="T48" fmla="*/ 0 w 166"/>
                  <a:gd name="T49" fmla="*/ 83 h 167"/>
                  <a:gd name="T50" fmla="*/ 2 w 166"/>
                  <a:gd name="T51" fmla="*/ 67 h 167"/>
                  <a:gd name="T52" fmla="*/ 7 w 166"/>
                  <a:gd name="T53" fmla="*/ 52 h 167"/>
                  <a:gd name="T54" fmla="*/ 14 w 166"/>
                  <a:gd name="T55" fmla="*/ 38 h 167"/>
                  <a:gd name="T56" fmla="*/ 24 w 166"/>
                  <a:gd name="T57" fmla="*/ 25 h 167"/>
                  <a:gd name="T58" fmla="*/ 38 w 166"/>
                  <a:gd name="T59" fmla="*/ 14 h 167"/>
                  <a:gd name="T60" fmla="*/ 52 w 166"/>
                  <a:gd name="T61" fmla="*/ 7 h 167"/>
                  <a:gd name="T62" fmla="*/ 67 w 166"/>
                  <a:gd name="T63" fmla="*/ 2 h 167"/>
                  <a:gd name="T64" fmla="*/ 83 w 166"/>
                  <a:gd name="T65"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6" h="167">
                    <a:moveTo>
                      <a:pt x="83" y="0"/>
                    </a:moveTo>
                    <a:lnTo>
                      <a:pt x="99" y="2"/>
                    </a:lnTo>
                    <a:lnTo>
                      <a:pt x="114" y="7"/>
                    </a:lnTo>
                    <a:lnTo>
                      <a:pt x="128" y="14"/>
                    </a:lnTo>
                    <a:lnTo>
                      <a:pt x="142" y="25"/>
                    </a:lnTo>
                    <a:lnTo>
                      <a:pt x="152" y="38"/>
                    </a:lnTo>
                    <a:lnTo>
                      <a:pt x="159" y="52"/>
                    </a:lnTo>
                    <a:lnTo>
                      <a:pt x="164" y="67"/>
                    </a:lnTo>
                    <a:lnTo>
                      <a:pt x="166" y="83"/>
                    </a:lnTo>
                    <a:lnTo>
                      <a:pt x="164" y="100"/>
                    </a:lnTo>
                    <a:lnTo>
                      <a:pt x="159" y="115"/>
                    </a:lnTo>
                    <a:lnTo>
                      <a:pt x="152" y="129"/>
                    </a:lnTo>
                    <a:lnTo>
                      <a:pt x="142" y="142"/>
                    </a:lnTo>
                    <a:lnTo>
                      <a:pt x="128" y="152"/>
                    </a:lnTo>
                    <a:lnTo>
                      <a:pt x="114" y="159"/>
                    </a:lnTo>
                    <a:lnTo>
                      <a:pt x="99" y="165"/>
                    </a:lnTo>
                    <a:lnTo>
                      <a:pt x="83" y="167"/>
                    </a:lnTo>
                    <a:lnTo>
                      <a:pt x="67" y="165"/>
                    </a:lnTo>
                    <a:lnTo>
                      <a:pt x="52" y="159"/>
                    </a:lnTo>
                    <a:lnTo>
                      <a:pt x="38" y="152"/>
                    </a:lnTo>
                    <a:lnTo>
                      <a:pt x="24" y="142"/>
                    </a:lnTo>
                    <a:lnTo>
                      <a:pt x="14" y="129"/>
                    </a:lnTo>
                    <a:lnTo>
                      <a:pt x="7" y="115"/>
                    </a:lnTo>
                    <a:lnTo>
                      <a:pt x="2" y="100"/>
                    </a:lnTo>
                    <a:lnTo>
                      <a:pt x="0" y="83"/>
                    </a:lnTo>
                    <a:lnTo>
                      <a:pt x="2" y="67"/>
                    </a:lnTo>
                    <a:lnTo>
                      <a:pt x="7" y="52"/>
                    </a:lnTo>
                    <a:lnTo>
                      <a:pt x="14" y="38"/>
                    </a:lnTo>
                    <a:lnTo>
                      <a:pt x="24" y="25"/>
                    </a:lnTo>
                    <a:lnTo>
                      <a:pt x="38" y="14"/>
                    </a:lnTo>
                    <a:lnTo>
                      <a:pt x="52" y="7"/>
                    </a:lnTo>
                    <a:lnTo>
                      <a:pt x="67" y="2"/>
                    </a:lnTo>
                    <a:lnTo>
                      <a:pt x="8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7" name="Freeform 131"/>
              <p:cNvSpPr>
                <a:spLocks/>
              </p:cNvSpPr>
              <p:nvPr/>
            </p:nvSpPr>
            <p:spPr bwMode="auto">
              <a:xfrm>
                <a:off x="4074" y="3595"/>
                <a:ext cx="16" cy="37"/>
              </a:xfrm>
              <a:custGeom>
                <a:avLst/>
                <a:gdLst>
                  <a:gd name="T0" fmla="*/ 110 w 226"/>
                  <a:gd name="T1" fmla="*/ 0 h 550"/>
                  <a:gd name="T2" fmla="*/ 226 w 226"/>
                  <a:gd name="T3" fmla="*/ 117 h 550"/>
                  <a:gd name="T4" fmla="*/ 208 w 226"/>
                  <a:gd name="T5" fmla="*/ 139 h 550"/>
                  <a:gd name="T6" fmla="*/ 193 w 226"/>
                  <a:gd name="T7" fmla="*/ 162 h 550"/>
                  <a:gd name="T8" fmla="*/ 181 w 226"/>
                  <a:gd name="T9" fmla="*/ 188 h 550"/>
                  <a:gd name="T10" fmla="*/ 172 w 226"/>
                  <a:gd name="T11" fmla="*/ 216 h 550"/>
                  <a:gd name="T12" fmla="*/ 167 w 226"/>
                  <a:gd name="T13" fmla="*/ 245 h 550"/>
                  <a:gd name="T14" fmla="*/ 165 w 226"/>
                  <a:gd name="T15" fmla="*/ 276 h 550"/>
                  <a:gd name="T16" fmla="*/ 167 w 226"/>
                  <a:gd name="T17" fmla="*/ 305 h 550"/>
                  <a:gd name="T18" fmla="*/ 172 w 226"/>
                  <a:gd name="T19" fmla="*/ 334 h 550"/>
                  <a:gd name="T20" fmla="*/ 181 w 226"/>
                  <a:gd name="T21" fmla="*/ 362 h 550"/>
                  <a:gd name="T22" fmla="*/ 193 w 226"/>
                  <a:gd name="T23" fmla="*/ 388 h 550"/>
                  <a:gd name="T24" fmla="*/ 208 w 226"/>
                  <a:gd name="T25" fmla="*/ 411 h 550"/>
                  <a:gd name="T26" fmla="*/ 226 w 226"/>
                  <a:gd name="T27" fmla="*/ 433 h 550"/>
                  <a:gd name="T28" fmla="*/ 110 w 226"/>
                  <a:gd name="T29" fmla="*/ 550 h 550"/>
                  <a:gd name="T30" fmla="*/ 82 w 226"/>
                  <a:gd name="T31" fmla="*/ 518 h 550"/>
                  <a:gd name="T32" fmla="*/ 58 w 226"/>
                  <a:gd name="T33" fmla="*/ 483 h 550"/>
                  <a:gd name="T34" fmla="*/ 38 w 226"/>
                  <a:gd name="T35" fmla="*/ 445 h 550"/>
                  <a:gd name="T36" fmla="*/ 21 w 226"/>
                  <a:gd name="T37" fmla="*/ 405 h 550"/>
                  <a:gd name="T38" fmla="*/ 9 w 226"/>
                  <a:gd name="T39" fmla="*/ 363 h 550"/>
                  <a:gd name="T40" fmla="*/ 2 w 226"/>
                  <a:gd name="T41" fmla="*/ 319 h 550"/>
                  <a:gd name="T42" fmla="*/ 0 w 226"/>
                  <a:gd name="T43" fmla="*/ 276 h 550"/>
                  <a:gd name="T44" fmla="*/ 2 w 226"/>
                  <a:gd name="T45" fmla="*/ 231 h 550"/>
                  <a:gd name="T46" fmla="*/ 9 w 226"/>
                  <a:gd name="T47" fmla="*/ 187 h 550"/>
                  <a:gd name="T48" fmla="*/ 21 w 226"/>
                  <a:gd name="T49" fmla="*/ 145 h 550"/>
                  <a:gd name="T50" fmla="*/ 38 w 226"/>
                  <a:gd name="T51" fmla="*/ 105 h 550"/>
                  <a:gd name="T52" fmla="*/ 58 w 226"/>
                  <a:gd name="T53" fmla="*/ 67 h 550"/>
                  <a:gd name="T54" fmla="*/ 82 w 226"/>
                  <a:gd name="T55" fmla="*/ 32 h 550"/>
                  <a:gd name="T56" fmla="*/ 110 w 226"/>
                  <a:gd name="T57" fmla="*/ 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6" h="550">
                    <a:moveTo>
                      <a:pt x="110" y="0"/>
                    </a:moveTo>
                    <a:lnTo>
                      <a:pt x="226" y="117"/>
                    </a:lnTo>
                    <a:lnTo>
                      <a:pt x="208" y="139"/>
                    </a:lnTo>
                    <a:lnTo>
                      <a:pt x="193" y="162"/>
                    </a:lnTo>
                    <a:lnTo>
                      <a:pt x="181" y="188"/>
                    </a:lnTo>
                    <a:lnTo>
                      <a:pt x="172" y="216"/>
                    </a:lnTo>
                    <a:lnTo>
                      <a:pt x="167" y="245"/>
                    </a:lnTo>
                    <a:lnTo>
                      <a:pt x="165" y="276"/>
                    </a:lnTo>
                    <a:lnTo>
                      <a:pt x="167" y="305"/>
                    </a:lnTo>
                    <a:lnTo>
                      <a:pt x="172" y="334"/>
                    </a:lnTo>
                    <a:lnTo>
                      <a:pt x="181" y="362"/>
                    </a:lnTo>
                    <a:lnTo>
                      <a:pt x="193" y="388"/>
                    </a:lnTo>
                    <a:lnTo>
                      <a:pt x="208" y="411"/>
                    </a:lnTo>
                    <a:lnTo>
                      <a:pt x="226" y="433"/>
                    </a:lnTo>
                    <a:lnTo>
                      <a:pt x="110" y="550"/>
                    </a:lnTo>
                    <a:lnTo>
                      <a:pt x="82" y="518"/>
                    </a:lnTo>
                    <a:lnTo>
                      <a:pt x="58" y="483"/>
                    </a:lnTo>
                    <a:lnTo>
                      <a:pt x="38" y="445"/>
                    </a:lnTo>
                    <a:lnTo>
                      <a:pt x="21" y="405"/>
                    </a:lnTo>
                    <a:lnTo>
                      <a:pt x="9" y="363"/>
                    </a:lnTo>
                    <a:lnTo>
                      <a:pt x="2" y="319"/>
                    </a:lnTo>
                    <a:lnTo>
                      <a:pt x="0" y="276"/>
                    </a:lnTo>
                    <a:lnTo>
                      <a:pt x="2" y="231"/>
                    </a:lnTo>
                    <a:lnTo>
                      <a:pt x="9" y="187"/>
                    </a:lnTo>
                    <a:lnTo>
                      <a:pt x="21" y="145"/>
                    </a:lnTo>
                    <a:lnTo>
                      <a:pt x="38" y="105"/>
                    </a:lnTo>
                    <a:lnTo>
                      <a:pt x="58" y="67"/>
                    </a:lnTo>
                    <a:lnTo>
                      <a:pt x="82" y="32"/>
                    </a:lnTo>
                    <a:lnTo>
                      <a:pt x="11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88" name="Freeform 132"/>
              <p:cNvSpPr>
                <a:spLocks/>
              </p:cNvSpPr>
              <p:nvPr/>
            </p:nvSpPr>
            <p:spPr bwMode="auto">
              <a:xfrm>
                <a:off x="4055" y="3595"/>
                <a:ext cx="15" cy="37"/>
              </a:xfrm>
              <a:custGeom>
                <a:avLst/>
                <a:gdLst>
                  <a:gd name="T0" fmla="*/ 110 w 227"/>
                  <a:gd name="T1" fmla="*/ 0 h 550"/>
                  <a:gd name="T2" fmla="*/ 227 w 227"/>
                  <a:gd name="T3" fmla="*/ 117 h 550"/>
                  <a:gd name="T4" fmla="*/ 209 w 227"/>
                  <a:gd name="T5" fmla="*/ 139 h 550"/>
                  <a:gd name="T6" fmla="*/ 193 w 227"/>
                  <a:gd name="T7" fmla="*/ 162 h 550"/>
                  <a:gd name="T8" fmla="*/ 181 w 227"/>
                  <a:gd name="T9" fmla="*/ 188 h 550"/>
                  <a:gd name="T10" fmla="*/ 172 w 227"/>
                  <a:gd name="T11" fmla="*/ 216 h 550"/>
                  <a:gd name="T12" fmla="*/ 167 w 227"/>
                  <a:gd name="T13" fmla="*/ 245 h 550"/>
                  <a:gd name="T14" fmla="*/ 165 w 227"/>
                  <a:gd name="T15" fmla="*/ 276 h 550"/>
                  <a:gd name="T16" fmla="*/ 167 w 227"/>
                  <a:gd name="T17" fmla="*/ 305 h 550"/>
                  <a:gd name="T18" fmla="*/ 172 w 227"/>
                  <a:gd name="T19" fmla="*/ 334 h 550"/>
                  <a:gd name="T20" fmla="*/ 181 w 227"/>
                  <a:gd name="T21" fmla="*/ 362 h 550"/>
                  <a:gd name="T22" fmla="*/ 193 w 227"/>
                  <a:gd name="T23" fmla="*/ 388 h 550"/>
                  <a:gd name="T24" fmla="*/ 209 w 227"/>
                  <a:gd name="T25" fmla="*/ 411 h 550"/>
                  <a:gd name="T26" fmla="*/ 227 w 227"/>
                  <a:gd name="T27" fmla="*/ 433 h 550"/>
                  <a:gd name="T28" fmla="*/ 110 w 227"/>
                  <a:gd name="T29" fmla="*/ 550 h 550"/>
                  <a:gd name="T30" fmla="*/ 82 w 227"/>
                  <a:gd name="T31" fmla="*/ 518 h 550"/>
                  <a:gd name="T32" fmla="*/ 58 w 227"/>
                  <a:gd name="T33" fmla="*/ 483 h 550"/>
                  <a:gd name="T34" fmla="*/ 37 w 227"/>
                  <a:gd name="T35" fmla="*/ 445 h 550"/>
                  <a:gd name="T36" fmla="*/ 22 w 227"/>
                  <a:gd name="T37" fmla="*/ 405 h 550"/>
                  <a:gd name="T38" fmla="*/ 10 w 227"/>
                  <a:gd name="T39" fmla="*/ 363 h 550"/>
                  <a:gd name="T40" fmla="*/ 3 w 227"/>
                  <a:gd name="T41" fmla="*/ 319 h 550"/>
                  <a:gd name="T42" fmla="*/ 0 w 227"/>
                  <a:gd name="T43" fmla="*/ 276 h 550"/>
                  <a:gd name="T44" fmla="*/ 3 w 227"/>
                  <a:gd name="T45" fmla="*/ 231 h 550"/>
                  <a:gd name="T46" fmla="*/ 10 w 227"/>
                  <a:gd name="T47" fmla="*/ 187 h 550"/>
                  <a:gd name="T48" fmla="*/ 22 w 227"/>
                  <a:gd name="T49" fmla="*/ 145 h 550"/>
                  <a:gd name="T50" fmla="*/ 37 w 227"/>
                  <a:gd name="T51" fmla="*/ 105 h 550"/>
                  <a:gd name="T52" fmla="*/ 57 w 227"/>
                  <a:gd name="T53" fmla="*/ 67 h 550"/>
                  <a:gd name="T54" fmla="*/ 82 w 227"/>
                  <a:gd name="T55" fmla="*/ 32 h 550"/>
                  <a:gd name="T56" fmla="*/ 110 w 227"/>
                  <a:gd name="T57" fmla="*/ 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7" h="550">
                    <a:moveTo>
                      <a:pt x="110" y="0"/>
                    </a:moveTo>
                    <a:lnTo>
                      <a:pt x="227" y="117"/>
                    </a:lnTo>
                    <a:lnTo>
                      <a:pt x="209" y="139"/>
                    </a:lnTo>
                    <a:lnTo>
                      <a:pt x="193" y="162"/>
                    </a:lnTo>
                    <a:lnTo>
                      <a:pt x="181" y="188"/>
                    </a:lnTo>
                    <a:lnTo>
                      <a:pt x="172" y="216"/>
                    </a:lnTo>
                    <a:lnTo>
                      <a:pt x="167" y="245"/>
                    </a:lnTo>
                    <a:lnTo>
                      <a:pt x="165" y="276"/>
                    </a:lnTo>
                    <a:lnTo>
                      <a:pt x="167" y="305"/>
                    </a:lnTo>
                    <a:lnTo>
                      <a:pt x="172" y="334"/>
                    </a:lnTo>
                    <a:lnTo>
                      <a:pt x="181" y="362"/>
                    </a:lnTo>
                    <a:lnTo>
                      <a:pt x="193" y="388"/>
                    </a:lnTo>
                    <a:lnTo>
                      <a:pt x="209" y="411"/>
                    </a:lnTo>
                    <a:lnTo>
                      <a:pt x="227" y="433"/>
                    </a:lnTo>
                    <a:lnTo>
                      <a:pt x="110" y="550"/>
                    </a:lnTo>
                    <a:lnTo>
                      <a:pt x="82" y="518"/>
                    </a:lnTo>
                    <a:lnTo>
                      <a:pt x="58" y="483"/>
                    </a:lnTo>
                    <a:lnTo>
                      <a:pt x="37" y="445"/>
                    </a:lnTo>
                    <a:lnTo>
                      <a:pt x="22" y="405"/>
                    </a:lnTo>
                    <a:lnTo>
                      <a:pt x="10" y="363"/>
                    </a:lnTo>
                    <a:lnTo>
                      <a:pt x="3" y="319"/>
                    </a:lnTo>
                    <a:lnTo>
                      <a:pt x="0" y="276"/>
                    </a:lnTo>
                    <a:lnTo>
                      <a:pt x="3" y="231"/>
                    </a:lnTo>
                    <a:lnTo>
                      <a:pt x="10" y="187"/>
                    </a:lnTo>
                    <a:lnTo>
                      <a:pt x="22" y="145"/>
                    </a:lnTo>
                    <a:lnTo>
                      <a:pt x="37" y="105"/>
                    </a:lnTo>
                    <a:lnTo>
                      <a:pt x="57" y="67"/>
                    </a:lnTo>
                    <a:lnTo>
                      <a:pt x="82" y="32"/>
                    </a:lnTo>
                    <a:lnTo>
                      <a:pt x="11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pic>
          <p:nvPicPr>
            <p:cNvPr id="189" name="Picture 3"/>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7501037" y="2606843"/>
              <a:ext cx="453648" cy="453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0" name="Picture 4"/>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600894" y="1897583"/>
              <a:ext cx="449086" cy="453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1" name="Picture 5"/>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718338" y="1866719"/>
              <a:ext cx="443516" cy="453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2" name="Picture 6"/>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8460391" y="2771112"/>
              <a:ext cx="448015" cy="453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3" name="Picture 7"/>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10506197" y="2768912"/>
              <a:ext cx="459280" cy="453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 name="Picture 8"/>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9156563" y="2313167"/>
              <a:ext cx="448153" cy="453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5" name="Picture 9"/>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7880501" y="3049641"/>
              <a:ext cx="453648" cy="453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96" name="Gruppieren 195"/>
            <p:cNvGrpSpPr>
              <a:grpSpLocks noChangeAspect="1"/>
            </p:cNvGrpSpPr>
            <p:nvPr/>
          </p:nvGrpSpPr>
          <p:grpSpPr>
            <a:xfrm>
              <a:off x="7831122" y="2162735"/>
              <a:ext cx="451619" cy="453648"/>
              <a:chOff x="14103833" y="2812105"/>
              <a:chExt cx="346555" cy="348116"/>
            </a:xfrm>
          </p:grpSpPr>
          <p:sp>
            <p:nvSpPr>
              <p:cNvPr id="197" name="Rectangle 219"/>
              <p:cNvSpPr>
                <a:spLocks noChangeArrowheads="1"/>
              </p:cNvSpPr>
              <p:nvPr/>
            </p:nvSpPr>
            <p:spPr bwMode="auto">
              <a:xfrm>
                <a:off x="14103833" y="2812105"/>
                <a:ext cx="346555" cy="348116"/>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98" name="Rectangle 220"/>
              <p:cNvSpPr>
                <a:spLocks noChangeArrowheads="1"/>
              </p:cNvSpPr>
              <p:nvPr/>
            </p:nvSpPr>
            <p:spPr bwMode="auto">
              <a:xfrm>
                <a:off x="14103833" y="2812105"/>
                <a:ext cx="346555" cy="348116"/>
              </a:xfrm>
              <a:prstGeom prst="rect">
                <a:avLst/>
              </a:prstGeom>
              <a:solidFill>
                <a:srgbClr val="954B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99" name="Freeform 221"/>
              <p:cNvSpPr>
                <a:spLocks noEditPoints="1"/>
              </p:cNvSpPr>
              <p:nvPr/>
            </p:nvSpPr>
            <p:spPr bwMode="auto">
              <a:xfrm>
                <a:off x="14150665" y="2880792"/>
                <a:ext cx="256014" cy="210743"/>
              </a:xfrm>
              <a:custGeom>
                <a:avLst/>
                <a:gdLst>
                  <a:gd name="T0" fmla="*/ 283 w 2458"/>
                  <a:gd name="T1" fmla="*/ 1632 h 2024"/>
                  <a:gd name="T2" fmla="*/ 2187 w 2458"/>
                  <a:gd name="T3" fmla="*/ 1780 h 2024"/>
                  <a:gd name="T4" fmla="*/ 2044 w 2458"/>
                  <a:gd name="T5" fmla="*/ 1422 h 2024"/>
                  <a:gd name="T6" fmla="*/ 485 w 2458"/>
                  <a:gd name="T7" fmla="*/ 317 h 2024"/>
                  <a:gd name="T8" fmla="*/ 425 w 2458"/>
                  <a:gd name="T9" fmla="*/ 390 h 2024"/>
                  <a:gd name="T10" fmla="*/ 452 w 2458"/>
                  <a:gd name="T11" fmla="*/ 482 h 2024"/>
                  <a:gd name="T12" fmla="*/ 265 w 2458"/>
                  <a:gd name="T13" fmla="*/ 569 h 2024"/>
                  <a:gd name="T14" fmla="*/ 180 w 2458"/>
                  <a:gd name="T15" fmla="*/ 617 h 2024"/>
                  <a:gd name="T16" fmla="*/ 180 w 2458"/>
                  <a:gd name="T17" fmla="*/ 724 h 2024"/>
                  <a:gd name="T18" fmla="*/ 265 w 2458"/>
                  <a:gd name="T19" fmla="*/ 771 h 2024"/>
                  <a:gd name="T20" fmla="*/ 395 w 2458"/>
                  <a:gd name="T21" fmla="*/ 683 h 2024"/>
                  <a:gd name="T22" fmla="*/ 610 w 2458"/>
                  <a:gd name="T23" fmla="*/ 464 h 2024"/>
                  <a:gd name="T24" fmla="*/ 610 w 2458"/>
                  <a:gd name="T25" fmla="*/ 357 h 2024"/>
                  <a:gd name="T26" fmla="*/ 524 w 2458"/>
                  <a:gd name="T27" fmla="*/ 309 h 2024"/>
                  <a:gd name="T28" fmla="*/ 1677 w 2458"/>
                  <a:gd name="T29" fmla="*/ 196 h 2024"/>
                  <a:gd name="T30" fmla="*/ 1610 w 2458"/>
                  <a:gd name="T31" fmla="*/ 306 h 2024"/>
                  <a:gd name="T32" fmla="*/ 1640 w 2458"/>
                  <a:gd name="T33" fmla="*/ 432 h 2024"/>
                  <a:gd name="T34" fmla="*/ 1952 w 2458"/>
                  <a:gd name="T35" fmla="*/ 748 h 2024"/>
                  <a:gd name="T36" fmla="*/ 2101 w 2458"/>
                  <a:gd name="T37" fmla="*/ 853 h 2024"/>
                  <a:gd name="T38" fmla="*/ 2226 w 2458"/>
                  <a:gd name="T39" fmla="*/ 823 h 2024"/>
                  <a:gd name="T40" fmla="*/ 2294 w 2458"/>
                  <a:gd name="T41" fmla="*/ 701 h 2024"/>
                  <a:gd name="T42" fmla="*/ 2246 w 2458"/>
                  <a:gd name="T43" fmla="*/ 568 h 2024"/>
                  <a:gd name="T44" fmla="*/ 2127 w 2458"/>
                  <a:gd name="T45" fmla="*/ 519 h 2024"/>
                  <a:gd name="T46" fmla="*/ 2009 w 2458"/>
                  <a:gd name="T47" fmla="*/ 568 h 2024"/>
                  <a:gd name="T48" fmla="*/ 1941 w 2458"/>
                  <a:gd name="T49" fmla="*/ 360 h 2024"/>
                  <a:gd name="T50" fmla="*/ 1910 w 2458"/>
                  <a:gd name="T51" fmla="*/ 234 h 2024"/>
                  <a:gd name="T52" fmla="*/ 1801 w 2458"/>
                  <a:gd name="T53" fmla="*/ 167 h 2024"/>
                  <a:gd name="T54" fmla="*/ 1885 w 2458"/>
                  <a:gd name="T55" fmla="*/ 18 h 2024"/>
                  <a:gd name="T56" fmla="*/ 2034 w 2458"/>
                  <a:gd name="T57" fmla="*/ 125 h 2024"/>
                  <a:gd name="T58" fmla="*/ 2105 w 2458"/>
                  <a:gd name="T59" fmla="*/ 295 h 2024"/>
                  <a:gd name="T60" fmla="*/ 2202 w 2458"/>
                  <a:gd name="T61" fmla="*/ 363 h 2024"/>
                  <a:gd name="T62" fmla="*/ 2362 w 2458"/>
                  <a:gd name="T63" fmla="*/ 452 h 2024"/>
                  <a:gd name="T64" fmla="*/ 2454 w 2458"/>
                  <a:gd name="T65" fmla="*/ 628 h 2024"/>
                  <a:gd name="T66" fmla="*/ 2431 w 2458"/>
                  <a:gd name="T67" fmla="*/ 822 h 2024"/>
                  <a:gd name="T68" fmla="*/ 2304 w 2458"/>
                  <a:gd name="T69" fmla="*/ 970 h 2024"/>
                  <a:gd name="T70" fmla="*/ 2127 w 2458"/>
                  <a:gd name="T71" fmla="*/ 1021 h 2024"/>
                  <a:gd name="T72" fmla="*/ 1746 w 2458"/>
                  <a:gd name="T73" fmla="*/ 1188 h 2024"/>
                  <a:gd name="T74" fmla="*/ 2246 w 2458"/>
                  <a:gd name="T75" fmla="*/ 1441 h 2024"/>
                  <a:gd name="T76" fmla="*/ 2370 w 2458"/>
                  <a:gd name="T77" fmla="*/ 1850 h 2024"/>
                  <a:gd name="T78" fmla="*/ 57 w 2458"/>
                  <a:gd name="T79" fmla="*/ 1850 h 2024"/>
                  <a:gd name="T80" fmla="*/ 180 w 2458"/>
                  <a:gd name="T81" fmla="*/ 1441 h 2024"/>
                  <a:gd name="T82" fmla="*/ 664 w 2458"/>
                  <a:gd name="T83" fmla="*/ 1188 h 2024"/>
                  <a:gd name="T84" fmla="*/ 265 w 2458"/>
                  <a:gd name="T85" fmla="*/ 936 h 2024"/>
                  <a:gd name="T86" fmla="*/ 104 w 2458"/>
                  <a:gd name="T87" fmla="*/ 882 h 2024"/>
                  <a:gd name="T88" fmla="*/ 8 w 2458"/>
                  <a:gd name="T89" fmla="*/ 738 h 2024"/>
                  <a:gd name="T90" fmla="*/ 19 w 2458"/>
                  <a:gd name="T91" fmla="*/ 569 h 2024"/>
                  <a:gd name="T92" fmla="*/ 131 w 2458"/>
                  <a:gd name="T93" fmla="*/ 441 h 2024"/>
                  <a:gd name="T94" fmla="*/ 261 w 2458"/>
                  <a:gd name="T95" fmla="*/ 370 h 2024"/>
                  <a:gd name="T96" fmla="*/ 336 w 2458"/>
                  <a:gd name="T97" fmla="*/ 222 h 2024"/>
                  <a:gd name="T98" fmla="*/ 488 w 2458"/>
                  <a:gd name="T99" fmla="*/ 146 h 2024"/>
                  <a:gd name="T100" fmla="*/ 656 w 2458"/>
                  <a:gd name="T101" fmla="*/ 179 h 2024"/>
                  <a:gd name="T102" fmla="*/ 772 w 2458"/>
                  <a:gd name="T103" fmla="*/ 317 h 2024"/>
                  <a:gd name="T104" fmla="*/ 775 w 2458"/>
                  <a:gd name="T105" fmla="*/ 496 h 2024"/>
                  <a:gd name="T106" fmla="*/ 1455 w 2458"/>
                  <a:gd name="T107" fmla="*/ 421 h 2024"/>
                  <a:gd name="T108" fmla="*/ 1462 w 2458"/>
                  <a:gd name="T109" fmla="*/ 223 h 2024"/>
                  <a:gd name="T110" fmla="*/ 1568 w 2458"/>
                  <a:gd name="T111" fmla="*/ 72 h 2024"/>
                  <a:gd name="T112" fmla="*/ 1738 w 2458"/>
                  <a:gd name="T113" fmla="*/ 2 h 2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8" h="2024">
                    <a:moveTo>
                      <a:pt x="425" y="1357"/>
                    </a:moveTo>
                    <a:lnTo>
                      <a:pt x="382" y="1422"/>
                    </a:lnTo>
                    <a:lnTo>
                      <a:pt x="344" y="1490"/>
                    </a:lnTo>
                    <a:lnTo>
                      <a:pt x="311" y="1560"/>
                    </a:lnTo>
                    <a:lnTo>
                      <a:pt x="283" y="1632"/>
                    </a:lnTo>
                    <a:lnTo>
                      <a:pt x="258" y="1705"/>
                    </a:lnTo>
                    <a:lnTo>
                      <a:pt x="240" y="1780"/>
                    </a:lnTo>
                    <a:lnTo>
                      <a:pt x="226" y="1855"/>
                    </a:lnTo>
                    <a:lnTo>
                      <a:pt x="2201" y="1855"/>
                    </a:lnTo>
                    <a:lnTo>
                      <a:pt x="2187" y="1780"/>
                    </a:lnTo>
                    <a:lnTo>
                      <a:pt x="2169" y="1705"/>
                    </a:lnTo>
                    <a:lnTo>
                      <a:pt x="2144" y="1632"/>
                    </a:lnTo>
                    <a:lnTo>
                      <a:pt x="2116" y="1560"/>
                    </a:lnTo>
                    <a:lnTo>
                      <a:pt x="2083" y="1490"/>
                    </a:lnTo>
                    <a:lnTo>
                      <a:pt x="2044" y="1422"/>
                    </a:lnTo>
                    <a:lnTo>
                      <a:pt x="2002" y="1357"/>
                    </a:lnTo>
                    <a:lnTo>
                      <a:pt x="425" y="1357"/>
                    </a:lnTo>
                    <a:close/>
                    <a:moveTo>
                      <a:pt x="524" y="309"/>
                    </a:moveTo>
                    <a:lnTo>
                      <a:pt x="504" y="311"/>
                    </a:lnTo>
                    <a:lnTo>
                      <a:pt x="485" y="317"/>
                    </a:lnTo>
                    <a:lnTo>
                      <a:pt x="468" y="326"/>
                    </a:lnTo>
                    <a:lnTo>
                      <a:pt x="452" y="338"/>
                    </a:lnTo>
                    <a:lnTo>
                      <a:pt x="440" y="355"/>
                    </a:lnTo>
                    <a:lnTo>
                      <a:pt x="431" y="372"/>
                    </a:lnTo>
                    <a:lnTo>
                      <a:pt x="425" y="390"/>
                    </a:lnTo>
                    <a:lnTo>
                      <a:pt x="423" y="410"/>
                    </a:lnTo>
                    <a:lnTo>
                      <a:pt x="425" y="431"/>
                    </a:lnTo>
                    <a:lnTo>
                      <a:pt x="431" y="449"/>
                    </a:lnTo>
                    <a:lnTo>
                      <a:pt x="440" y="466"/>
                    </a:lnTo>
                    <a:lnTo>
                      <a:pt x="452" y="482"/>
                    </a:lnTo>
                    <a:lnTo>
                      <a:pt x="336" y="599"/>
                    </a:lnTo>
                    <a:lnTo>
                      <a:pt x="321" y="586"/>
                    </a:lnTo>
                    <a:lnTo>
                      <a:pt x="304" y="577"/>
                    </a:lnTo>
                    <a:lnTo>
                      <a:pt x="285" y="570"/>
                    </a:lnTo>
                    <a:lnTo>
                      <a:pt x="265" y="569"/>
                    </a:lnTo>
                    <a:lnTo>
                      <a:pt x="245" y="570"/>
                    </a:lnTo>
                    <a:lnTo>
                      <a:pt x="226" y="577"/>
                    </a:lnTo>
                    <a:lnTo>
                      <a:pt x="209" y="586"/>
                    </a:lnTo>
                    <a:lnTo>
                      <a:pt x="194" y="599"/>
                    </a:lnTo>
                    <a:lnTo>
                      <a:pt x="180" y="617"/>
                    </a:lnTo>
                    <a:lnTo>
                      <a:pt x="170" y="637"/>
                    </a:lnTo>
                    <a:lnTo>
                      <a:pt x="165" y="660"/>
                    </a:lnTo>
                    <a:lnTo>
                      <a:pt x="165" y="681"/>
                    </a:lnTo>
                    <a:lnTo>
                      <a:pt x="170" y="703"/>
                    </a:lnTo>
                    <a:lnTo>
                      <a:pt x="180" y="724"/>
                    </a:lnTo>
                    <a:lnTo>
                      <a:pt x="194" y="742"/>
                    </a:lnTo>
                    <a:lnTo>
                      <a:pt x="209" y="755"/>
                    </a:lnTo>
                    <a:lnTo>
                      <a:pt x="226" y="764"/>
                    </a:lnTo>
                    <a:lnTo>
                      <a:pt x="245" y="769"/>
                    </a:lnTo>
                    <a:lnTo>
                      <a:pt x="265" y="771"/>
                    </a:lnTo>
                    <a:lnTo>
                      <a:pt x="285" y="769"/>
                    </a:lnTo>
                    <a:lnTo>
                      <a:pt x="304" y="764"/>
                    </a:lnTo>
                    <a:lnTo>
                      <a:pt x="321" y="755"/>
                    </a:lnTo>
                    <a:lnTo>
                      <a:pt x="336" y="742"/>
                    </a:lnTo>
                    <a:lnTo>
                      <a:pt x="395" y="683"/>
                    </a:lnTo>
                    <a:lnTo>
                      <a:pt x="852" y="1143"/>
                    </a:lnTo>
                    <a:lnTo>
                      <a:pt x="995" y="1000"/>
                    </a:lnTo>
                    <a:lnTo>
                      <a:pt x="537" y="540"/>
                    </a:lnTo>
                    <a:lnTo>
                      <a:pt x="595" y="482"/>
                    </a:lnTo>
                    <a:lnTo>
                      <a:pt x="610" y="464"/>
                    </a:lnTo>
                    <a:lnTo>
                      <a:pt x="620" y="443"/>
                    </a:lnTo>
                    <a:lnTo>
                      <a:pt x="624" y="421"/>
                    </a:lnTo>
                    <a:lnTo>
                      <a:pt x="624" y="399"/>
                    </a:lnTo>
                    <a:lnTo>
                      <a:pt x="620" y="378"/>
                    </a:lnTo>
                    <a:lnTo>
                      <a:pt x="610" y="357"/>
                    </a:lnTo>
                    <a:lnTo>
                      <a:pt x="595" y="338"/>
                    </a:lnTo>
                    <a:lnTo>
                      <a:pt x="580" y="326"/>
                    </a:lnTo>
                    <a:lnTo>
                      <a:pt x="562" y="317"/>
                    </a:lnTo>
                    <a:lnTo>
                      <a:pt x="544" y="311"/>
                    </a:lnTo>
                    <a:lnTo>
                      <a:pt x="524" y="309"/>
                    </a:lnTo>
                    <a:close/>
                    <a:moveTo>
                      <a:pt x="1775" y="165"/>
                    </a:moveTo>
                    <a:lnTo>
                      <a:pt x="1749" y="167"/>
                    </a:lnTo>
                    <a:lnTo>
                      <a:pt x="1724" y="173"/>
                    </a:lnTo>
                    <a:lnTo>
                      <a:pt x="1699" y="183"/>
                    </a:lnTo>
                    <a:lnTo>
                      <a:pt x="1677" y="196"/>
                    </a:lnTo>
                    <a:lnTo>
                      <a:pt x="1657" y="214"/>
                    </a:lnTo>
                    <a:lnTo>
                      <a:pt x="1640" y="234"/>
                    </a:lnTo>
                    <a:lnTo>
                      <a:pt x="1626" y="256"/>
                    </a:lnTo>
                    <a:lnTo>
                      <a:pt x="1616" y="281"/>
                    </a:lnTo>
                    <a:lnTo>
                      <a:pt x="1610" y="306"/>
                    </a:lnTo>
                    <a:lnTo>
                      <a:pt x="1608" y="333"/>
                    </a:lnTo>
                    <a:lnTo>
                      <a:pt x="1610" y="360"/>
                    </a:lnTo>
                    <a:lnTo>
                      <a:pt x="1616" y="385"/>
                    </a:lnTo>
                    <a:lnTo>
                      <a:pt x="1626" y="409"/>
                    </a:lnTo>
                    <a:lnTo>
                      <a:pt x="1640" y="432"/>
                    </a:lnTo>
                    <a:lnTo>
                      <a:pt x="1657" y="452"/>
                    </a:lnTo>
                    <a:lnTo>
                      <a:pt x="1716" y="510"/>
                    </a:lnTo>
                    <a:lnTo>
                      <a:pt x="1040" y="1188"/>
                    </a:lnTo>
                    <a:lnTo>
                      <a:pt x="1513" y="1188"/>
                    </a:lnTo>
                    <a:lnTo>
                      <a:pt x="1952" y="748"/>
                    </a:lnTo>
                    <a:lnTo>
                      <a:pt x="2009" y="806"/>
                    </a:lnTo>
                    <a:lnTo>
                      <a:pt x="2029" y="823"/>
                    </a:lnTo>
                    <a:lnTo>
                      <a:pt x="2052" y="837"/>
                    </a:lnTo>
                    <a:lnTo>
                      <a:pt x="2076" y="847"/>
                    </a:lnTo>
                    <a:lnTo>
                      <a:pt x="2101" y="853"/>
                    </a:lnTo>
                    <a:lnTo>
                      <a:pt x="2127" y="855"/>
                    </a:lnTo>
                    <a:lnTo>
                      <a:pt x="2154" y="853"/>
                    </a:lnTo>
                    <a:lnTo>
                      <a:pt x="2180" y="847"/>
                    </a:lnTo>
                    <a:lnTo>
                      <a:pt x="2204" y="837"/>
                    </a:lnTo>
                    <a:lnTo>
                      <a:pt x="2226" y="823"/>
                    </a:lnTo>
                    <a:lnTo>
                      <a:pt x="2246" y="806"/>
                    </a:lnTo>
                    <a:lnTo>
                      <a:pt x="2265" y="782"/>
                    </a:lnTo>
                    <a:lnTo>
                      <a:pt x="2280" y="757"/>
                    </a:lnTo>
                    <a:lnTo>
                      <a:pt x="2290" y="730"/>
                    </a:lnTo>
                    <a:lnTo>
                      <a:pt x="2294" y="701"/>
                    </a:lnTo>
                    <a:lnTo>
                      <a:pt x="2294" y="673"/>
                    </a:lnTo>
                    <a:lnTo>
                      <a:pt x="2290" y="644"/>
                    </a:lnTo>
                    <a:lnTo>
                      <a:pt x="2280" y="617"/>
                    </a:lnTo>
                    <a:lnTo>
                      <a:pt x="2265" y="592"/>
                    </a:lnTo>
                    <a:lnTo>
                      <a:pt x="2246" y="568"/>
                    </a:lnTo>
                    <a:lnTo>
                      <a:pt x="2226" y="551"/>
                    </a:lnTo>
                    <a:lnTo>
                      <a:pt x="2204" y="537"/>
                    </a:lnTo>
                    <a:lnTo>
                      <a:pt x="2180" y="528"/>
                    </a:lnTo>
                    <a:lnTo>
                      <a:pt x="2154" y="521"/>
                    </a:lnTo>
                    <a:lnTo>
                      <a:pt x="2127" y="519"/>
                    </a:lnTo>
                    <a:lnTo>
                      <a:pt x="2101" y="521"/>
                    </a:lnTo>
                    <a:lnTo>
                      <a:pt x="2076" y="528"/>
                    </a:lnTo>
                    <a:lnTo>
                      <a:pt x="2052" y="537"/>
                    </a:lnTo>
                    <a:lnTo>
                      <a:pt x="2029" y="551"/>
                    </a:lnTo>
                    <a:lnTo>
                      <a:pt x="2009" y="568"/>
                    </a:lnTo>
                    <a:lnTo>
                      <a:pt x="1893" y="452"/>
                    </a:lnTo>
                    <a:lnTo>
                      <a:pt x="1910" y="432"/>
                    </a:lnTo>
                    <a:lnTo>
                      <a:pt x="1924" y="409"/>
                    </a:lnTo>
                    <a:lnTo>
                      <a:pt x="1934" y="385"/>
                    </a:lnTo>
                    <a:lnTo>
                      <a:pt x="1941" y="360"/>
                    </a:lnTo>
                    <a:lnTo>
                      <a:pt x="1943" y="333"/>
                    </a:lnTo>
                    <a:lnTo>
                      <a:pt x="1941" y="306"/>
                    </a:lnTo>
                    <a:lnTo>
                      <a:pt x="1934" y="281"/>
                    </a:lnTo>
                    <a:lnTo>
                      <a:pt x="1924" y="256"/>
                    </a:lnTo>
                    <a:lnTo>
                      <a:pt x="1910" y="234"/>
                    </a:lnTo>
                    <a:lnTo>
                      <a:pt x="1893" y="215"/>
                    </a:lnTo>
                    <a:lnTo>
                      <a:pt x="1873" y="196"/>
                    </a:lnTo>
                    <a:lnTo>
                      <a:pt x="1851" y="183"/>
                    </a:lnTo>
                    <a:lnTo>
                      <a:pt x="1827" y="173"/>
                    </a:lnTo>
                    <a:lnTo>
                      <a:pt x="1801" y="167"/>
                    </a:lnTo>
                    <a:lnTo>
                      <a:pt x="1775" y="165"/>
                    </a:lnTo>
                    <a:close/>
                    <a:moveTo>
                      <a:pt x="1775" y="0"/>
                    </a:moveTo>
                    <a:lnTo>
                      <a:pt x="1812" y="2"/>
                    </a:lnTo>
                    <a:lnTo>
                      <a:pt x="1850" y="8"/>
                    </a:lnTo>
                    <a:lnTo>
                      <a:pt x="1885" y="18"/>
                    </a:lnTo>
                    <a:lnTo>
                      <a:pt x="1919" y="32"/>
                    </a:lnTo>
                    <a:lnTo>
                      <a:pt x="1952" y="50"/>
                    </a:lnTo>
                    <a:lnTo>
                      <a:pt x="1982" y="72"/>
                    </a:lnTo>
                    <a:lnTo>
                      <a:pt x="2009" y="97"/>
                    </a:lnTo>
                    <a:lnTo>
                      <a:pt x="2034" y="125"/>
                    </a:lnTo>
                    <a:lnTo>
                      <a:pt x="2057" y="156"/>
                    </a:lnTo>
                    <a:lnTo>
                      <a:pt x="2074" y="188"/>
                    </a:lnTo>
                    <a:lnTo>
                      <a:pt x="2088" y="223"/>
                    </a:lnTo>
                    <a:lnTo>
                      <a:pt x="2098" y="258"/>
                    </a:lnTo>
                    <a:lnTo>
                      <a:pt x="2105" y="295"/>
                    </a:lnTo>
                    <a:lnTo>
                      <a:pt x="2107" y="333"/>
                    </a:lnTo>
                    <a:lnTo>
                      <a:pt x="2106" y="355"/>
                    </a:lnTo>
                    <a:lnTo>
                      <a:pt x="2127" y="354"/>
                    </a:lnTo>
                    <a:lnTo>
                      <a:pt x="2166" y="357"/>
                    </a:lnTo>
                    <a:lnTo>
                      <a:pt x="2202" y="363"/>
                    </a:lnTo>
                    <a:lnTo>
                      <a:pt x="2237" y="373"/>
                    </a:lnTo>
                    <a:lnTo>
                      <a:pt x="2272" y="387"/>
                    </a:lnTo>
                    <a:lnTo>
                      <a:pt x="2304" y="404"/>
                    </a:lnTo>
                    <a:lnTo>
                      <a:pt x="2334" y="427"/>
                    </a:lnTo>
                    <a:lnTo>
                      <a:pt x="2362" y="452"/>
                    </a:lnTo>
                    <a:lnTo>
                      <a:pt x="2390" y="483"/>
                    </a:lnTo>
                    <a:lnTo>
                      <a:pt x="2413" y="517"/>
                    </a:lnTo>
                    <a:lnTo>
                      <a:pt x="2431" y="552"/>
                    </a:lnTo>
                    <a:lnTo>
                      <a:pt x="2445" y="590"/>
                    </a:lnTo>
                    <a:lnTo>
                      <a:pt x="2454" y="628"/>
                    </a:lnTo>
                    <a:lnTo>
                      <a:pt x="2458" y="668"/>
                    </a:lnTo>
                    <a:lnTo>
                      <a:pt x="2458" y="706"/>
                    </a:lnTo>
                    <a:lnTo>
                      <a:pt x="2454" y="746"/>
                    </a:lnTo>
                    <a:lnTo>
                      <a:pt x="2445" y="784"/>
                    </a:lnTo>
                    <a:lnTo>
                      <a:pt x="2431" y="822"/>
                    </a:lnTo>
                    <a:lnTo>
                      <a:pt x="2413" y="857"/>
                    </a:lnTo>
                    <a:lnTo>
                      <a:pt x="2390" y="891"/>
                    </a:lnTo>
                    <a:lnTo>
                      <a:pt x="2362" y="922"/>
                    </a:lnTo>
                    <a:lnTo>
                      <a:pt x="2334" y="948"/>
                    </a:lnTo>
                    <a:lnTo>
                      <a:pt x="2304" y="970"/>
                    </a:lnTo>
                    <a:lnTo>
                      <a:pt x="2272" y="987"/>
                    </a:lnTo>
                    <a:lnTo>
                      <a:pt x="2237" y="1001"/>
                    </a:lnTo>
                    <a:lnTo>
                      <a:pt x="2202" y="1011"/>
                    </a:lnTo>
                    <a:lnTo>
                      <a:pt x="2166" y="1017"/>
                    </a:lnTo>
                    <a:lnTo>
                      <a:pt x="2127" y="1021"/>
                    </a:lnTo>
                    <a:lnTo>
                      <a:pt x="2083" y="1017"/>
                    </a:lnTo>
                    <a:lnTo>
                      <a:pt x="2039" y="1008"/>
                    </a:lnTo>
                    <a:lnTo>
                      <a:pt x="1998" y="994"/>
                    </a:lnTo>
                    <a:lnTo>
                      <a:pt x="1959" y="974"/>
                    </a:lnTo>
                    <a:lnTo>
                      <a:pt x="1746" y="1188"/>
                    </a:lnTo>
                    <a:lnTo>
                      <a:pt x="2087" y="1188"/>
                    </a:lnTo>
                    <a:lnTo>
                      <a:pt x="2112" y="1221"/>
                    </a:lnTo>
                    <a:lnTo>
                      <a:pt x="2162" y="1291"/>
                    </a:lnTo>
                    <a:lnTo>
                      <a:pt x="2207" y="1365"/>
                    </a:lnTo>
                    <a:lnTo>
                      <a:pt x="2246" y="1441"/>
                    </a:lnTo>
                    <a:lnTo>
                      <a:pt x="2282" y="1520"/>
                    </a:lnTo>
                    <a:lnTo>
                      <a:pt x="2312" y="1600"/>
                    </a:lnTo>
                    <a:lnTo>
                      <a:pt x="2337" y="1682"/>
                    </a:lnTo>
                    <a:lnTo>
                      <a:pt x="2356" y="1766"/>
                    </a:lnTo>
                    <a:lnTo>
                      <a:pt x="2370" y="1850"/>
                    </a:lnTo>
                    <a:lnTo>
                      <a:pt x="2378" y="1935"/>
                    </a:lnTo>
                    <a:lnTo>
                      <a:pt x="2384" y="2024"/>
                    </a:lnTo>
                    <a:lnTo>
                      <a:pt x="43" y="2024"/>
                    </a:lnTo>
                    <a:lnTo>
                      <a:pt x="48" y="1935"/>
                    </a:lnTo>
                    <a:lnTo>
                      <a:pt x="57" y="1850"/>
                    </a:lnTo>
                    <a:lnTo>
                      <a:pt x="71" y="1766"/>
                    </a:lnTo>
                    <a:lnTo>
                      <a:pt x="90" y="1682"/>
                    </a:lnTo>
                    <a:lnTo>
                      <a:pt x="115" y="1600"/>
                    </a:lnTo>
                    <a:lnTo>
                      <a:pt x="144" y="1520"/>
                    </a:lnTo>
                    <a:lnTo>
                      <a:pt x="180" y="1441"/>
                    </a:lnTo>
                    <a:lnTo>
                      <a:pt x="220" y="1365"/>
                    </a:lnTo>
                    <a:lnTo>
                      <a:pt x="265" y="1291"/>
                    </a:lnTo>
                    <a:lnTo>
                      <a:pt x="315" y="1221"/>
                    </a:lnTo>
                    <a:lnTo>
                      <a:pt x="340" y="1188"/>
                    </a:lnTo>
                    <a:lnTo>
                      <a:pt x="664" y="1188"/>
                    </a:lnTo>
                    <a:lnTo>
                      <a:pt x="386" y="908"/>
                    </a:lnTo>
                    <a:lnTo>
                      <a:pt x="357" y="920"/>
                    </a:lnTo>
                    <a:lnTo>
                      <a:pt x="327" y="929"/>
                    </a:lnTo>
                    <a:lnTo>
                      <a:pt x="297" y="935"/>
                    </a:lnTo>
                    <a:lnTo>
                      <a:pt x="265" y="936"/>
                    </a:lnTo>
                    <a:lnTo>
                      <a:pt x="230" y="934"/>
                    </a:lnTo>
                    <a:lnTo>
                      <a:pt x="196" y="927"/>
                    </a:lnTo>
                    <a:lnTo>
                      <a:pt x="164" y="916"/>
                    </a:lnTo>
                    <a:lnTo>
                      <a:pt x="132" y="901"/>
                    </a:lnTo>
                    <a:lnTo>
                      <a:pt x="104" y="882"/>
                    </a:lnTo>
                    <a:lnTo>
                      <a:pt x="78" y="858"/>
                    </a:lnTo>
                    <a:lnTo>
                      <a:pt x="54" y="831"/>
                    </a:lnTo>
                    <a:lnTo>
                      <a:pt x="34" y="802"/>
                    </a:lnTo>
                    <a:lnTo>
                      <a:pt x="19" y="770"/>
                    </a:lnTo>
                    <a:lnTo>
                      <a:pt x="8" y="738"/>
                    </a:lnTo>
                    <a:lnTo>
                      <a:pt x="2" y="704"/>
                    </a:lnTo>
                    <a:lnTo>
                      <a:pt x="0" y="670"/>
                    </a:lnTo>
                    <a:lnTo>
                      <a:pt x="2" y="636"/>
                    </a:lnTo>
                    <a:lnTo>
                      <a:pt x="8" y="603"/>
                    </a:lnTo>
                    <a:lnTo>
                      <a:pt x="19" y="569"/>
                    </a:lnTo>
                    <a:lnTo>
                      <a:pt x="34" y="539"/>
                    </a:lnTo>
                    <a:lnTo>
                      <a:pt x="54" y="509"/>
                    </a:lnTo>
                    <a:lnTo>
                      <a:pt x="78" y="482"/>
                    </a:lnTo>
                    <a:lnTo>
                      <a:pt x="103" y="459"/>
                    </a:lnTo>
                    <a:lnTo>
                      <a:pt x="131" y="441"/>
                    </a:lnTo>
                    <a:lnTo>
                      <a:pt x="160" y="426"/>
                    </a:lnTo>
                    <a:lnTo>
                      <a:pt x="192" y="414"/>
                    </a:lnTo>
                    <a:lnTo>
                      <a:pt x="225" y="407"/>
                    </a:lnTo>
                    <a:lnTo>
                      <a:pt x="258" y="404"/>
                    </a:lnTo>
                    <a:lnTo>
                      <a:pt x="261" y="370"/>
                    </a:lnTo>
                    <a:lnTo>
                      <a:pt x="268" y="337"/>
                    </a:lnTo>
                    <a:lnTo>
                      <a:pt x="280" y="305"/>
                    </a:lnTo>
                    <a:lnTo>
                      <a:pt x="295" y="276"/>
                    </a:lnTo>
                    <a:lnTo>
                      <a:pt x="314" y="247"/>
                    </a:lnTo>
                    <a:lnTo>
                      <a:pt x="336" y="222"/>
                    </a:lnTo>
                    <a:lnTo>
                      <a:pt x="362" y="198"/>
                    </a:lnTo>
                    <a:lnTo>
                      <a:pt x="392" y="179"/>
                    </a:lnTo>
                    <a:lnTo>
                      <a:pt x="422" y="164"/>
                    </a:lnTo>
                    <a:lnTo>
                      <a:pt x="455" y="153"/>
                    </a:lnTo>
                    <a:lnTo>
                      <a:pt x="488" y="146"/>
                    </a:lnTo>
                    <a:lnTo>
                      <a:pt x="524" y="144"/>
                    </a:lnTo>
                    <a:lnTo>
                      <a:pt x="559" y="146"/>
                    </a:lnTo>
                    <a:lnTo>
                      <a:pt x="592" y="153"/>
                    </a:lnTo>
                    <a:lnTo>
                      <a:pt x="626" y="164"/>
                    </a:lnTo>
                    <a:lnTo>
                      <a:pt x="656" y="179"/>
                    </a:lnTo>
                    <a:lnTo>
                      <a:pt x="685" y="198"/>
                    </a:lnTo>
                    <a:lnTo>
                      <a:pt x="711" y="222"/>
                    </a:lnTo>
                    <a:lnTo>
                      <a:pt x="737" y="251"/>
                    </a:lnTo>
                    <a:lnTo>
                      <a:pt x="757" y="283"/>
                    </a:lnTo>
                    <a:lnTo>
                      <a:pt x="772" y="317"/>
                    </a:lnTo>
                    <a:lnTo>
                      <a:pt x="783" y="353"/>
                    </a:lnTo>
                    <a:lnTo>
                      <a:pt x="788" y="388"/>
                    </a:lnTo>
                    <a:lnTo>
                      <a:pt x="788" y="425"/>
                    </a:lnTo>
                    <a:lnTo>
                      <a:pt x="784" y="461"/>
                    </a:lnTo>
                    <a:lnTo>
                      <a:pt x="775" y="496"/>
                    </a:lnTo>
                    <a:lnTo>
                      <a:pt x="761" y="531"/>
                    </a:lnTo>
                    <a:lnTo>
                      <a:pt x="1111" y="883"/>
                    </a:lnTo>
                    <a:lnTo>
                      <a:pt x="1489" y="503"/>
                    </a:lnTo>
                    <a:lnTo>
                      <a:pt x="1469" y="463"/>
                    </a:lnTo>
                    <a:lnTo>
                      <a:pt x="1455" y="421"/>
                    </a:lnTo>
                    <a:lnTo>
                      <a:pt x="1446" y="378"/>
                    </a:lnTo>
                    <a:lnTo>
                      <a:pt x="1443" y="333"/>
                    </a:lnTo>
                    <a:lnTo>
                      <a:pt x="1445" y="295"/>
                    </a:lnTo>
                    <a:lnTo>
                      <a:pt x="1452" y="258"/>
                    </a:lnTo>
                    <a:lnTo>
                      <a:pt x="1462" y="223"/>
                    </a:lnTo>
                    <a:lnTo>
                      <a:pt x="1476" y="188"/>
                    </a:lnTo>
                    <a:lnTo>
                      <a:pt x="1494" y="156"/>
                    </a:lnTo>
                    <a:lnTo>
                      <a:pt x="1516" y="125"/>
                    </a:lnTo>
                    <a:lnTo>
                      <a:pt x="1541" y="97"/>
                    </a:lnTo>
                    <a:lnTo>
                      <a:pt x="1568" y="72"/>
                    </a:lnTo>
                    <a:lnTo>
                      <a:pt x="1599" y="50"/>
                    </a:lnTo>
                    <a:lnTo>
                      <a:pt x="1632" y="32"/>
                    </a:lnTo>
                    <a:lnTo>
                      <a:pt x="1665" y="18"/>
                    </a:lnTo>
                    <a:lnTo>
                      <a:pt x="1700" y="8"/>
                    </a:lnTo>
                    <a:lnTo>
                      <a:pt x="1738" y="2"/>
                    </a:lnTo>
                    <a:lnTo>
                      <a:pt x="177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grpSp>
          <p:nvGrpSpPr>
            <p:cNvPr id="200" name="Gruppieren 199"/>
            <p:cNvGrpSpPr>
              <a:grpSpLocks noChangeAspect="1"/>
            </p:cNvGrpSpPr>
            <p:nvPr/>
          </p:nvGrpSpPr>
          <p:grpSpPr>
            <a:xfrm>
              <a:off x="10070144" y="3381371"/>
              <a:ext cx="451606" cy="453648"/>
              <a:chOff x="9318772" y="2333164"/>
              <a:chExt cx="346555" cy="348117"/>
            </a:xfrm>
          </p:grpSpPr>
          <p:sp>
            <p:nvSpPr>
              <p:cNvPr id="201" name="Rectangle 94"/>
              <p:cNvSpPr>
                <a:spLocks noChangeArrowheads="1"/>
              </p:cNvSpPr>
              <p:nvPr/>
            </p:nvSpPr>
            <p:spPr bwMode="auto">
              <a:xfrm>
                <a:off x="9318772" y="2333164"/>
                <a:ext cx="346555" cy="348117"/>
              </a:xfrm>
              <a:prstGeom prst="rect">
                <a:avLst/>
              </a:prstGeom>
              <a:solidFill>
                <a:srgbClr val="FB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202" name="Gruppieren 201"/>
              <p:cNvGrpSpPr/>
              <p:nvPr/>
            </p:nvGrpSpPr>
            <p:grpSpPr>
              <a:xfrm>
                <a:off x="9371820" y="2409889"/>
                <a:ext cx="224792" cy="182644"/>
                <a:chOff x="296624" y="3538020"/>
                <a:chExt cx="224792" cy="182644"/>
              </a:xfrm>
            </p:grpSpPr>
            <p:sp>
              <p:nvSpPr>
                <p:cNvPr id="203" name="Freeform 95"/>
                <p:cNvSpPr>
                  <a:spLocks noEditPoints="1"/>
                </p:cNvSpPr>
                <p:nvPr/>
              </p:nvSpPr>
              <p:spPr bwMode="auto">
                <a:xfrm>
                  <a:off x="374677" y="3642611"/>
                  <a:ext cx="51515" cy="51515"/>
                </a:xfrm>
                <a:custGeom>
                  <a:avLst/>
                  <a:gdLst>
                    <a:gd name="T0" fmla="*/ 226 w 495"/>
                    <a:gd name="T1" fmla="*/ 168 h 497"/>
                    <a:gd name="T2" fmla="*/ 188 w 495"/>
                    <a:gd name="T3" fmla="*/ 189 h 497"/>
                    <a:gd name="T4" fmla="*/ 167 w 495"/>
                    <a:gd name="T5" fmla="*/ 227 h 497"/>
                    <a:gd name="T6" fmla="*/ 167 w 495"/>
                    <a:gd name="T7" fmla="*/ 270 h 497"/>
                    <a:gd name="T8" fmla="*/ 188 w 495"/>
                    <a:gd name="T9" fmla="*/ 308 h 497"/>
                    <a:gd name="T10" fmla="*/ 226 w 495"/>
                    <a:gd name="T11" fmla="*/ 329 h 497"/>
                    <a:gd name="T12" fmla="*/ 269 w 495"/>
                    <a:gd name="T13" fmla="*/ 329 h 497"/>
                    <a:gd name="T14" fmla="*/ 306 w 495"/>
                    <a:gd name="T15" fmla="*/ 308 h 497"/>
                    <a:gd name="T16" fmla="*/ 328 w 495"/>
                    <a:gd name="T17" fmla="*/ 270 h 497"/>
                    <a:gd name="T18" fmla="*/ 328 w 495"/>
                    <a:gd name="T19" fmla="*/ 227 h 497"/>
                    <a:gd name="T20" fmla="*/ 306 w 495"/>
                    <a:gd name="T21" fmla="*/ 189 h 497"/>
                    <a:gd name="T22" fmla="*/ 269 w 495"/>
                    <a:gd name="T23" fmla="*/ 168 h 497"/>
                    <a:gd name="T24" fmla="*/ 247 w 495"/>
                    <a:gd name="T25" fmla="*/ 0 h 497"/>
                    <a:gd name="T26" fmla="*/ 319 w 495"/>
                    <a:gd name="T27" fmla="*/ 10 h 497"/>
                    <a:gd name="T28" fmla="*/ 382 w 495"/>
                    <a:gd name="T29" fmla="*/ 40 h 497"/>
                    <a:gd name="T30" fmla="*/ 435 w 495"/>
                    <a:gd name="T31" fmla="*/ 85 h 497"/>
                    <a:gd name="T32" fmla="*/ 472 w 495"/>
                    <a:gd name="T33" fmla="*/ 144 h 497"/>
                    <a:gd name="T34" fmla="*/ 492 w 495"/>
                    <a:gd name="T35" fmla="*/ 212 h 497"/>
                    <a:gd name="T36" fmla="*/ 492 w 495"/>
                    <a:gd name="T37" fmla="*/ 286 h 497"/>
                    <a:gd name="T38" fmla="*/ 472 w 495"/>
                    <a:gd name="T39" fmla="*/ 353 h 497"/>
                    <a:gd name="T40" fmla="*/ 435 w 495"/>
                    <a:gd name="T41" fmla="*/ 411 h 497"/>
                    <a:gd name="T42" fmla="*/ 382 w 495"/>
                    <a:gd name="T43" fmla="*/ 457 h 497"/>
                    <a:gd name="T44" fmla="*/ 319 w 495"/>
                    <a:gd name="T45" fmla="*/ 487 h 497"/>
                    <a:gd name="T46" fmla="*/ 247 w 495"/>
                    <a:gd name="T47" fmla="*/ 497 h 497"/>
                    <a:gd name="T48" fmla="*/ 176 w 495"/>
                    <a:gd name="T49" fmla="*/ 487 h 497"/>
                    <a:gd name="T50" fmla="*/ 113 w 495"/>
                    <a:gd name="T51" fmla="*/ 457 h 497"/>
                    <a:gd name="T52" fmla="*/ 60 w 495"/>
                    <a:gd name="T53" fmla="*/ 411 h 497"/>
                    <a:gd name="T54" fmla="*/ 23 w 495"/>
                    <a:gd name="T55" fmla="*/ 353 h 497"/>
                    <a:gd name="T56" fmla="*/ 3 w 495"/>
                    <a:gd name="T57" fmla="*/ 286 h 497"/>
                    <a:gd name="T58" fmla="*/ 3 w 495"/>
                    <a:gd name="T59" fmla="*/ 212 h 497"/>
                    <a:gd name="T60" fmla="*/ 23 w 495"/>
                    <a:gd name="T61" fmla="*/ 144 h 497"/>
                    <a:gd name="T62" fmla="*/ 60 w 495"/>
                    <a:gd name="T63" fmla="*/ 85 h 497"/>
                    <a:gd name="T64" fmla="*/ 113 w 495"/>
                    <a:gd name="T65" fmla="*/ 40 h 497"/>
                    <a:gd name="T66" fmla="*/ 176 w 495"/>
                    <a:gd name="T67" fmla="*/ 10 h 497"/>
                    <a:gd name="T68" fmla="*/ 247 w 495"/>
                    <a:gd name="T6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5" h="497">
                      <a:moveTo>
                        <a:pt x="247" y="165"/>
                      </a:moveTo>
                      <a:lnTo>
                        <a:pt x="226" y="168"/>
                      </a:lnTo>
                      <a:lnTo>
                        <a:pt x="206" y="176"/>
                      </a:lnTo>
                      <a:lnTo>
                        <a:pt x="188" y="189"/>
                      </a:lnTo>
                      <a:lnTo>
                        <a:pt x="175" y="206"/>
                      </a:lnTo>
                      <a:lnTo>
                        <a:pt x="167" y="227"/>
                      </a:lnTo>
                      <a:lnTo>
                        <a:pt x="164" y="248"/>
                      </a:lnTo>
                      <a:lnTo>
                        <a:pt x="167" y="270"/>
                      </a:lnTo>
                      <a:lnTo>
                        <a:pt x="175" y="291"/>
                      </a:lnTo>
                      <a:lnTo>
                        <a:pt x="188" y="308"/>
                      </a:lnTo>
                      <a:lnTo>
                        <a:pt x="206" y="321"/>
                      </a:lnTo>
                      <a:lnTo>
                        <a:pt x="226" y="329"/>
                      </a:lnTo>
                      <a:lnTo>
                        <a:pt x="247" y="332"/>
                      </a:lnTo>
                      <a:lnTo>
                        <a:pt x="269" y="329"/>
                      </a:lnTo>
                      <a:lnTo>
                        <a:pt x="289" y="321"/>
                      </a:lnTo>
                      <a:lnTo>
                        <a:pt x="306" y="308"/>
                      </a:lnTo>
                      <a:lnTo>
                        <a:pt x="320" y="291"/>
                      </a:lnTo>
                      <a:lnTo>
                        <a:pt x="328" y="270"/>
                      </a:lnTo>
                      <a:lnTo>
                        <a:pt x="331" y="248"/>
                      </a:lnTo>
                      <a:lnTo>
                        <a:pt x="328" y="227"/>
                      </a:lnTo>
                      <a:lnTo>
                        <a:pt x="320" y="206"/>
                      </a:lnTo>
                      <a:lnTo>
                        <a:pt x="306" y="189"/>
                      </a:lnTo>
                      <a:lnTo>
                        <a:pt x="289" y="176"/>
                      </a:lnTo>
                      <a:lnTo>
                        <a:pt x="269" y="168"/>
                      </a:lnTo>
                      <a:lnTo>
                        <a:pt x="247" y="165"/>
                      </a:lnTo>
                      <a:close/>
                      <a:moveTo>
                        <a:pt x="247" y="0"/>
                      </a:moveTo>
                      <a:lnTo>
                        <a:pt x="284" y="3"/>
                      </a:lnTo>
                      <a:lnTo>
                        <a:pt x="319" y="10"/>
                      </a:lnTo>
                      <a:lnTo>
                        <a:pt x="352" y="23"/>
                      </a:lnTo>
                      <a:lnTo>
                        <a:pt x="382" y="40"/>
                      </a:lnTo>
                      <a:lnTo>
                        <a:pt x="409" y="60"/>
                      </a:lnTo>
                      <a:lnTo>
                        <a:pt x="435" y="85"/>
                      </a:lnTo>
                      <a:lnTo>
                        <a:pt x="455" y="113"/>
                      </a:lnTo>
                      <a:lnTo>
                        <a:pt x="472" y="144"/>
                      </a:lnTo>
                      <a:lnTo>
                        <a:pt x="485" y="177"/>
                      </a:lnTo>
                      <a:lnTo>
                        <a:pt x="492" y="212"/>
                      </a:lnTo>
                      <a:lnTo>
                        <a:pt x="495" y="248"/>
                      </a:lnTo>
                      <a:lnTo>
                        <a:pt x="492" y="286"/>
                      </a:lnTo>
                      <a:lnTo>
                        <a:pt x="485" y="320"/>
                      </a:lnTo>
                      <a:lnTo>
                        <a:pt x="472" y="353"/>
                      </a:lnTo>
                      <a:lnTo>
                        <a:pt x="455" y="384"/>
                      </a:lnTo>
                      <a:lnTo>
                        <a:pt x="435" y="411"/>
                      </a:lnTo>
                      <a:lnTo>
                        <a:pt x="409" y="437"/>
                      </a:lnTo>
                      <a:lnTo>
                        <a:pt x="382" y="457"/>
                      </a:lnTo>
                      <a:lnTo>
                        <a:pt x="352" y="474"/>
                      </a:lnTo>
                      <a:lnTo>
                        <a:pt x="319" y="487"/>
                      </a:lnTo>
                      <a:lnTo>
                        <a:pt x="284" y="494"/>
                      </a:lnTo>
                      <a:lnTo>
                        <a:pt x="247" y="497"/>
                      </a:lnTo>
                      <a:lnTo>
                        <a:pt x="211" y="494"/>
                      </a:lnTo>
                      <a:lnTo>
                        <a:pt x="176" y="487"/>
                      </a:lnTo>
                      <a:lnTo>
                        <a:pt x="143" y="474"/>
                      </a:lnTo>
                      <a:lnTo>
                        <a:pt x="113" y="457"/>
                      </a:lnTo>
                      <a:lnTo>
                        <a:pt x="84" y="437"/>
                      </a:lnTo>
                      <a:lnTo>
                        <a:pt x="60" y="411"/>
                      </a:lnTo>
                      <a:lnTo>
                        <a:pt x="40" y="384"/>
                      </a:lnTo>
                      <a:lnTo>
                        <a:pt x="23" y="353"/>
                      </a:lnTo>
                      <a:lnTo>
                        <a:pt x="10" y="320"/>
                      </a:lnTo>
                      <a:lnTo>
                        <a:pt x="3" y="286"/>
                      </a:lnTo>
                      <a:lnTo>
                        <a:pt x="0" y="248"/>
                      </a:lnTo>
                      <a:lnTo>
                        <a:pt x="3" y="212"/>
                      </a:lnTo>
                      <a:lnTo>
                        <a:pt x="10" y="177"/>
                      </a:lnTo>
                      <a:lnTo>
                        <a:pt x="23" y="144"/>
                      </a:lnTo>
                      <a:lnTo>
                        <a:pt x="40" y="113"/>
                      </a:lnTo>
                      <a:lnTo>
                        <a:pt x="60" y="85"/>
                      </a:lnTo>
                      <a:lnTo>
                        <a:pt x="84" y="60"/>
                      </a:lnTo>
                      <a:lnTo>
                        <a:pt x="113" y="40"/>
                      </a:lnTo>
                      <a:lnTo>
                        <a:pt x="143" y="23"/>
                      </a:lnTo>
                      <a:lnTo>
                        <a:pt x="176" y="10"/>
                      </a:lnTo>
                      <a:lnTo>
                        <a:pt x="211" y="3"/>
                      </a:lnTo>
                      <a:lnTo>
                        <a:pt x="24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4" name="Freeform 96"/>
                <p:cNvSpPr>
                  <a:spLocks noEditPoints="1"/>
                </p:cNvSpPr>
                <p:nvPr/>
              </p:nvSpPr>
              <p:spPr bwMode="auto">
                <a:xfrm>
                  <a:off x="332528" y="3598902"/>
                  <a:ext cx="51515" cy="53076"/>
                </a:xfrm>
                <a:custGeom>
                  <a:avLst/>
                  <a:gdLst>
                    <a:gd name="T0" fmla="*/ 226 w 495"/>
                    <a:gd name="T1" fmla="*/ 168 h 498"/>
                    <a:gd name="T2" fmla="*/ 190 w 495"/>
                    <a:gd name="T3" fmla="*/ 191 h 498"/>
                    <a:gd name="T4" fmla="*/ 167 w 495"/>
                    <a:gd name="T5" fmla="*/ 227 h 498"/>
                    <a:gd name="T6" fmla="*/ 167 w 495"/>
                    <a:gd name="T7" fmla="*/ 272 h 498"/>
                    <a:gd name="T8" fmla="*/ 190 w 495"/>
                    <a:gd name="T9" fmla="*/ 308 h 498"/>
                    <a:gd name="T10" fmla="*/ 226 w 495"/>
                    <a:gd name="T11" fmla="*/ 329 h 498"/>
                    <a:gd name="T12" fmla="*/ 270 w 495"/>
                    <a:gd name="T13" fmla="*/ 329 h 498"/>
                    <a:gd name="T14" fmla="*/ 307 w 495"/>
                    <a:gd name="T15" fmla="*/ 308 h 498"/>
                    <a:gd name="T16" fmla="*/ 329 w 495"/>
                    <a:gd name="T17" fmla="*/ 272 h 498"/>
                    <a:gd name="T18" fmla="*/ 329 w 495"/>
                    <a:gd name="T19" fmla="*/ 227 h 498"/>
                    <a:gd name="T20" fmla="*/ 307 w 495"/>
                    <a:gd name="T21" fmla="*/ 191 h 498"/>
                    <a:gd name="T22" fmla="*/ 270 w 495"/>
                    <a:gd name="T23" fmla="*/ 168 h 498"/>
                    <a:gd name="T24" fmla="*/ 248 w 495"/>
                    <a:gd name="T25" fmla="*/ 0 h 498"/>
                    <a:gd name="T26" fmla="*/ 320 w 495"/>
                    <a:gd name="T27" fmla="*/ 11 h 498"/>
                    <a:gd name="T28" fmla="*/ 383 w 495"/>
                    <a:gd name="T29" fmla="*/ 41 h 498"/>
                    <a:gd name="T30" fmla="*/ 435 w 495"/>
                    <a:gd name="T31" fmla="*/ 86 h 498"/>
                    <a:gd name="T32" fmla="*/ 473 w 495"/>
                    <a:gd name="T33" fmla="*/ 144 h 498"/>
                    <a:gd name="T34" fmla="*/ 493 w 495"/>
                    <a:gd name="T35" fmla="*/ 213 h 498"/>
                    <a:gd name="T36" fmla="*/ 493 w 495"/>
                    <a:gd name="T37" fmla="*/ 286 h 498"/>
                    <a:gd name="T38" fmla="*/ 473 w 495"/>
                    <a:gd name="T39" fmla="*/ 354 h 498"/>
                    <a:gd name="T40" fmla="*/ 435 w 495"/>
                    <a:gd name="T41" fmla="*/ 413 h 498"/>
                    <a:gd name="T42" fmla="*/ 383 w 495"/>
                    <a:gd name="T43" fmla="*/ 458 h 498"/>
                    <a:gd name="T44" fmla="*/ 320 w 495"/>
                    <a:gd name="T45" fmla="*/ 488 h 498"/>
                    <a:gd name="T46" fmla="*/ 248 w 495"/>
                    <a:gd name="T47" fmla="*/ 498 h 498"/>
                    <a:gd name="T48" fmla="*/ 177 w 495"/>
                    <a:gd name="T49" fmla="*/ 488 h 498"/>
                    <a:gd name="T50" fmla="*/ 113 w 495"/>
                    <a:gd name="T51" fmla="*/ 458 h 498"/>
                    <a:gd name="T52" fmla="*/ 61 w 495"/>
                    <a:gd name="T53" fmla="*/ 413 h 498"/>
                    <a:gd name="T54" fmla="*/ 23 w 495"/>
                    <a:gd name="T55" fmla="*/ 354 h 498"/>
                    <a:gd name="T56" fmla="*/ 3 w 495"/>
                    <a:gd name="T57" fmla="*/ 286 h 498"/>
                    <a:gd name="T58" fmla="*/ 3 w 495"/>
                    <a:gd name="T59" fmla="*/ 213 h 498"/>
                    <a:gd name="T60" fmla="*/ 23 w 495"/>
                    <a:gd name="T61" fmla="*/ 144 h 498"/>
                    <a:gd name="T62" fmla="*/ 61 w 495"/>
                    <a:gd name="T63" fmla="*/ 86 h 498"/>
                    <a:gd name="T64" fmla="*/ 113 w 495"/>
                    <a:gd name="T65" fmla="*/ 41 h 498"/>
                    <a:gd name="T66" fmla="*/ 177 w 495"/>
                    <a:gd name="T67" fmla="*/ 11 h 498"/>
                    <a:gd name="T68" fmla="*/ 248 w 495"/>
                    <a:gd name="T69" fmla="*/ 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5" h="498">
                      <a:moveTo>
                        <a:pt x="248" y="165"/>
                      </a:moveTo>
                      <a:lnTo>
                        <a:pt x="226" y="168"/>
                      </a:lnTo>
                      <a:lnTo>
                        <a:pt x="206" y="177"/>
                      </a:lnTo>
                      <a:lnTo>
                        <a:pt x="190" y="191"/>
                      </a:lnTo>
                      <a:lnTo>
                        <a:pt x="177" y="207"/>
                      </a:lnTo>
                      <a:lnTo>
                        <a:pt x="167" y="227"/>
                      </a:lnTo>
                      <a:lnTo>
                        <a:pt x="164" y="249"/>
                      </a:lnTo>
                      <a:lnTo>
                        <a:pt x="167" y="272"/>
                      </a:lnTo>
                      <a:lnTo>
                        <a:pt x="177" y="292"/>
                      </a:lnTo>
                      <a:lnTo>
                        <a:pt x="190" y="308"/>
                      </a:lnTo>
                      <a:lnTo>
                        <a:pt x="206" y="321"/>
                      </a:lnTo>
                      <a:lnTo>
                        <a:pt x="226" y="329"/>
                      </a:lnTo>
                      <a:lnTo>
                        <a:pt x="248" y="333"/>
                      </a:lnTo>
                      <a:lnTo>
                        <a:pt x="270" y="329"/>
                      </a:lnTo>
                      <a:lnTo>
                        <a:pt x="291" y="321"/>
                      </a:lnTo>
                      <a:lnTo>
                        <a:pt x="307" y="308"/>
                      </a:lnTo>
                      <a:lnTo>
                        <a:pt x="320" y="292"/>
                      </a:lnTo>
                      <a:lnTo>
                        <a:pt x="329" y="272"/>
                      </a:lnTo>
                      <a:lnTo>
                        <a:pt x="331" y="249"/>
                      </a:lnTo>
                      <a:lnTo>
                        <a:pt x="329" y="227"/>
                      </a:lnTo>
                      <a:lnTo>
                        <a:pt x="320" y="207"/>
                      </a:lnTo>
                      <a:lnTo>
                        <a:pt x="307" y="191"/>
                      </a:lnTo>
                      <a:lnTo>
                        <a:pt x="291" y="177"/>
                      </a:lnTo>
                      <a:lnTo>
                        <a:pt x="270" y="168"/>
                      </a:lnTo>
                      <a:lnTo>
                        <a:pt x="248" y="165"/>
                      </a:lnTo>
                      <a:close/>
                      <a:moveTo>
                        <a:pt x="248" y="0"/>
                      </a:moveTo>
                      <a:lnTo>
                        <a:pt x="284" y="3"/>
                      </a:lnTo>
                      <a:lnTo>
                        <a:pt x="320" y="11"/>
                      </a:lnTo>
                      <a:lnTo>
                        <a:pt x="352" y="23"/>
                      </a:lnTo>
                      <a:lnTo>
                        <a:pt x="383" y="41"/>
                      </a:lnTo>
                      <a:lnTo>
                        <a:pt x="411" y="62"/>
                      </a:lnTo>
                      <a:lnTo>
                        <a:pt x="435" y="86"/>
                      </a:lnTo>
                      <a:lnTo>
                        <a:pt x="456" y="114"/>
                      </a:lnTo>
                      <a:lnTo>
                        <a:pt x="473" y="144"/>
                      </a:lnTo>
                      <a:lnTo>
                        <a:pt x="485" y="177"/>
                      </a:lnTo>
                      <a:lnTo>
                        <a:pt x="493" y="213"/>
                      </a:lnTo>
                      <a:lnTo>
                        <a:pt x="495" y="249"/>
                      </a:lnTo>
                      <a:lnTo>
                        <a:pt x="493" y="286"/>
                      </a:lnTo>
                      <a:lnTo>
                        <a:pt x="485" y="321"/>
                      </a:lnTo>
                      <a:lnTo>
                        <a:pt x="473" y="354"/>
                      </a:lnTo>
                      <a:lnTo>
                        <a:pt x="456" y="384"/>
                      </a:lnTo>
                      <a:lnTo>
                        <a:pt x="435" y="413"/>
                      </a:lnTo>
                      <a:lnTo>
                        <a:pt x="411" y="437"/>
                      </a:lnTo>
                      <a:lnTo>
                        <a:pt x="383" y="458"/>
                      </a:lnTo>
                      <a:lnTo>
                        <a:pt x="352" y="475"/>
                      </a:lnTo>
                      <a:lnTo>
                        <a:pt x="320" y="488"/>
                      </a:lnTo>
                      <a:lnTo>
                        <a:pt x="284" y="496"/>
                      </a:lnTo>
                      <a:lnTo>
                        <a:pt x="248" y="498"/>
                      </a:lnTo>
                      <a:lnTo>
                        <a:pt x="212" y="496"/>
                      </a:lnTo>
                      <a:lnTo>
                        <a:pt x="177" y="488"/>
                      </a:lnTo>
                      <a:lnTo>
                        <a:pt x="144" y="475"/>
                      </a:lnTo>
                      <a:lnTo>
                        <a:pt x="113" y="458"/>
                      </a:lnTo>
                      <a:lnTo>
                        <a:pt x="86" y="437"/>
                      </a:lnTo>
                      <a:lnTo>
                        <a:pt x="61" y="413"/>
                      </a:lnTo>
                      <a:lnTo>
                        <a:pt x="40" y="384"/>
                      </a:lnTo>
                      <a:lnTo>
                        <a:pt x="23" y="354"/>
                      </a:lnTo>
                      <a:lnTo>
                        <a:pt x="11" y="321"/>
                      </a:lnTo>
                      <a:lnTo>
                        <a:pt x="3" y="286"/>
                      </a:lnTo>
                      <a:lnTo>
                        <a:pt x="0" y="249"/>
                      </a:lnTo>
                      <a:lnTo>
                        <a:pt x="3" y="213"/>
                      </a:lnTo>
                      <a:lnTo>
                        <a:pt x="11" y="177"/>
                      </a:lnTo>
                      <a:lnTo>
                        <a:pt x="23" y="144"/>
                      </a:lnTo>
                      <a:lnTo>
                        <a:pt x="40" y="114"/>
                      </a:lnTo>
                      <a:lnTo>
                        <a:pt x="61" y="86"/>
                      </a:lnTo>
                      <a:lnTo>
                        <a:pt x="86" y="62"/>
                      </a:lnTo>
                      <a:lnTo>
                        <a:pt x="113" y="41"/>
                      </a:lnTo>
                      <a:lnTo>
                        <a:pt x="144" y="23"/>
                      </a:lnTo>
                      <a:lnTo>
                        <a:pt x="177" y="11"/>
                      </a:lnTo>
                      <a:lnTo>
                        <a:pt x="212" y="3"/>
                      </a:lnTo>
                      <a:lnTo>
                        <a:pt x="24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5" name="Freeform 97"/>
                <p:cNvSpPr>
                  <a:spLocks noEditPoints="1"/>
                </p:cNvSpPr>
                <p:nvPr/>
              </p:nvSpPr>
              <p:spPr bwMode="auto">
                <a:xfrm>
                  <a:off x="418387" y="3598902"/>
                  <a:ext cx="51515" cy="53076"/>
                </a:xfrm>
                <a:custGeom>
                  <a:avLst/>
                  <a:gdLst>
                    <a:gd name="T0" fmla="*/ 225 w 496"/>
                    <a:gd name="T1" fmla="*/ 168 h 498"/>
                    <a:gd name="T2" fmla="*/ 189 w 496"/>
                    <a:gd name="T3" fmla="*/ 191 h 498"/>
                    <a:gd name="T4" fmla="*/ 168 w 496"/>
                    <a:gd name="T5" fmla="*/ 227 h 498"/>
                    <a:gd name="T6" fmla="*/ 168 w 496"/>
                    <a:gd name="T7" fmla="*/ 272 h 498"/>
                    <a:gd name="T8" fmla="*/ 189 w 496"/>
                    <a:gd name="T9" fmla="*/ 308 h 498"/>
                    <a:gd name="T10" fmla="*/ 225 w 496"/>
                    <a:gd name="T11" fmla="*/ 329 h 498"/>
                    <a:gd name="T12" fmla="*/ 270 w 496"/>
                    <a:gd name="T13" fmla="*/ 329 h 498"/>
                    <a:gd name="T14" fmla="*/ 307 w 496"/>
                    <a:gd name="T15" fmla="*/ 308 h 498"/>
                    <a:gd name="T16" fmla="*/ 328 w 496"/>
                    <a:gd name="T17" fmla="*/ 272 h 498"/>
                    <a:gd name="T18" fmla="*/ 328 w 496"/>
                    <a:gd name="T19" fmla="*/ 227 h 498"/>
                    <a:gd name="T20" fmla="*/ 307 w 496"/>
                    <a:gd name="T21" fmla="*/ 191 h 498"/>
                    <a:gd name="T22" fmla="*/ 270 w 496"/>
                    <a:gd name="T23" fmla="*/ 168 h 498"/>
                    <a:gd name="T24" fmla="*/ 248 w 496"/>
                    <a:gd name="T25" fmla="*/ 0 h 498"/>
                    <a:gd name="T26" fmla="*/ 319 w 496"/>
                    <a:gd name="T27" fmla="*/ 11 h 498"/>
                    <a:gd name="T28" fmla="*/ 383 w 496"/>
                    <a:gd name="T29" fmla="*/ 41 h 498"/>
                    <a:gd name="T30" fmla="*/ 435 w 496"/>
                    <a:gd name="T31" fmla="*/ 86 h 498"/>
                    <a:gd name="T32" fmla="*/ 473 w 496"/>
                    <a:gd name="T33" fmla="*/ 144 h 498"/>
                    <a:gd name="T34" fmla="*/ 493 w 496"/>
                    <a:gd name="T35" fmla="*/ 213 h 498"/>
                    <a:gd name="T36" fmla="*/ 493 w 496"/>
                    <a:gd name="T37" fmla="*/ 286 h 498"/>
                    <a:gd name="T38" fmla="*/ 473 w 496"/>
                    <a:gd name="T39" fmla="*/ 354 h 498"/>
                    <a:gd name="T40" fmla="*/ 435 w 496"/>
                    <a:gd name="T41" fmla="*/ 413 h 498"/>
                    <a:gd name="T42" fmla="*/ 383 w 496"/>
                    <a:gd name="T43" fmla="*/ 458 h 498"/>
                    <a:gd name="T44" fmla="*/ 319 w 496"/>
                    <a:gd name="T45" fmla="*/ 488 h 498"/>
                    <a:gd name="T46" fmla="*/ 248 w 496"/>
                    <a:gd name="T47" fmla="*/ 498 h 498"/>
                    <a:gd name="T48" fmla="*/ 176 w 496"/>
                    <a:gd name="T49" fmla="*/ 488 h 498"/>
                    <a:gd name="T50" fmla="*/ 113 w 496"/>
                    <a:gd name="T51" fmla="*/ 458 h 498"/>
                    <a:gd name="T52" fmla="*/ 61 w 496"/>
                    <a:gd name="T53" fmla="*/ 413 h 498"/>
                    <a:gd name="T54" fmla="*/ 24 w 496"/>
                    <a:gd name="T55" fmla="*/ 354 h 498"/>
                    <a:gd name="T56" fmla="*/ 2 w 496"/>
                    <a:gd name="T57" fmla="*/ 286 h 498"/>
                    <a:gd name="T58" fmla="*/ 2 w 496"/>
                    <a:gd name="T59" fmla="*/ 213 h 498"/>
                    <a:gd name="T60" fmla="*/ 24 w 496"/>
                    <a:gd name="T61" fmla="*/ 144 h 498"/>
                    <a:gd name="T62" fmla="*/ 61 w 496"/>
                    <a:gd name="T63" fmla="*/ 86 h 498"/>
                    <a:gd name="T64" fmla="*/ 113 w 496"/>
                    <a:gd name="T65" fmla="*/ 41 h 498"/>
                    <a:gd name="T66" fmla="*/ 176 w 496"/>
                    <a:gd name="T67" fmla="*/ 11 h 498"/>
                    <a:gd name="T68" fmla="*/ 248 w 496"/>
                    <a:gd name="T69" fmla="*/ 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6" h="498">
                      <a:moveTo>
                        <a:pt x="248" y="165"/>
                      </a:moveTo>
                      <a:lnTo>
                        <a:pt x="225" y="168"/>
                      </a:lnTo>
                      <a:lnTo>
                        <a:pt x="206" y="177"/>
                      </a:lnTo>
                      <a:lnTo>
                        <a:pt x="189" y="191"/>
                      </a:lnTo>
                      <a:lnTo>
                        <a:pt x="176" y="207"/>
                      </a:lnTo>
                      <a:lnTo>
                        <a:pt x="168" y="227"/>
                      </a:lnTo>
                      <a:lnTo>
                        <a:pt x="165" y="249"/>
                      </a:lnTo>
                      <a:lnTo>
                        <a:pt x="168" y="272"/>
                      </a:lnTo>
                      <a:lnTo>
                        <a:pt x="176" y="292"/>
                      </a:lnTo>
                      <a:lnTo>
                        <a:pt x="189" y="308"/>
                      </a:lnTo>
                      <a:lnTo>
                        <a:pt x="206" y="321"/>
                      </a:lnTo>
                      <a:lnTo>
                        <a:pt x="225" y="329"/>
                      </a:lnTo>
                      <a:lnTo>
                        <a:pt x="248" y="333"/>
                      </a:lnTo>
                      <a:lnTo>
                        <a:pt x="270" y="329"/>
                      </a:lnTo>
                      <a:lnTo>
                        <a:pt x="290" y="321"/>
                      </a:lnTo>
                      <a:lnTo>
                        <a:pt x="307" y="308"/>
                      </a:lnTo>
                      <a:lnTo>
                        <a:pt x="319" y="292"/>
                      </a:lnTo>
                      <a:lnTo>
                        <a:pt x="328" y="272"/>
                      </a:lnTo>
                      <a:lnTo>
                        <a:pt x="331" y="249"/>
                      </a:lnTo>
                      <a:lnTo>
                        <a:pt x="328" y="227"/>
                      </a:lnTo>
                      <a:lnTo>
                        <a:pt x="319" y="207"/>
                      </a:lnTo>
                      <a:lnTo>
                        <a:pt x="307" y="191"/>
                      </a:lnTo>
                      <a:lnTo>
                        <a:pt x="290" y="177"/>
                      </a:lnTo>
                      <a:lnTo>
                        <a:pt x="270" y="168"/>
                      </a:lnTo>
                      <a:lnTo>
                        <a:pt x="248" y="165"/>
                      </a:lnTo>
                      <a:close/>
                      <a:moveTo>
                        <a:pt x="248" y="0"/>
                      </a:moveTo>
                      <a:lnTo>
                        <a:pt x="284" y="3"/>
                      </a:lnTo>
                      <a:lnTo>
                        <a:pt x="319" y="11"/>
                      </a:lnTo>
                      <a:lnTo>
                        <a:pt x="353" y="23"/>
                      </a:lnTo>
                      <a:lnTo>
                        <a:pt x="383" y="41"/>
                      </a:lnTo>
                      <a:lnTo>
                        <a:pt x="410" y="62"/>
                      </a:lnTo>
                      <a:lnTo>
                        <a:pt x="435" y="86"/>
                      </a:lnTo>
                      <a:lnTo>
                        <a:pt x="456" y="114"/>
                      </a:lnTo>
                      <a:lnTo>
                        <a:pt x="473" y="144"/>
                      </a:lnTo>
                      <a:lnTo>
                        <a:pt x="485" y="177"/>
                      </a:lnTo>
                      <a:lnTo>
                        <a:pt x="493" y="213"/>
                      </a:lnTo>
                      <a:lnTo>
                        <a:pt x="496" y="249"/>
                      </a:lnTo>
                      <a:lnTo>
                        <a:pt x="493" y="286"/>
                      </a:lnTo>
                      <a:lnTo>
                        <a:pt x="485" y="321"/>
                      </a:lnTo>
                      <a:lnTo>
                        <a:pt x="473" y="354"/>
                      </a:lnTo>
                      <a:lnTo>
                        <a:pt x="456" y="384"/>
                      </a:lnTo>
                      <a:lnTo>
                        <a:pt x="435" y="413"/>
                      </a:lnTo>
                      <a:lnTo>
                        <a:pt x="410" y="437"/>
                      </a:lnTo>
                      <a:lnTo>
                        <a:pt x="383" y="458"/>
                      </a:lnTo>
                      <a:lnTo>
                        <a:pt x="353" y="475"/>
                      </a:lnTo>
                      <a:lnTo>
                        <a:pt x="319" y="488"/>
                      </a:lnTo>
                      <a:lnTo>
                        <a:pt x="284" y="496"/>
                      </a:lnTo>
                      <a:lnTo>
                        <a:pt x="248" y="498"/>
                      </a:lnTo>
                      <a:lnTo>
                        <a:pt x="211" y="496"/>
                      </a:lnTo>
                      <a:lnTo>
                        <a:pt x="176" y="488"/>
                      </a:lnTo>
                      <a:lnTo>
                        <a:pt x="144" y="475"/>
                      </a:lnTo>
                      <a:lnTo>
                        <a:pt x="113" y="458"/>
                      </a:lnTo>
                      <a:lnTo>
                        <a:pt x="85" y="437"/>
                      </a:lnTo>
                      <a:lnTo>
                        <a:pt x="61" y="413"/>
                      </a:lnTo>
                      <a:lnTo>
                        <a:pt x="40" y="384"/>
                      </a:lnTo>
                      <a:lnTo>
                        <a:pt x="24" y="354"/>
                      </a:lnTo>
                      <a:lnTo>
                        <a:pt x="10" y="321"/>
                      </a:lnTo>
                      <a:lnTo>
                        <a:pt x="2" y="286"/>
                      </a:lnTo>
                      <a:lnTo>
                        <a:pt x="0" y="249"/>
                      </a:lnTo>
                      <a:lnTo>
                        <a:pt x="2" y="213"/>
                      </a:lnTo>
                      <a:lnTo>
                        <a:pt x="10" y="177"/>
                      </a:lnTo>
                      <a:lnTo>
                        <a:pt x="24" y="144"/>
                      </a:lnTo>
                      <a:lnTo>
                        <a:pt x="40" y="114"/>
                      </a:lnTo>
                      <a:lnTo>
                        <a:pt x="61" y="86"/>
                      </a:lnTo>
                      <a:lnTo>
                        <a:pt x="85" y="62"/>
                      </a:lnTo>
                      <a:lnTo>
                        <a:pt x="113" y="41"/>
                      </a:lnTo>
                      <a:lnTo>
                        <a:pt x="144" y="23"/>
                      </a:lnTo>
                      <a:lnTo>
                        <a:pt x="176" y="11"/>
                      </a:lnTo>
                      <a:lnTo>
                        <a:pt x="211" y="3"/>
                      </a:lnTo>
                      <a:lnTo>
                        <a:pt x="24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06" name="Freeform 98"/>
                <p:cNvSpPr>
                  <a:spLocks noEditPoints="1"/>
                </p:cNvSpPr>
                <p:nvPr/>
              </p:nvSpPr>
              <p:spPr bwMode="auto">
                <a:xfrm>
                  <a:off x="296624" y="3538020"/>
                  <a:ext cx="224792" cy="182644"/>
                </a:xfrm>
                <a:custGeom>
                  <a:avLst/>
                  <a:gdLst>
                    <a:gd name="T0" fmla="*/ 333 w 2169"/>
                    <a:gd name="T1" fmla="*/ 555 h 1753"/>
                    <a:gd name="T2" fmla="*/ 262 w 2169"/>
                    <a:gd name="T3" fmla="*/ 673 h 1753"/>
                    <a:gd name="T4" fmla="*/ 209 w 2169"/>
                    <a:gd name="T5" fmla="*/ 802 h 1753"/>
                    <a:gd name="T6" fmla="*/ 175 w 2169"/>
                    <a:gd name="T7" fmla="*/ 940 h 1753"/>
                    <a:gd name="T8" fmla="*/ 164 w 2169"/>
                    <a:gd name="T9" fmla="*/ 1085 h 1753"/>
                    <a:gd name="T10" fmla="*/ 174 w 2169"/>
                    <a:gd name="T11" fmla="*/ 1219 h 1753"/>
                    <a:gd name="T12" fmla="*/ 203 w 2169"/>
                    <a:gd name="T13" fmla="*/ 1347 h 1753"/>
                    <a:gd name="T14" fmla="*/ 249 w 2169"/>
                    <a:gd name="T15" fmla="*/ 1471 h 1753"/>
                    <a:gd name="T16" fmla="*/ 313 w 2169"/>
                    <a:gd name="T17" fmla="*/ 1588 h 1753"/>
                    <a:gd name="T18" fmla="*/ 341 w 2169"/>
                    <a:gd name="T19" fmla="*/ 1588 h 1753"/>
                    <a:gd name="T20" fmla="*/ 2005 w 2169"/>
                    <a:gd name="T21" fmla="*/ 1408 h 1753"/>
                    <a:gd name="T22" fmla="*/ 1924 w 2169"/>
                    <a:gd name="T23" fmla="*/ 1375 h 1753"/>
                    <a:gd name="T24" fmla="*/ 1855 w 2169"/>
                    <a:gd name="T25" fmla="*/ 1323 h 1753"/>
                    <a:gd name="T26" fmla="*/ 1802 w 2169"/>
                    <a:gd name="T27" fmla="*/ 1255 h 1753"/>
                    <a:gd name="T28" fmla="*/ 1768 w 2169"/>
                    <a:gd name="T29" fmla="*/ 1175 h 1753"/>
                    <a:gd name="T30" fmla="*/ 1756 w 2169"/>
                    <a:gd name="T31" fmla="*/ 1085 h 1753"/>
                    <a:gd name="T32" fmla="*/ 1768 w 2169"/>
                    <a:gd name="T33" fmla="*/ 996 h 1753"/>
                    <a:gd name="T34" fmla="*/ 1802 w 2169"/>
                    <a:gd name="T35" fmla="*/ 914 h 1753"/>
                    <a:gd name="T36" fmla="*/ 1855 w 2169"/>
                    <a:gd name="T37" fmla="*/ 848 h 1753"/>
                    <a:gd name="T38" fmla="*/ 1924 w 2169"/>
                    <a:gd name="T39" fmla="*/ 795 h 1753"/>
                    <a:gd name="T40" fmla="*/ 2005 w 2169"/>
                    <a:gd name="T41" fmla="*/ 762 h 1753"/>
                    <a:gd name="T42" fmla="*/ 374 w 2169"/>
                    <a:gd name="T43" fmla="*/ 500 h 1753"/>
                    <a:gd name="T44" fmla="*/ 996 w 2169"/>
                    <a:gd name="T45" fmla="*/ 169 h 1753"/>
                    <a:gd name="T46" fmla="*/ 859 w 2169"/>
                    <a:gd name="T47" fmla="*/ 193 h 1753"/>
                    <a:gd name="T48" fmla="*/ 728 w 2169"/>
                    <a:gd name="T49" fmla="*/ 236 h 1753"/>
                    <a:gd name="T50" fmla="*/ 608 w 2169"/>
                    <a:gd name="T51" fmla="*/ 297 h 1753"/>
                    <a:gd name="T52" fmla="*/ 1575 w 2169"/>
                    <a:gd name="T53" fmla="*/ 335 h 1753"/>
                    <a:gd name="T54" fmla="*/ 1080 w 2169"/>
                    <a:gd name="T55" fmla="*/ 0 h 1753"/>
                    <a:gd name="T56" fmla="*/ 2169 w 2169"/>
                    <a:gd name="T57" fmla="*/ 357 h 1753"/>
                    <a:gd name="T58" fmla="*/ 2087 w 2169"/>
                    <a:gd name="T59" fmla="*/ 918 h 1753"/>
                    <a:gd name="T60" fmla="*/ 2029 w 2169"/>
                    <a:gd name="T61" fmla="*/ 928 h 1753"/>
                    <a:gd name="T62" fmla="*/ 1980 w 2169"/>
                    <a:gd name="T63" fmla="*/ 957 h 1753"/>
                    <a:gd name="T64" fmla="*/ 1942 w 2169"/>
                    <a:gd name="T65" fmla="*/ 1001 h 1753"/>
                    <a:gd name="T66" fmla="*/ 1922 w 2169"/>
                    <a:gd name="T67" fmla="*/ 1055 h 1753"/>
                    <a:gd name="T68" fmla="*/ 1922 w 2169"/>
                    <a:gd name="T69" fmla="*/ 1115 h 1753"/>
                    <a:gd name="T70" fmla="*/ 1942 w 2169"/>
                    <a:gd name="T71" fmla="*/ 1170 h 1753"/>
                    <a:gd name="T72" fmla="*/ 1980 w 2169"/>
                    <a:gd name="T73" fmla="*/ 1214 h 1753"/>
                    <a:gd name="T74" fmla="*/ 2029 w 2169"/>
                    <a:gd name="T75" fmla="*/ 1243 h 1753"/>
                    <a:gd name="T76" fmla="*/ 2087 w 2169"/>
                    <a:gd name="T77" fmla="*/ 1253 h 1753"/>
                    <a:gd name="T78" fmla="*/ 2169 w 2169"/>
                    <a:gd name="T79" fmla="*/ 1752 h 1753"/>
                    <a:gd name="T80" fmla="*/ 1312 w 2169"/>
                    <a:gd name="T81" fmla="*/ 1753 h 1753"/>
                    <a:gd name="T82" fmla="*/ 203 w 2169"/>
                    <a:gd name="T83" fmla="*/ 1718 h 1753"/>
                    <a:gd name="T84" fmla="*/ 124 w 2169"/>
                    <a:gd name="T85" fmla="*/ 1590 h 1753"/>
                    <a:gd name="T86" fmla="*/ 63 w 2169"/>
                    <a:gd name="T87" fmla="*/ 1453 h 1753"/>
                    <a:gd name="T88" fmla="*/ 23 w 2169"/>
                    <a:gd name="T89" fmla="*/ 1310 h 1753"/>
                    <a:gd name="T90" fmla="*/ 3 w 2169"/>
                    <a:gd name="T91" fmla="*/ 1161 h 1753"/>
                    <a:gd name="T92" fmla="*/ 3 w 2169"/>
                    <a:gd name="T93" fmla="*/ 1005 h 1753"/>
                    <a:gd name="T94" fmla="*/ 26 w 2169"/>
                    <a:gd name="T95" fmla="*/ 848 h 1753"/>
                    <a:gd name="T96" fmla="*/ 70 w 2169"/>
                    <a:gd name="T97" fmla="*/ 700 h 1753"/>
                    <a:gd name="T98" fmla="*/ 135 w 2169"/>
                    <a:gd name="T99" fmla="*/ 561 h 1753"/>
                    <a:gd name="T100" fmla="*/ 218 w 2169"/>
                    <a:gd name="T101" fmla="*/ 433 h 1753"/>
                    <a:gd name="T102" fmla="*/ 317 w 2169"/>
                    <a:gd name="T103" fmla="*/ 318 h 1753"/>
                    <a:gd name="T104" fmla="*/ 431 w 2169"/>
                    <a:gd name="T105" fmla="*/ 219 h 1753"/>
                    <a:gd name="T106" fmla="*/ 557 w 2169"/>
                    <a:gd name="T107" fmla="*/ 136 h 1753"/>
                    <a:gd name="T108" fmla="*/ 695 w 2169"/>
                    <a:gd name="T109" fmla="*/ 71 h 1753"/>
                    <a:gd name="T110" fmla="*/ 843 w 2169"/>
                    <a:gd name="T111" fmla="*/ 27 h 1753"/>
                    <a:gd name="T112" fmla="*/ 999 w 2169"/>
                    <a:gd name="T113" fmla="*/ 3 h 1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9" h="1753">
                      <a:moveTo>
                        <a:pt x="374" y="500"/>
                      </a:moveTo>
                      <a:lnTo>
                        <a:pt x="333" y="555"/>
                      </a:lnTo>
                      <a:lnTo>
                        <a:pt x="295" y="612"/>
                      </a:lnTo>
                      <a:lnTo>
                        <a:pt x="262" y="673"/>
                      </a:lnTo>
                      <a:lnTo>
                        <a:pt x="233" y="736"/>
                      </a:lnTo>
                      <a:lnTo>
                        <a:pt x="209" y="802"/>
                      </a:lnTo>
                      <a:lnTo>
                        <a:pt x="190" y="870"/>
                      </a:lnTo>
                      <a:lnTo>
                        <a:pt x="175" y="940"/>
                      </a:lnTo>
                      <a:lnTo>
                        <a:pt x="167" y="1012"/>
                      </a:lnTo>
                      <a:lnTo>
                        <a:pt x="164" y="1085"/>
                      </a:lnTo>
                      <a:lnTo>
                        <a:pt x="167" y="1153"/>
                      </a:lnTo>
                      <a:lnTo>
                        <a:pt x="174" y="1219"/>
                      </a:lnTo>
                      <a:lnTo>
                        <a:pt x="185" y="1283"/>
                      </a:lnTo>
                      <a:lnTo>
                        <a:pt x="203" y="1347"/>
                      </a:lnTo>
                      <a:lnTo>
                        <a:pt x="223" y="1410"/>
                      </a:lnTo>
                      <a:lnTo>
                        <a:pt x="249" y="1471"/>
                      </a:lnTo>
                      <a:lnTo>
                        <a:pt x="278" y="1530"/>
                      </a:lnTo>
                      <a:lnTo>
                        <a:pt x="313" y="1588"/>
                      </a:lnTo>
                      <a:lnTo>
                        <a:pt x="341" y="1588"/>
                      </a:lnTo>
                      <a:lnTo>
                        <a:pt x="341" y="1588"/>
                      </a:lnTo>
                      <a:lnTo>
                        <a:pt x="2005" y="1588"/>
                      </a:lnTo>
                      <a:lnTo>
                        <a:pt x="2005" y="1408"/>
                      </a:lnTo>
                      <a:lnTo>
                        <a:pt x="1963" y="1394"/>
                      </a:lnTo>
                      <a:lnTo>
                        <a:pt x="1924" y="1375"/>
                      </a:lnTo>
                      <a:lnTo>
                        <a:pt x="1888" y="1351"/>
                      </a:lnTo>
                      <a:lnTo>
                        <a:pt x="1855" y="1323"/>
                      </a:lnTo>
                      <a:lnTo>
                        <a:pt x="1826" y="1291"/>
                      </a:lnTo>
                      <a:lnTo>
                        <a:pt x="1802" y="1255"/>
                      </a:lnTo>
                      <a:lnTo>
                        <a:pt x="1782" y="1217"/>
                      </a:lnTo>
                      <a:lnTo>
                        <a:pt x="1768" y="1175"/>
                      </a:lnTo>
                      <a:lnTo>
                        <a:pt x="1759" y="1131"/>
                      </a:lnTo>
                      <a:lnTo>
                        <a:pt x="1756" y="1085"/>
                      </a:lnTo>
                      <a:lnTo>
                        <a:pt x="1759" y="1039"/>
                      </a:lnTo>
                      <a:lnTo>
                        <a:pt x="1768" y="996"/>
                      </a:lnTo>
                      <a:lnTo>
                        <a:pt x="1782" y="954"/>
                      </a:lnTo>
                      <a:lnTo>
                        <a:pt x="1802" y="914"/>
                      </a:lnTo>
                      <a:lnTo>
                        <a:pt x="1826" y="879"/>
                      </a:lnTo>
                      <a:lnTo>
                        <a:pt x="1855" y="848"/>
                      </a:lnTo>
                      <a:lnTo>
                        <a:pt x="1888" y="819"/>
                      </a:lnTo>
                      <a:lnTo>
                        <a:pt x="1924" y="795"/>
                      </a:lnTo>
                      <a:lnTo>
                        <a:pt x="1963" y="777"/>
                      </a:lnTo>
                      <a:lnTo>
                        <a:pt x="2005" y="762"/>
                      </a:lnTo>
                      <a:lnTo>
                        <a:pt x="2005" y="500"/>
                      </a:lnTo>
                      <a:lnTo>
                        <a:pt x="374" y="500"/>
                      </a:lnTo>
                      <a:close/>
                      <a:moveTo>
                        <a:pt x="1066" y="165"/>
                      </a:moveTo>
                      <a:lnTo>
                        <a:pt x="996" y="169"/>
                      </a:lnTo>
                      <a:lnTo>
                        <a:pt x="926" y="179"/>
                      </a:lnTo>
                      <a:lnTo>
                        <a:pt x="859" y="193"/>
                      </a:lnTo>
                      <a:lnTo>
                        <a:pt x="792" y="212"/>
                      </a:lnTo>
                      <a:lnTo>
                        <a:pt x="728" y="236"/>
                      </a:lnTo>
                      <a:lnTo>
                        <a:pt x="667" y="265"/>
                      </a:lnTo>
                      <a:lnTo>
                        <a:pt x="608" y="297"/>
                      </a:lnTo>
                      <a:lnTo>
                        <a:pt x="552" y="335"/>
                      </a:lnTo>
                      <a:lnTo>
                        <a:pt x="1575" y="335"/>
                      </a:lnTo>
                      <a:lnTo>
                        <a:pt x="1066" y="165"/>
                      </a:lnTo>
                      <a:close/>
                      <a:moveTo>
                        <a:pt x="1080" y="0"/>
                      </a:moveTo>
                      <a:lnTo>
                        <a:pt x="1093" y="0"/>
                      </a:lnTo>
                      <a:lnTo>
                        <a:pt x="2169" y="357"/>
                      </a:lnTo>
                      <a:lnTo>
                        <a:pt x="2169" y="918"/>
                      </a:lnTo>
                      <a:lnTo>
                        <a:pt x="2087" y="918"/>
                      </a:lnTo>
                      <a:lnTo>
                        <a:pt x="2057" y="920"/>
                      </a:lnTo>
                      <a:lnTo>
                        <a:pt x="2029" y="928"/>
                      </a:lnTo>
                      <a:lnTo>
                        <a:pt x="2003" y="940"/>
                      </a:lnTo>
                      <a:lnTo>
                        <a:pt x="1980" y="957"/>
                      </a:lnTo>
                      <a:lnTo>
                        <a:pt x="1959" y="977"/>
                      </a:lnTo>
                      <a:lnTo>
                        <a:pt x="1942" y="1001"/>
                      </a:lnTo>
                      <a:lnTo>
                        <a:pt x="1930" y="1027"/>
                      </a:lnTo>
                      <a:lnTo>
                        <a:pt x="1922" y="1055"/>
                      </a:lnTo>
                      <a:lnTo>
                        <a:pt x="1920" y="1085"/>
                      </a:lnTo>
                      <a:lnTo>
                        <a:pt x="1922" y="1115"/>
                      </a:lnTo>
                      <a:lnTo>
                        <a:pt x="1930" y="1144"/>
                      </a:lnTo>
                      <a:lnTo>
                        <a:pt x="1942" y="1170"/>
                      </a:lnTo>
                      <a:lnTo>
                        <a:pt x="1959" y="1193"/>
                      </a:lnTo>
                      <a:lnTo>
                        <a:pt x="1980" y="1214"/>
                      </a:lnTo>
                      <a:lnTo>
                        <a:pt x="2003" y="1230"/>
                      </a:lnTo>
                      <a:lnTo>
                        <a:pt x="2029" y="1243"/>
                      </a:lnTo>
                      <a:lnTo>
                        <a:pt x="2057" y="1250"/>
                      </a:lnTo>
                      <a:lnTo>
                        <a:pt x="2087" y="1253"/>
                      </a:lnTo>
                      <a:lnTo>
                        <a:pt x="2169" y="1253"/>
                      </a:lnTo>
                      <a:lnTo>
                        <a:pt x="2169" y="1752"/>
                      </a:lnTo>
                      <a:lnTo>
                        <a:pt x="1312" y="1752"/>
                      </a:lnTo>
                      <a:lnTo>
                        <a:pt x="1312" y="1753"/>
                      </a:lnTo>
                      <a:lnTo>
                        <a:pt x="227" y="1753"/>
                      </a:lnTo>
                      <a:lnTo>
                        <a:pt x="203" y="1718"/>
                      </a:lnTo>
                      <a:lnTo>
                        <a:pt x="161" y="1655"/>
                      </a:lnTo>
                      <a:lnTo>
                        <a:pt x="124" y="1590"/>
                      </a:lnTo>
                      <a:lnTo>
                        <a:pt x="92" y="1523"/>
                      </a:lnTo>
                      <a:lnTo>
                        <a:pt x="63" y="1453"/>
                      </a:lnTo>
                      <a:lnTo>
                        <a:pt x="41" y="1382"/>
                      </a:lnTo>
                      <a:lnTo>
                        <a:pt x="23" y="1310"/>
                      </a:lnTo>
                      <a:lnTo>
                        <a:pt x="10" y="1236"/>
                      </a:lnTo>
                      <a:lnTo>
                        <a:pt x="3" y="1161"/>
                      </a:lnTo>
                      <a:lnTo>
                        <a:pt x="0" y="1085"/>
                      </a:lnTo>
                      <a:lnTo>
                        <a:pt x="3" y="1005"/>
                      </a:lnTo>
                      <a:lnTo>
                        <a:pt x="12" y="925"/>
                      </a:lnTo>
                      <a:lnTo>
                        <a:pt x="26" y="848"/>
                      </a:lnTo>
                      <a:lnTo>
                        <a:pt x="46" y="773"/>
                      </a:lnTo>
                      <a:lnTo>
                        <a:pt x="70" y="700"/>
                      </a:lnTo>
                      <a:lnTo>
                        <a:pt x="101" y="629"/>
                      </a:lnTo>
                      <a:lnTo>
                        <a:pt x="135" y="561"/>
                      </a:lnTo>
                      <a:lnTo>
                        <a:pt x="174" y="495"/>
                      </a:lnTo>
                      <a:lnTo>
                        <a:pt x="218" y="433"/>
                      </a:lnTo>
                      <a:lnTo>
                        <a:pt x="265" y="374"/>
                      </a:lnTo>
                      <a:lnTo>
                        <a:pt x="317" y="318"/>
                      </a:lnTo>
                      <a:lnTo>
                        <a:pt x="372" y="267"/>
                      </a:lnTo>
                      <a:lnTo>
                        <a:pt x="431" y="219"/>
                      </a:lnTo>
                      <a:lnTo>
                        <a:pt x="492" y="176"/>
                      </a:lnTo>
                      <a:lnTo>
                        <a:pt x="557" y="136"/>
                      </a:lnTo>
                      <a:lnTo>
                        <a:pt x="624" y="102"/>
                      </a:lnTo>
                      <a:lnTo>
                        <a:pt x="695" y="71"/>
                      </a:lnTo>
                      <a:lnTo>
                        <a:pt x="768" y="47"/>
                      </a:lnTo>
                      <a:lnTo>
                        <a:pt x="843" y="27"/>
                      </a:lnTo>
                      <a:lnTo>
                        <a:pt x="920" y="12"/>
                      </a:lnTo>
                      <a:lnTo>
                        <a:pt x="999" y="3"/>
                      </a:lnTo>
                      <a:lnTo>
                        <a:pt x="108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grpSp>
        </p:grpSp>
      </p:grpSp>
      <p:sp>
        <p:nvSpPr>
          <p:cNvPr id="241" name="Rechteck 240"/>
          <p:cNvSpPr/>
          <p:nvPr/>
        </p:nvSpPr>
        <p:spPr>
          <a:xfrm>
            <a:off x="395288" y="2032114"/>
            <a:ext cx="4650948" cy="1098827"/>
          </a:xfrm>
          <a:prstGeom prst="rect">
            <a:avLst/>
          </a:prstGeom>
        </p:spPr>
        <p:txBody>
          <a:bodyPr wrap="square">
            <a:spAutoFit/>
          </a:bodyPr>
          <a:lstStyle/>
          <a:p>
            <a:pPr>
              <a:lnSpc>
                <a:spcPct val="110000"/>
              </a:lnSpc>
              <a:spcBef>
                <a:spcPts val="1200"/>
              </a:spcBef>
              <a:spcAft>
                <a:spcPts val="1200"/>
              </a:spcAft>
              <a:buClr>
                <a:schemeClr val="accent1"/>
              </a:buClr>
            </a:pPr>
            <a:r>
              <a:rPr lang="en-US" sz="2000" b="1" dirty="0" err="1">
                <a:solidFill>
                  <a:schemeClr val="accent4"/>
                </a:solidFill>
              </a:rPr>
              <a:t>Kaufland</a:t>
            </a:r>
            <a:r>
              <a:rPr lang="en-US" sz="2000" b="1" dirty="0">
                <a:solidFill>
                  <a:schemeClr val="accent4"/>
                </a:solidFill>
              </a:rPr>
              <a:t> </a:t>
            </a:r>
            <a:r>
              <a:rPr lang="en-US" sz="2000" dirty="0"/>
              <a:t>offers its customers </a:t>
            </a:r>
            <a:br>
              <a:rPr lang="en-US" sz="2000" dirty="0"/>
            </a:br>
            <a:r>
              <a:rPr lang="en-US" sz="2000" dirty="0"/>
              <a:t>a wide range of food and everything for daily needs.</a:t>
            </a:r>
            <a:endParaRPr lang="de-DE" sz="2000" dirty="0"/>
          </a:p>
        </p:txBody>
      </p:sp>
      <p:sp>
        <p:nvSpPr>
          <p:cNvPr id="18" name="Rechteck 17"/>
          <p:cNvSpPr/>
          <p:nvPr/>
        </p:nvSpPr>
        <p:spPr>
          <a:xfrm>
            <a:off x="-5539058" y="205435"/>
            <a:ext cx="4572000" cy="1541961"/>
          </a:xfrm>
          <a:prstGeom prst="rect">
            <a:avLst/>
          </a:prstGeom>
        </p:spPr>
        <p:txBody>
          <a:bodyPr>
            <a:spAutoFit/>
          </a:bodyPr>
          <a:lstStyle/>
          <a:p>
            <a:pPr>
              <a:lnSpc>
                <a:spcPct val="110000"/>
              </a:lnSpc>
              <a:spcBef>
                <a:spcPts val="300"/>
              </a:spcBef>
              <a:spcAft>
                <a:spcPts val="300"/>
              </a:spcAft>
              <a:buClr>
                <a:schemeClr val="accent1"/>
              </a:buClr>
            </a:pPr>
            <a:endParaRPr lang="en-US" dirty="0"/>
          </a:p>
          <a:p>
            <a:pPr>
              <a:lnSpc>
                <a:spcPct val="110000"/>
              </a:lnSpc>
              <a:spcBef>
                <a:spcPts val="300"/>
              </a:spcBef>
              <a:spcAft>
                <a:spcPts val="300"/>
              </a:spcAft>
              <a:buClr>
                <a:schemeClr val="accent1"/>
              </a:buClr>
            </a:pPr>
            <a:endParaRPr lang="de-DE" dirty="0"/>
          </a:p>
          <a:p>
            <a:pPr>
              <a:lnSpc>
                <a:spcPct val="110000"/>
              </a:lnSpc>
              <a:spcBef>
                <a:spcPts val="300"/>
              </a:spcBef>
              <a:spcAft>
                <a:spcPts val="300"/>
              </a:spcAft>
              <a:buClr>
                <a:schemeClr val="accent1"/>
              </a:buClr>
            </a:pPr>
            <a:endParaRPr lang="de-DE" dirty="0"/>
          </a:p>
          <a:p>
            <a:pPr>
              <a:lnSpc>
                <a:spcPct val="110000"/>
              </a:lnSpc>
              <a:spcBef>
                <a:spcPts val="300"/>
              </a:spcBef>
              <a:spcAft>
                <a:spcPts val="300"/>
              </a:spcAft>
              <a:buClr>
                <a:schemeClr val="accent1"/>
              </a:buClr>
            </a:pPr>
            <a:endParaRPr lang="de-DE" dirty="0"/>
          </a:p>
        </p:txBody>
      </p:sp>
      <p:sp>
        <p:nvSpPr>
          <p:cNvPr id="2" name="Titel 1"/>
          <p:cNvSpPr>
            <a:spLocks noGrp="1"/>
          </p:cNvSpPr>
          <p:nvPr>
            <p:ph type="title"/>
          </p:nvPr>
        </p:nvSpPr>
        <p:spPr/>
        <p:txBody>
          <a:bodyPr/>
          <a:lstStyle/>
          <a:p>
            <a:endParaRPr lang="de-DE"/>
          </a:p>
        </p:txBody>
      </p:sp>
    </p:spTree>
    <p:extLst>
      <p:ext uri="{BB962C8B-B14F-4D97-AF65-F5344CB8AC3E}">
        <p14:creationId xmlns:p14="http://schemas.microsoft.com/office/powerpoint/2010/main" val="281686461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7" name="Group 7"/>
          <p:cNvGrpSpPr>
            <a:grpSpLocks noChangeAspect="1"/>
          </p:cNvGrpSpPr>
          <p:nvPr/>
        </p:nvGrpSpPr>
        <p:grpSpPr bwMode="auto">
          <a:xfrm>
            <a:off x="4835038" y="220990"/>
            <a:ext cx="4310506" cy="4066151"/>
            <a:chOff x="1748" y="-195"/>
            <a:chExt cx="3060" cy="2887"/>
          </a:xfrm>
        </p:grpSpPr>
        <p:sp>
          <p:nvSpPr>
            <p:cNvPr id="168" name="Freeform 8"/>
            <p:cNvSpPr>
              <a:spLocks/>
            </p:cNvSpPr>
            <p:nvPr/>
          </p:nvSpPr>
          <p:spPr bwMode="gray">
            <a:xfrm>
              <a:off x="3226" y="1263"/>
              <a:ext cx="143" cy="83"/>
            </a:xfrm>
            <a:custGeom>
              <a:avLst/>
              <a:gdLst>
                <a:gd name="T0" fmla="*/ 6 w 143"/>
                <a:gd name="T1" fmla="*/ 60 h 83"/>
                <a:gd name="T2" fmla="*/ 19 w 143"/>
                <a:gd name="T3" fmla="*/ 70 h 83"/>
                <a:gd name="T4" fmla="*/ 19 w 143"/>
                <a:gd name="T5" fmla="*/ 73 h 83"/>
                <a:gd name="T6" fmla="*/ 3 w 143"/>
                <a:gd name="T7" fmla="*/ 83 h 83"/>
                <a:gd name="T8" fmla="*/ 0 w 143"/>
                <a:gd name="T9" fmla="*/ 83 h 83"/>
                <a:gd name="T10" fmla="*/ 3 w 143"/>
                <a:gd name="T11" fmla="*/ 83 h 83"/>
                <a:gd name="T12" fmla="*/ 73 w 143"/>
                <a:gd name="T13" fmla="*/ 83 h 83"/>
                <a:gd name="T14" fmla="*/ 143 w 143"/>
                <a:gd name="T15" fmla="*/ 73 h 83"/>
                <a:gd name="T16" fmla="*/ 143 w 143"/>
                <a:gd name="T17" fmla="*/ 73 h 83"/>
                <a:gd name="T18" fmla="*/ 133 w 143"/>
                <a:gd name="T19" fmla="*/ 73 h 83"/>
                <a:gd name="T20" fmla="*/ 133 w 143"/>
                <a:gd name="T21" fmla="*/ 57 h 83"/>
                <a:gd name="T22" fmla="*/ 143 w 143"/>
                <a:gd name="T23" fmla="*/ 44 h 83"/>
                <a:gd name="T24" fmla="*/ 133 w 143"/>
                <a:gd name="T25" fmla="*/ 38 h 83"/>
                <a:gd name="T26" fmla="*/ 130 w 143"/>
                <a:gd name="T27" fmla="*/ 38 h 83"/>
                <a:gd name="T28" fmla="*/ 121 w 143"/>
                <a:gd name="T29" fmla="*/ 25 h 83"/>
                <a:gd name="T30" fmla="*/ 117 w 143"/>
                <a:gd name="T31" fmla="*/ 25 h 83"/>
                <a:gd name="T32" fmla="*/ 92 w 143"/>
                <a:gd name="T33" fmla="*/ 25 h 83"/>
                <a:gd name="T34" fmla="*/ 86 w 143"/>
                <a:gd name="T35" fmla="*/ 22 h 83"/>
                <a:gd name="T36" fmla="*/ 63 w 143"/>
                <a:gd name="T37" fmla="*/ 0 h 83"/>
                <a:gd name="T38" fmla="*/ 57 w 143"/>
                <a:gd name="T39" fmla="*/ 0 h 83"/>
                <a:gd name="T40" fmla="*/ 57 w 143"/>
                <a:gd name="T41" fmla="*/ 9 h 83"/>
                <a:gd name="T42" fmla="*/ 60 w 143"/>
                <a:gd name="T43" fmla="*/ 25 h 83"/>
                <a:gd name="T44" fmla="*/ 57 w 143"/>
                <a:gd name="T45" fmla="*/ 25 h 83"/>
                <a:gd name="T46" fmla="*/ 60 w 143"/>
                <a:gd name="T47" fmla="*/ 38 h 83"/>
                <a:gd name="T48" fmla="*/ 57 w 143"/>
                <a:gd name="T49" fmla="*/ 51 h 83"/>
                <a:gd name="T50" fmla="*/ 35 w 143"/>
                <a:gd name="T51" fmla="*/ 44 h 83"/>
                <a:gd name="T52" fmla="*/ 35 w 143"/>
                <a:gd name="T53" fmla="*/ 25 h 83"/>
                <a:gd name="T54" fmla="*/ 47 w 143"/>
                <a:gd name="T55" fmla="*/ 9 h 83"/>
                <a:gd name="T56" fmla="*/ 47 w 143"/>
                <a:gd name="T57" fmla="*/ 9 h 83"/>
                <a:gd name="T58" fmla="*/ 44 w 143"/>
                <a:gd name="T59" fmla="*/ 9 h 83"/>
                <a:gd name="T60" fmla="*/ 35 w 143"/>
                <a:gd name="T61" fmla="*/ 25 h 83"/>
                <a:gd name="T62" fmla="*/ 31 w 143"/>
                <a:gd name="T63" fmla="*/ 44 h 83"/>
                <a:gd name="T64" fmla="*/ 19 w 143"/>
                <a:gd name="T65" fmla="*/ 51 h 83"/>
                <a:gd name="T66" fmla="*/ 3 w 143"/>
                <a:gd name="T67" fmla="*/ 44 h 83"/>
                <a:gd name="T68" fmla="*/ 0 w 143"/>
                <a:gd name="T69" fmla="*/ 51 h 83"/>
                <a:gd name="T70" fmla="*/ 0 w 143"/>
                <a:gd name="T71" fmla="*/ 60 h 83"/>
                <a:gd name="T72" fmla="*/ 0 w 143"/>
                <a:gd name="T73" fmla="*/ 70 h 83"/>
                <a:gd name="T74" fmla="*/ 6 w 143"/>
                <a:gd name="T75" fmla="*/ 60 h 83"/>
                <a:gd name="T76" fmla="*/ 6 w 143"/>
                <a:gd name="T77" fmla="*/ 60 h 83"/>
                <a:gd name="T78" fmla="*/ 6 w 143"/>
                <a:gd name="T79" fmla="*/ 60 h 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43" h="83">
                  <a:moveTo>
                    <a:pt x="6" y="60"/>
                  </a:moveTo>
                  <a:lnTo>
                    <a:pt x="19" y="70"/>
                  </a:lnTo>
                  <a:lnTo>
                    <a:pt x="19" y="73"/>
                  </a:lnTo>
                  <a:lnTo>
                    <a:pt x="3" y="83"/>
                  </a:lnTo>
                  <a:lnTo>
                    <a:pt x="0" y="83"/>
                  </a:lnTo>
                  <a:lnTo>
                    <a:pt x="3" y="83"/>
                  </a:lnTo>
                  <a:lnTo>
                    <a:pt x="73" y="83"/>
                  </a:lnTo>
                  <a:lnTo>
                    <a:pt x="143" y="73"/>
                  </a:lnTo>
                  <a:lnTo>
                    <a:pt x="133" y="73"/>
                  </a:lnTo>
                  <a:lnTo>
                    <a:pt x="133" y="57"/>
                  </a:lnTo>
                  <a:lnTo>
                    <a:pt x="143" y="44"/>
                  </a:lnTo>
                  <a:lnTo>
                    <a:pt x="133" y="38"/>
                  </a:lnTo>
                  <a:lnTo>
                    <a:pt x="130" y="38"/>
                  </a:lnTo>
                  <a:lnTo>
                    <a:pt x="121" y="25"/>
                  </a:lnTo>
                  <a:lnTo>
                    <a:pt x="117" y="25"/>
                  </a:lnTo>
                  <a:lnTo>
                    <a:pt x="92" y="25"/>
                  </a:lnTo>
                  <a:lnTo>
                    <a:pt x="86" y="22"/>
                  </a:lnTo>
                  <a:lnTo>
                    <a:pt x="63" y="0"/>
                  </a:lnTo>
                  <a:lnTo>
                    <a:pt x="57" y="0"/>
                  </a:lnTo>
                  <a:lnTo>
                    <a:pt x="57" y="9"/>
                  </a:lnTo>
                  <a:lnTo>
                    <a:pt x="60" y="25"/>
                  </a:lnTo>
                  <a:lnTo>
                    <a:pt x="57" y="25"/>
                  </a:lnTo>
                  <a:lnTo>
                    <a:pt x="60" y="38"/>
                  </a:lnTo>
                  <a:lnTo>
                    <a:pt x="57" y="51"/>
                  </a:lnTo>
                  <a:lnTo>
                    <a:pt x="35" y="44"/>
                  </a:lnTo>
                  <a:lnTo>
                    <a:pt x="35" y="25"/>
                  </a:lnTo>
                  <a:lnTo>
                    <a:pt x="47" y="9"/>
                  </a:lnTo>
                  <a:lnTo>
                    <a:pt x="44" y="9"/>
                  </a:lnTo>
                  <a:lnTo>
                    <a:pt x="35" y="25"/>
                  </a:lnTo>
                  <a:lnTo>
                    <a:pt x="31" y="44"/>
                  </a:lnTo>
                  <a:lnTo>
                    <a:pt x="19" y="51"/>
                  </a:lnTo>
                  <a:lnTo>
                    <a:pt x="3" y="44"/>
                  </a:lnTo>
                  <a:lnTo>
                    <a:pt x="0" y="51"/>
                  </a:lnTo>
                  <a:lnTo>
                    <a:pt x="0" y="60"/>
                  </a:lnTo>
                  <a:lnTo>
                    <a:pt x="0" y="70"/>
                  </a:lnTo>
                  <a:lnTo>
                    <a:pt x="6" y="60"/>
                  </a:lnTo>
                  <a:close/>
                </a:path>
              </a:pathLst>
            </a:custGeom>
            <a:solidFill>
              <a:srgbClr val="C8C9CD"/>
            </a:solidFill>
            <a:ln w="6350">
              <a:solidFill>
                <a:schemeClr val="accent2"/>
              </a:solidFill>
              <a:round/>
              <a:headEnd/>
              <a:tailEnd/>
            </a:ln>
          </p:spPr>
          <p:txBody>
            <a:bodyPr/>
            <a:lstStyle/>
            <a:p>
              <a:endParaRPr lang="de-DE"/>
            </a:p>
          </p:txBody>
        </p:sp>
        <p:sp>
          <p:nvSpPr>
            <p:cNvPr id="169" name="Freeform 9"/>
            <p:cNvSpPr>
              <a:spLocks/>
            </p:cNvSpPr>
            <p:nvPr/>
          </p:nvSpPr>
          <p:spPr bwMode="gray">
            <a:xfrm>
              <a:off x="3226" y="1263"/>
              <a:ext cx="143" cy="83"/>
            </a:xfrm>
            <a:custGeom>
              <a:avLst/>
              <a:gdLst>
                <a:gd name="T0" fmla="*/ 6 w 143"/>
                <a:gd name="T1" fmla="*/ 60 h 83"/>
                <a:gd name="T2" fmla="*/ 19 w 143"/>
                <a:gd name="T3" fmla="*/ 70 h 83"/>
                <a:gd name="T4" fmla="*/ 19 w 143"/>
                <a:gd name="T5" fmla="*/ 73 h 83"/>
                <a:gd name="T6" fmla="*/ 3 w 143"/>
                <a:gd name="T7" fmla="*/ 83 h 83"/>
                <a:gd name="T8" fmla="*/ 0 w 143"/>
                <a:gd name="T9" fmla="*/ 83 h 83"/>
                <a:gd name="T10" fmla="*/ 3 w 143"/>
                <a:gd name="T11" fmla="*/ 83 h 83"/>
                <a:gd name="T12" fmla="*/ 73 w 143"/>
                <a:gd name="T13" fmla="*/ 83 h 83"/>
                <a:gd name="T14" fmla="*/ 143 w 143"/>
                <a:gd name="T15" fmla="*/ 73 h 83"/>
                <a:gd name="T16" fmla="*/ 143 w 143"/>
                <a:gd name="T17" fmla="*/ 73 h 83"/>
                <a:gd name="T18" fmla="*/ 133 w 143"/>
                <a:gd name="T19" fmla="*/ 73 h 83"/>
                <a:gd name="T20" fmla="*/ 133 w 143"/>
                <a:gd name="T21" fmla="*/ 57 h 83"/>
                <a:gd name="T22" fmla="*/ 143 w 143"/>
                <a:gd name="T23" fmla="*/ 44 h 83"/>
                <a:gd name="T24" fmla="*/ 133 w 143"/>
                <a:gd name="T25" fmla="*/ 38 h 83"/>
                <a:gd name="T26" fmla="*/ 130 w 143"/>
                <a:gd name="T27" fmla="*/ 38 h 83"/>
                <a:gd name="T28" fmla="*/ 121 w 143"/>
                <a:gd name="T29" fmla="*/ 25 h 83"/>
                <a:gd name="T30" fmla="*/ 117 w 143"/>
                <a:gd name="T31" fmla="*/ 25 h 83"/>
                <a:gd name="T32" fmla="*/ 92 w 143"/>
                <a:gd name="T33" fmla="*/ 25 h 83"/>
                <a:gd name="T34" fmla="*/ 86 w 143"/>
                <a:gd name="T35" fmla="*/ 22 h 83"/>
                <a:gd name="T36" fmla="*/ 63 w 143"/>
                <a:gd name="T37" fmla="*/ 0 h 83"/>
                <a:gd name="T38" fmla="*/ 57 w 143"/>
                <a:gd name="T39" fmla="*/ 0 h 83"/>
                <a:gd name="T40" fmla="*/ 57 w 143"/>
                <a:gd name="T41" fmla="*/ 9 h 83"/>
                <a:gd name="T42" fmla="*/ 60 w 143"/>
                <a:gd name="T43" fmla="*/ 25 h 83"/>
                <a:gd name="T44" fmla="*/ 57 w 143"/>
                <a:gd name="T45" fmla="*/ 25 h 83"/>
                <a:gd name="T46" fmla="*/ 60 w 143"/>
                <a:gd name="T47" fmla="*/ 38 h 83"/>
                <a:gd name="T48" fmla="*/ 57 w 143"/>
                <a:gd name="T49" fmla="*/ 51 h 83"/>
                <a:gd name="T50" fmla="*/ 35 w 143"/>
                <a:gd name="T51" fmla="*/ 44 h 83"/>
                <a:gd name="T52" fmla="*/ 35 w 143"/>
                <a:gd name="T53" fmla="*/ 25 h 83"/>
                <a:gd name="T54" fmla="*/ 47 w 143"/>
                <a:gd name="T55" fmla="*/ 9 h 83"/>
                <a:gd name="T56" fmla="*/ 47 w 143"/>
                <a:gd name="T57" fmla="*/ 9 h 83"/>
                <a:gd name="T58" fmla="*/ 44 w 143"/>
                <a:gd name="T59" fmla="*/ 9 h 83"/>
                <a:gd name="T60" fmla="*/ 35 w 143"/>
                <a:gd name="T61" fmla="*/ 25 h 83"/>
                <a:gd name="T62" fmla="*/ 31 w 143"/>
                <a:gd name="T63" fmla="*/ 44 h 83"/>
                <a:gd name="T64" fmla="*/ 19 w 143"/>
                <a:gd name="T65" fmla="*/ 51 h 83"/>
                <a:gd name="T66" fmla="*/ 3 w 143"/>
                <a:gd name="T67" fmla="*/ 44 h 83"/>
                <a:gd name="T68" fmla="*/ 0 w 143"/>
                <a:gd name="T69" fmla="*/ 51 h 83"/>
                <a:gd name="T70" fmla="*/ 0 w 143"/>
                <a:gd name="T71" fmla="*/ 60 h 83"/>
                <a:gd name="T72" fmla="*/ 0 w 143"/>
                <a:gd name="T73" fmla="*/ 70 h 83"/>
                <a:gd name="T74" fmla="*/ 6 w 143"/>
                <a:gd name="T75" fmla="*/ 60 h 83"/>
                <a:gd name="T76" fmla="*/ 6 w 143"/>
                <a:gd name="T77" fmla="*/ 60 h 83"/>
                <a:gd name="T78" fmla="*/ 6 w 143"/>
                <a:gd name="T79" fmla="*/ 60 h 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43" h="83">
                  <a:moveTo>
                    <a:pt x="6" y="60"/>
                  </a:moveTo>
                  <a:lnTo>
                    <a:pt x="19" y="70"/>
                  </a:lnTo>
                  <a:lnTo>
                    <a:pt x="19" y="73"/>
                  </a:lnTo>
                  <a:lnTo>
                    <a:pt x="3" y="83"/>
                  </a:lnTo>
                  <a:lnTo>
                    <a:pt x="0" y="83"/>
                  </a:lnTo>
                  <a:lnTo>
                    <a:pt x="3" y="83"/>
                  </a:lnTo>
                  <a:lnTo>
                    <a:pt x="73" y="83"/>
                  </a:lnTo>
                  <a:lnTo>
                    <a:pt x="143" y="73"/>
                  </a:lnTo>
                  <a:lnTo>
                    <a:pt x="133" y="73"/>
                  </a:lnTo>
                  <a:lnTo>
                    <a:pt x="133" y="57"/>
                  </a:lnTo>
                  <a:lnTo>
                    <a:pt x="143" y="44"/>
                  </a:lnTo>
                  <a:lnTo>
                    <a:pt x="133" y="38"/>
                  </a:lnTo>
                  <a:lnTo>
                    <a:pt x="130" y="38"/>
                  </a:lnTo>
                  <a:lnTo>
                    <a:pt x="121" y="25"/>
                  </a:lnTo>
                  <a:lnTo>
                    <a:pt x="117" y="25"/>
                  </a:lnTo>
                  <a:lnTo>
                    <a:pt x="92" y="25"/>
                  </a:lnTo>
                  <a:lnTo>
                    <a:pt x="86" y="22"/>
                  </a:lnTo>
                  <a:lnTo>
                    <a:pt x="63" y="0"/>
                  </a:lnTo>
                  <a:lnTo>
                    <a:pt x="57" y="0"/>
                  </a:lnTo>
                  <a:lnTo>
                    <a:pt x="57" y="9"/>
                  </a:lnTo>
                  <a:lnTo>
                    <a:pt x="60" y="25"/>
                  </a:lnTo>
                  <a:lnTo>
                    <a:pt x="57" y="25"/>
                  </a:lnTo>
                  <a:lnTo>
                    <a:pt x="60" y="38"/>
                  </a:lnTo>
                  <a:lnTo>
                    <a:pt x="57" y="51"/>
                  </a:lnTo>
                  <a:lnTo>
                    <a:pt x="35" y="44"/>
                  </a:lnTo>
                  <a:lnTo>
                    <a:pt x="35" y="25"/>
                  </a:lnTo>
                  <a:lnTo>
                    <a:pt x="47" y="9"/>
                  </a:lnTo>
                  <a:lnTo>
                    <a:pt x="44" y="9"/>
                  </a:lnTo>
                  <a:lnTo>
                    <a:pt x="35" y="25"/>
                  </a:lnTo>
                  <a:lnTo>
                    <a:pt x="31" y="44"/>
                  </a:lnTo>
                  <a:lnTo>
                    <a:pt x="19" y="51"/>
                  </a:lnTo>
                  <a:lnTo>
                    <a:pt x="3" y="44"/>
                  </a:lnTo>
                  <a:lnTo>
                    <a:pt x="0" y="51"/>
                  </a:lnTo>
                  <a:lnTo>
                    <a:pt x="0" y="60"/>
                  </a:lnTo>
                  <a:lnTo>
                    <a:pt x="0" y="70"/>
                  </a:lnTo>
                  <a:lnTo>
                    <a:pt x="6" y="60"/>
                  </a:lnTo>
                  <a:close/>
                </a:path>
              </a:pathLst>
            </a:custGeom>
            <a:solidFill>
              <a:srgbClr val="FFFFFF"/>
            </a:solidFill>
            <a:ln w="6350" cap="flat">
              <a:solidFill>
                <a:schemeClr val="accent2"/>
              </a:solidFill>
              <a:prstDash val="solid"/>
              <a:miter lim="800000"/>
              <a:headEnd/>
              <a:tailEnd/>
            </a:ln>
          </p:spPr>
          <p:txBody>
            <a:bodyPr/>
            <a:lstStyle/>
            <a:p>
              <a:endParaRPr lang="de-DE"/>
            </a:p>
          </p:txBody>
        </p:sp>
        <p:sp>
          <p:nvSpPr>
            <p:cNvPr id="170" name="Freeform 10"/>
            <p:cNvSpPr>
              <a:spLocks noEditPoints="1"/>
            </p:cNvSpPr>
            <p:nvPr/>
          </p:nvSpPr>
          <p:spPr bwMode="gray">
            <a:xfrm>
              <a:off x="3477" y="-99"/>
              <a:ext cx="1331" cy="2371"/>
            </a:xfrm>
            <a:custGeom>
              <a:avLst/>
              <a:gdLst>
                <a:gd name="T0" fmla="*/ 42632726 w 418"/>
                <a:gd name="T1" fmla="*/ 54894907 h 745"/>
                <a:gd name="T2" fmla="*/ 38795902 w 418"/>
                <a:gd name="T3" fmla="*/ 58082740 h 745"/>
                <a:gd name="T4" fmla="*/ 41693645 w 418"/>
                <a:gd name="T5" fmla="*/ 65451114 h 745"/>
                <a:gd name="T6" fmla="*/ 42632726 w 418"/>
                <a:gd name="T7" fmla="*/ 67355591 h 745"/>
                <a:gd name="T8" fmla="*/ 41355097 w 418"/>
                <a:gd name="T9" fmla="*/ 68325244 h 745"/>
                <a:gd name="T10" fmla="*/ 39748806 w 418"/>
                <a:gd name="T11" fmla="*/ 71849804 h 745"/>
                <a:gd name="T12" fmla="*/ 41693645 w 418"/>
                <a:gd name="T13" fmla="*/ 74187794 h 745"/>
                <a:gd name="T14" fmla="*/ 39981224 w 418"/>
                <a:gd name="T15" fmla="*/ 78040440 h 745"/>
                <a:gd name="T16" fmla="*/ 34726656 w 418"/>
                <a:gd name="T17" fmla="*/ 79217761 h 745"/>
                <a:gd name="T18" fmla="*/ 31398487 w 418"/>
                <a:gd name="T19" fmla="*/ 77072114 h 745"/>
                <a:gd name="T20" fmla="*/ 27425137 w 418"/>
                <a:gd name="T21" fmla="*/ 73754267 h 745"/>
                <a:gd name="T22" fmla="*/ 22416769 w 418"/>
                <a:gd name="T23" fmla="*/ 69935888 h 745"/>
                <a:gd name="T24" fmla="*/ 24773343 w 418"/>
                <a:gd name="T25" fmla="*/ 67997766 h 745"/>
                <a:gd name="T26" fmla="*/ 25267316 w 418"/>
                <a:gd name="T27" fmla="*/ 65252612 h 745"/>
                <a:gd name="T28" fmla="*/ 26486056 w 418"/>
                <a:gd name="T29" fmla="*/ 60758371 h 745"/>
                <a:gd name="T30" fmla="*/ 21633730 w 418"/>
                <a:gd name="T31" fmla="*/ 57441883 h 745"/>
                <a:gd name="T32" fmla="*/ 15947669 w 418"/>
                <a:gd name="T33" fmla="*/ 54558314 h 745"/>
                <a:gd name="T34" fmla="*/ 10939301 w 418"/>
                <a:gd name="T35" fmla="*/ 51485654 h 745"/>
                <a:gd name="T36" fmla="*/ 9522885 w 418"/>
                <a:gd name="T37" fmla="*/ 46253933 h 745"/>
                <a:gd name="T38" fmla="*/ 4408106 w 418"/>
                <a:gd name="T39" fmla="*/ 43909653 h 745"/>
                <a:gd name="T40" fmla="*/ 3435483 w 418"/>
                <a:gd name="T41" fmla="*/ 39223510 h 745"/>
                <a:gd name="T42" fmla="*/ 3866947 w 418"/>
                <a:gd name="T43" fmla="*/ 34236934 h 745"/>
                <a:gd name="T44" fmla="*/ 3634528 w 418"/>
                <a:gd name="T45" fmla="*/ 31657955 h 745"/>
                <a:gd name="T46" fmla="*/ 5791114 w 418"/>
                <a:gd name="T47" fmla="*/ 27394572 h 745"/>
                <a:gd name="T48" fmla="*/ 4069275 w 418"/>
                <a:gd name="T49" fmla="*/ 18459362 h 745"/>
                <a:gd name="T50" fmla="*/ 2695406 w 418"/>
                <a:gd name="T51" fmla="*/ 8945653 h 745"/>
                <a:gd name="T52" fmla="*/ 972531 w 418"/>
                <a:gd name="T53" fmla="*/ 3852939 h 745"/>
                <a:gd name="T54" fmla="*/ 3866947 w 418"/>
                <a:gd name="T55" fmla="*/ 1904760 h 745"/>
                <a:gd name="T56" fmla="*/ 5589111 w 418"/>
                <a:gd name="T57" fmla="*/ 1610644 h 745"/>
                <a:gd name="T58" fmla="*/ 5254597 w 418"/>
                <a:gd name="T59" fmla="*/ 2883569 h 745"/>
                <a:gd name="T60" fmla="*/ 6962983 w 418"/>
                <a:gd name="T61" fmla="*/ 3515404 h 745"/>
                <a:gd name="T62" fmla="*/ 9319512 w 418"/>
                <a:gd name="T63" fmla="*/ 3316902 h 745"/>
                <a:gd name="T64" fmla="*/ 15313999 w 418"/>
                <a:gd name="T65" fmla="*/ 5863493 h 745"/>
                <a:gd name="T66" fmla="*/ 19078146 w 418"/>
                <a:gd name="T67" fmla="*/ 8104937 h 745"/>
                <a:gd name="T68" fmla="*/ 17471824 w 418"/>
                <a:gd name="T69" fmla="*/ 13227644 h 745"/>
                <a:gd name="T70" fmla="*/ 11477175 w 418"/>
                <a:gd name="T71" fmla="*/ 12600092 h 745"/>
                <a:gd name="T72" fmla="*/ 8350309 w 418"/>
                <a:gd name="T73" fmla="*/ 11818468 h 745"/>
                <a:gd name="T74" fmla="*/ 7704086 w 418"/>
                <a:gd name="T75" fmla="*/ 12995779 h 745"/>
                <a:gd name="T76" fmla="*/ 10494473 w 418"/>
                <a:gd name="T77" fmla="*/ 13965139 h 745"/>
                <a:gd name="T78" fmla="*/ 11878424 w 418"/>
                <a:gd name="T79" fmla="*/ 18218369 h 745"/>
                <a:gd name="T80" fmla="*/ 15745755 w 418"/>
                <a:gd name="T81" fmla="*/ 21207834 h 745"/>
                <a:gd name="T82" fmla="*/ 14574122 w 418"/>
                <a:gd name="T83" fmla="*/ 18859360 h 745"/>
                <a:gd name="T84" fmla="*/ 16930785 w 418"/>
                <a:gd name="T85" fmla="*/ 17681947 h 745"/>
                <a:gd name="T86" fmla="*/ 19615988 w 418"/>
                <a:gd name="T87" fmla="*/ 14166932 h 745"/>
                <a:gd name="T88" fmla="*/ 24773343 w 418"/>
                <a:gd name="T89" fmla="*/ 13227644 h 745"/>
                <a:gd name="T90" fmla="*/ 23588313 w 418"/>
                <a:gd name="T91" fmla="*/ 9177103 h 745"/>
                <a:gd name="T92" fmla="*/ 23588313 w 418"/>
                <a:gd name="T93" fmla="*/ 4692432 h 745"/>
                <a:gd name="T94" fmla="*/ 25712424 w 418"/>
                <a:gd name="T95" fmla="*/ 7566548 h 745"/>
                <a:gd name="T96" fmla="*/ 29582669 w 418"/>
                <a:gd name="T97" fmla="*/ 9177103 h 745"/>
                <a:gd name="T98" fmla="*/ 31939657 w 418"/>
                <a:gd name="T99" fmla="*/ 5430252 h 745"/>
                <a:gd name="T100" fmla="*/ 35670068 w 418"/>
                <a:gd name="T101" fmla="*/ 3852939 h 745"/>
                <a:gd name="T102" fmla="*/ 36449855 w 418"/>
                <a:gd name="T103" fmla="*/ 2145749 h 745"/>
                <a:gd name="T104" fmla="*/ 37189611 w 418"/>
                <a:gd name="T105" fmla="*/ 3713521 h 745"/>
                <a:gd name="T106" fmla="*/ 39536014 w 418"/>
                <a:gd name="T107" fmla="*/ 4051441 h 745"/>
                <a:gd name="T108" fmla="*/ 42875672 w 418"/>
                <a:gd name="T109" fmla="*/ 2145749 h 745"/>
                <a:gd name="T110" fmla="*/ 12652015 w 418"/>
                <a:gd name="T111" fmla="*/ 17681947 h 745"/>
                <a:gd name="T112" fmla="*/ 31199484 w 418"/>
                <a:gd name="T113" fmla="*/ 1706258 h 745"/>
                <a:gd name="T114" fmla="*/ 29243926 w 418"/>
                <a:gd name="T115" fmla="*/ 3713521 h 745"/>
                <a:gd name="T116" fmla="*/ 38563480 w 418"/>
                <a:gd name="T117" fmla="*/ 3515404 h 745"/>
                <a:gd name="T118" fmla="*/ 42337798 w 418"/>
                <a:gd name="T119" fmla="*/ 1904760 h 745"/>
                <a:gd name="T120" fmla="*/ 38563480 w 418"/>
                <a:gd name="T121" fmla="*/ 1706258 h 74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18" h="745">
                  <a:moveTo>
                    <a:pt x="418" y="13"/>
                  </a:moveTo>
                  <a:cubicBezTo>
                    <a:pt x="418" y="13"/>
                    <a:pt x="418" y="13"/>
                    <a:pt x="418" y="13"/>
                  </a:cubicBezTo>
                  <a:moveTo>
                    <a:pt x="417" y="512"/>
                  </a:moveTo>
                  <a:cubicBezTo>
                    <a:pt x="415" y="510"/>
                    <a:pt x="415" y="510"/>
                    <a:pt x="415" y="510"/>
                  </a:cubicBezTo>
                  <a:cubicBezTo>
                    <a:pt x="417" y="508"/>
                    <a:pt x="417" y="508"/>
                    <a:pt x="417" y="508"/>
                  </a:cubicBezTo>
                  <a:cubicBezTo>
                    <a:pt x="417" y="506"/>
                    <a:pt x="417" y="506"/>
                    <a:pt x="417" y="506"/>
                  </a:cubicBezTo>
                  <a:cubicBezTo>
                    <a:pt x="413" y="505"/>
                    <a:pt x="413" y="505"/>
                    <a:pt x="413" y="505"/>
                  </a:cubicBezTo>
                  <a:cubicBezTo>
                    <a:pt x="408" y="501"/>
                    <a:pt x="408" y="501"/>
                    <a:pt x="408" y="501"/>
                  </a:cubicBezTo>
                  <a:cubicBezTo>
                    <a:pt x="408" y="503"/>
                    <a:pt x="408" y="503"/>
                    <a:pt x="408" y="503"/>
                  </a:cubicBezTo>
                  <a:cubicBezTo>
                    <a:pt x="408" y="506"/>
                    <a:pt x="408" y="506"/>
                    <a:pt x="408" y="506"/>
                  </a:cubicBezTo>
                  <a:cubicBezTo>
                    <a:pt x="408" y="510"/>
                    <a:pt x="408" y="510"/>
                    <a:pt x="408" y="510"/>
                  </a:cubicBezTo>
                  <a:cubicBezTo>
                    <a:pt x="404" y="508"/>
                    <a:pt x="404" y="508"/>
                    <a:pt x="404" y="508"/>
                  </a:cubicBezTo>
                  <a:cubicBezTo>
                    <a:pt x="402" y="510"/>
                    <a:pt x="402" y="510"/>
                    <a:pt x="402" y="510"/>
                  </a:cubicBezTo>
                  <a:cubicBezTo>
                    <a:pt x="400" y="515"/>
                    <a:pt x="400" y="515"/>
                    <a:pt x="400" y="515"/>
                  </a:cubicBezTo>
                  <a:cubicBezTo>
                    <a:pt x="398" y="515"/>
                    <a:pt x="398" y="515"/>
                    <a:pt x="398" y="515"/>
                  </a:cubicBezTo>
                  <a:cubicBezTo>
                    <a:pt x="393" y="519"/>
                    <a:pt x="393" y="519"/>
                    <a:pt x="393" y="519"/>
                  </a:cubicBezTo>
                  <a:cubicBezTo>
                    <a:pt x="391" y="523"/>
                    <a:pt x="391" y="523"/>
                    <a:pt x="391" y="523"/>
                  </a:cubicBezTo>
                  <a:cubicBezTo>
                    <a:pt x="393" y="525"/>
                    <a:pt x="393" y="525"/>
                    <a:pt x="393" y="525"/>
                  </a:cubicBezTo>
                  <a:cubicBezTo>
                    <a:pt x="393" y="530"/>
                    <a:pt x="393" y="530"/>
                    <a:pt x="393" y="530"/>
                  </a:cubicBezTo>
                  <a:cubicBezTo>
                    <a:pt x="387" y="530"/>
                    <a:pt x="387" y="530"/>
                    <a:pt x="387" y="530"/>
                  </a:cubicBezTo>
                  <a:cubicBezTo>
                    <a:pt x="382" y="530"/>
                    <a:pt x="382" y="530"/>
                    <a:pt x="382" y="530"/>
                  </a:cubicBezTo>
                  <a:cubicBezTo>
                    <a:pt x="387" y="545"/>
                    <a:pt x="387" y="545"/>
                    <a:pt x="387" y="545"/>
                  </a:cubicBezTo>
                  <a:cubicBezTo>
                    <a:pt x="386" y="545"/>
                    <a:pt x="386" y="545"/>
                    <a:pt x="386" y="545"/>
                  </a:cubicBezTo>
                  <a:cubicBezTo>
                    <a:pt x="386" y="550"/>
                    <a:pt x="386" y="550"/>
                    <a:pt x="386" y="550"/>
                  </a:cubicBezTo>
                  <a:cubicBezTo>
                    <a:pt x="380" y="552"/>
                    <a:pt x="380" y="552"/>
                    <a:pt x="380" y="552"/>
                  </a:cubicBezTo>
                  <a:cubicBezTo>
                    <a:pt x="375" y="548"/>
                    <a:pt x="375" y="548"/>
                    <a:pt x="375" y="548"/>
                  </a:cubicBezTo>
                  <a:cubicBezTo>
                    <a:pt x="373" y="545"/>
                    <a:pt x="373" y="545"/>
                    <a:pt x="373" y="545"/>
                  </a:cubicBezTo>
                  <a:cubicBezTo>
                    <a:pt x="364" y="537"/>
                    <a:pt x="364" y="537"/>
                    <a:pt x="364" y="537"/>
                  </a:cubicBezTo>
                  <a:cubicBezTo>
                    <a:pt x="362" y="539"/>
                    <a:pt x="362" y="539"/>
                    <a:pt x="362" y="539"/>
                  </a:cubicBezTo>
                  <a:cubicBezTo>
                    <a:pt x="362" y="545"/>
                    <a:pt x="362" y="545"/>
                    <a:pt x="362" y="545"/>
                  </a:cubicBezTo>
                  <a:cubicBezTo>
                    <a:pt x="358" y="550"/>
                    <a:pt x="358" y="550"/>
                    <a:pt x="358" y="550"/>
                  </a:cubicBezTo>
                  <a:cubicBezTo>
                    <a:pt x="355" y="552"/>
                    <a:pt x="355" y="552"/>
                    <a:pt x="355" y="552"/>
                  </a:cubicBezTo>
                  <a:cubicBezTo>
                    <a:pt x="355" y="559"/>
                    <a:pt x="355" y="559"/>
                    <a:pt x="355" y="559"/>
                  </a:cubicBezTo>
                  <a:cubicBezTo>
                    <a:pt x="358" y="563"/>
                    <a:pt x="358" y="563"/>
                    <a:pt x="358" y="563"/>
                  </a:cubicBezTo>
                  <a:cubicBezTo>
                    <a:pt x="357" y="574"/>
                    <a:pt x="357" y="574"/>
                    <a:pt x="357" y="574"/>
                  </a:cubicBezTo>
                  <a:cubicBezTo>
                    <a:pt x="353" y="579"/>
                    <a:pt x="353" y="579"/>
                    <a:pt x="353" y="579"/>
                  </a:cubicBezTo>
                  <a:cubicBezTo>
                    <a:pt x="360" y="581"/>
                    <a:pt x="360" y="581"/>
                    <a:pt x="360" y="581"/>
                  </a:cubicBezTo>
                  <a:cubicBezTo>
                    <a:pt x="364" y="587"/>
                    <a:pt x="364" y="587"/>
                    <a:pt x="364" y="587"/>
                  </a:cubicBezTo>
                  <a:cubicBezTo>
                    <a:pt x="362" y="590"/>
                    <a:pt x="362" y="590"/>
                    <a:pt x="362" y="590"/>
                  </a:cubicBezTo>
                  <a:cubicBezTo>
                    <a:pt x="367" y="594"/>
                    <a:pt x="367" y="594"/>
                    <a:pt x="367" y="594"/>
                  </a:cubicBezTo>
                  <a:cubicBezTo>
                    <a:pt x="369" y="592"/>
                    <a:pt x="369" y="592"/>
                    <a:pt x="369" y="592"/>
                  </a:cubicBezTo>
                  <a:cubicBezTo>
                    <a:pt x="380" y="594"/>
                    <a:pt x="380" y="594"/>
                    <a:pt x="380" y="594"/>
                  </a:cubicBezTo>
                  <a:cubicBezTo>
                    <a:pt x="389" y="601"/>
                    <a:pt x="389" y="601"/>
                    <a:pt x="389" y="601"/>
                  </a:cubicBezTo>
                  <a:cubicBezTo>
                    <a:pt x="395" y="614"/>
                    <a:pt x="395" y="614"/>
                    <a:pt x="395" y="614"/>
                  </a:cubicBezTo>
                  <a:cubicBezTo>
                    <a:pt x="389" y="614"/>
                    <a:pt x="389" y="614"/>
                    <a:pt x="389" y="614"/>
                  </a:cubicBezTo>
                  <a:cubicBezTo>
                    <a:pt x="389" y="616"/>
                    <a:pt x="389" y="616"/>
                    <a:pt x="389" y="616"/>
                  </a:cubicBezTo>
                  <a:cubicBezTo>
                    <a:pt x="395" y="621"/>
                    <a:pt x="395" y="621"/>
                    <a:pt x="395" y="621"/>
                  </a:cubicBezTo>
                  <a:cubicBezTo>
                    <a:pt x="398" y="619"/>
                    <a:pt x="398" y="619"/>
                    <a:pt x="398" y="619"/>
                  </a:cubicBezTo>
                  <a:cubicBezTo>
                    <a:pt x="404" y="621"/>
                    <a:pt x="404" y="621"/>
                    <a:pt x="404" y="621"/>
                  </a:cubicBezTo>
                  <a:cubicBezTo>
                    <a:pt x="404" y="621"/>
                    <a:pt x="404" y="621"/>
                    <a:pt x="404" y="621"/>
                  </a:cubicBezTo>
                  <a:cubicBezTo>
                    <a:pt x="404" y="621"/>
                    <a:pt x="404" y="621"/>
                    <a:pt x="404" y="621"/>
                  </a:cubicBezTo>
                  <a:cubicBezTo>
                    <a:pt x="404" y="623"/>
                    <a:pt x="404" y="623"/>
                    <a:pt x="404" y="623"/>
                  </a:cubicBezTo>
                  <a:cubicBezTo>
                    <a:pt x="404" y="625"/>
                    <a:pt x="404" y="625"/>
                    <a:pt x="404" y="625"/>
                  </a:cubicBezTo>
                  <a:cubicBezTo>
                    <a:pt x="400" y="625"/>
                    <a:pt x="400" y="625"/>
                    <a:pt x="400" y="625"/>
                  </a:cubicBezTo>
                  <a:cubicBezTo>
                    <a:pt x="402" y="627"/>
                    <a:pt x="402" y="627"/>
                    <a:pt x="402" y="627"/>
                  </a:cubicBezTo>
                  <a:cubicBezTo>
                    <a:pt x="402" y="628"/>
                    <a:pt x="402" y="628"/>
                    <a:pt x="402" y="628"/>
                  </a:cubicBezTo>
                  <a:cubicBezTo>
                    <a:pt x="400" y="628"/>
                    <a:pt x="400" y="628"/>
                    <a:pt x="400" y="628"/>
                  </a:cubicBezTo>
                  <a:cubicBezTo>
                    <a:pt x="402" y="630"/>
                    <a:pt x="402" y="630"/>
                    <a:pt x="402" y="630"/>
                  </a:cubicBezTo>
                  <a:cubicBezTo>
                    <a:pt x="402" y="632"/>
                    <a:pt x="402" y="632"/>
                    <a:pt x="402" y="632"/>
                  </a:cubicBezTo>
                  <a:cubicBezTo>
                    <a:pt x="398" y="632"/>
                    <a:pt x="398" y="632"/>
                    <a:pt x="398" y="632"/>
                  </a:cubicBezTo>
                  <a:cubicBezTo>
                    <a:pt x="398" y="632"/>
                    <a:pt x="398" y="632"/>
                    <a:pt x="398" y="632"/>
                  </a:cubicBezTo>
                  <a:cubicBezTo>
                    <a:pt x="395" y="630"/>
                    <a:pt x="395" y="630"/>
                    <a:pt x="395" y="630"/>
                  </a:cubicBezTo>
                  <a:cubicBezTo>
                    <a:pt x="393" y="632"/>
                    <a:pt x="393" y="632"/>
                    <a:pt x="393" y="632"/>
                  </a:cubicBezTo>
                  <a:cubicBezTo>
                    <a:pt x="397" y="634"/>
                    <a:pt x="397" y="634"/>
                    <a:pt x="397" y="634"/>
                  </a:cubicBezTo>
                  <a:cubicBezTo>
                    <a:pt x="398" y="636"/>
                    <a:pt x="398" y="636"/>
                    <a:pt x="398" y="636"/>
                  </a:cubicBezTo>
                  <a:cubicBezTo>
                    <a:pt x="397" y="638"/>
                    <a:pt x="397" y="638"/>
                    <a:pt x="397" y="638"/>
                  </a:cubicBezTo>
                  <a:cubicBezTo>
                    <a:pt x="395" y="636"/>
                    <a:pt x="395" y="636"/>
                    <a:pt x="395" y="636"/>
                  </a:cubicBezTo>
                  <a:cubicBezTo>
                    <a:pt x="393" y="636"/>
                    <a:pt x="393" y="636"/>
                    <a:pt x="393" y="636"/>
                  </a:cubicBezTo>
                  <a:cubicBezTo>
                    <a:pt x="391" y="636"/>
                    <a:pt x="391" y="636"/>
                    <a:pt x="391" y="636"/>
                  </a:cubicBezTo>
                  <a:cubicBezTo>
                    <a:pt x="389" y="636"/>
                    <a:pt x="389" y="636"/>
                    <a:pt x="389" y="636"/>
                  </a:cubicBezTo>
                  <a:cubicBezTo>
                    <a:pt x="391" y="638"/>
                    <a:pt x="391" y="638"/>
                    <a:pt x="391" y="638"/>
                  </a:cubicBezTo>
                  <a:cubicBezTo>
                    <a:pt x="393" y="638"/>
                    <a:pt x="393" y="638"/>
                    <a:pt x="393" y="638"/>
                  </a:cubicBezTo>
                  <a:cubicBezTo>
                    <a:pt x="389" y="639"/>
                    <a:pt x="389" y="639"/>
                    <a:pt x="389" y="639"/>
                  </a:cubicBezTo>
                  <a:cubicBezTo>
                    <a:pt x="387" y="639"/>
                    <a:pt x="387" y="639"/>
                    <a:pt x="387" y="639"/>
                  </a:cubicBezTo>
                  <a:cubicBezTo>
                    <a:pt x="386" y="641"/>
                    <a:pt x="386" y="641"/>
                    <a:pt x="386" y="641"/>
                  </a:cubicBezTo>
                  <a:cubicBezTo>
                    <a:pt x="384" y="639"/>
                    <a:pt x="384" y="639"/>
                    <a:pt x="384" y="639"/>
                  </a:cubicBezTo>
                  <a:cubicBezTo>
                    <a:pt x="384" y="641"/>
                    <a:pt x="384" y="641"/>
                    <a:pt x="384" y="641"/>
                  </a:cubicBezTo>
                  <a:cubicBezTo>
                    <a:pt x="382" y="643"/>
                    <a:pt x="382" y="643"/>
                    <a:pt x="382" y="643"/>
                  </a:cubicBezTo>
                  <a:cubicBezTo>
                    <a:pt x="380" y="641"/>
                    <a:pt x="380" y="641"/>
                    <a:pt x="380" y="641"/>
                  </a:cubicBezTo>
                  <a:cubicBezTo>
                    <a:pt x="378" y="641"/>
                    <a:pt x="378" y="641"/>
                    <a:pt x="378" y="641"/>
                  </a:cubicBezTo>
                  <a:cubicBezTo>
                    <a:pt x="378" y="643"/>
                    <a:pt x="378" y="643"/>
                    <a:pt x="378" y="643"/>
                  </a:cubicBezTo>
                  <a:cubicBezTo>
                    <a:pt x="377" y="645"/>
                    <a:pt x="377" y="645"/>
                    <a:pt x="377" y="645"/>
                  </a:cubicBezTo>
                  <a:cubicBezTo>
                    <a:pt x="377" y="650"/>
                    <a:pt x="377" y="650"/>
                    <a:pt x="377" y="650"/>
                  </a:cubicBezTo>
                  <a:cubicBezTo>
                    <a:pt x="375" y="650"/>
                    <a:pt x="375" y="650"/>
                    <a:pt x="375" y="650"/>
                  </a:cubicBezTo>
                  <a:cubicBezTo>
                    <a:pt x="373" y="654"/>
                    <a:pt x="373" y="654"/>
                    <a:pt x="373" y="654"/>
                  </a:cubicBezTo>
                  <a:cubicBezTo>
                    <a:pt x="373" y="658"/>
                    <a:pt x="373" y="658"/>
                    <a:pt x="373" y="658"/>
                  </a:cubicBezTo>
                  <a:cubicBezTo>
                    <a:pt x="373" y="663"/>
                    <a:pt x="373" y="663"/>
                    <a:pt x="373" y="663"/>
                  </a:cubicBezTo>
                  <a:cubicBezTo>
                    <a:pt x="371" y="665"/>
                    <a:pt x="371" y="665"/>
                    <a:pt x="371" y="665"/>
                  </a:cubicBezTo>
                  <a:cubicBezTo>
                    <a:pt x="369" y="669"/>
                    <a:pt x="369" y="669"/>
                    <a:pt x="369" y="669"/>
                  </a:cubicBezTo>
                  <a:cubicBezTo>
                    <a:pt x="371" y="674"/>
                    <a:pt x="371" y="674"/>
                    <a:pt x="371" y="674"/>
                  </a:cubicBezTo>
                  <a:cubicBezTo>
                    <a:pt x="373" y="674"/>
                    <a:pt x="373" y="674"/>
                    <a:pt x="373" y="674"/>
                  </a:cubicBezTo>
                  <a:cubicBezTo>
                    <a:pt x="377" y="674"/>
                    <a:pt x="377" y="674"/>
                    <a:pt x="377" y="674"/>
                  </a:cubicBezTo>
                  <a:cubicBezTo>
                    <a:pt x="378" y="676"/>
                    <a:pt x="378" y="676"/>
                    <a:pt x="378" y="676"/>
                  </a:cubicBezTo>
                  <a:cubicBezTo>
                    <a:pt x="382" y="678"/>
                    <a:pt x="382" y="678"/>
                    <a:pt x="382" y="678"/>
                  </a:cubicBezTo>
                  <a:cubicBezTo>
                    <a:pt x="382" y="683"/>
                    <a:pt x="382" y="683"/>
                    <a:pt x="382" y="683"/>
                  </a:cubicBezTo>
                  <a:cubicBezTo>
                    <a:pt x="386" y="685"/>
                    <a:pt x="386" y="685"/>
                    <a:pt x="386" y="685"/>
                  </a:cubicBezTo>
                  <a:cubicBezTo>
                    <a:pt x="387" y="683"/>
                    <a:pt x="387" y="683"/>
                    <a:pt x="387" y="683"/>
                  </a:cubicBezTo>
                  <a:cubicBezTo>
                    <a:pt x="389" y="683"/>
                    <a:pt x="389" y="683"/>
                    <a:pt x="389" y="683"/>
                  </a:cubicBezTo>
                  <a:cubicBezTo>
                    <a:pt x="387" y="687"/>
                    <a:pt x="387" y="687"/>
                    <a:pt x="387" y="687"/>
                  </a:cubicBezTo>
                  <a:cubicBezTo>
                    <a:pt x="387" y="690"/>
                    <a:pt x="387" y="690"/>
                    <a:pt x="387" y="690"/>
                  </a:cubicBezTo>
                  <a:cubicBezTo>
                    <a:pt x="386" y="689"/>
                    <a:pt x="386" y="689"/>
                    <a:pt x="386" y="689"/>
                  </a:cubicBezTo>
                  <a:cubicBezTo>
                    <a:pt x="384" y="692"/>
                    <a:pt x="384" y="692"/>
                    <a:pt x="384" y="692"/>
                  </a:cubicBezTo>
                  <a:cubicBezTo>
                    <a:pt x="387" y="692"/>
                    <a:pt x="387" y="692"/>
                    <a:pt x="387" y="692"/>
                  </a:cubicBezTo>
                  <a:cubicBezTo>
                    <a:pt x="387" y="694"/>
                    <a:pt x="387" y="694"/>
                    <a:pt x="387" y="694"/>
                  </a:cubicBezTo>
                  <a:cubicBezTo>
                    <a:pt x="389" y="696"/>
                    <a:pt x="389" y="696"/>
                    <a:pt x="389" y="696"/>
                  </a:cubicBezTo>
                  <a:cubicBezTo>
                    <a:pt x="389" y="701"/>
                    <a:pt x="389" y="701"/>
                    <a:pt x="389" y="701"/>
                  </a:cubicBezTo>
                  <a:cubicBezTo>
                    <a:pt x="391" y="705"/>
                    <a:pt x="391" y="705"/>
                    <a:pt x="391" y="705"/>
                  </a:cubicBezTo>
                  <a:cubicBezTo>
                    <a:pt x="393" y="709"/>
                    <a:pt x="393" y="709"/>
                    <a:pt x="393" y="709"/>
                  </a:cubicBezTo>
                  <a:cubicBezTo>
                    <a:pt x="398" y="718"/>
                    <a:pt x="398" y="718"/>
                    <a:pt x="398" y="718"/>
                  </a:cubicBezTo>
                  <a:cubicBezTo>
                    <a:pt x="408" y="725"/>
                    <a:pt x="408" y="725"/>
                    <a:pt x="408" y="725"/>
                  </a:cubicBezTo>
                  <a:cubicBezTo>
                    <a:pt x="409" y="725"/>
                    <a:pt x="409" y="725"/>
                    <a:pt x="409" y="725"/>
                  </a:cubicBezTo>
                  <a:cubicBezTo>
                    <a:pt x="409" y="727"/>
                    <a:pt x="409" y="727"/>
                    <a:pt x="409" y="727"/>
                  </a:cubicBezTo>
                  <a:cubicBezTo>
                    <a:pt x="404" y="732"/>
                    <a:pt x="404" y="732"/>
                    <a:pt x="404" y="732"/>
                  </a:cubicBezTo>
                  <a:cubicBezTo>
                    <a:pt x="398" y="736"/>
                    <a:pt x="398" y="736"/>
                    <a:pt x="398" y="736"/>
                  </a:cubicBezTo>
                  <a:cubicBezTo>
                    <a:pt x="397" y="738"/>
                    <a:pt x="397" y="738"/>
                    <a:pt x="397" y="738"/>
                  </a:cubicBezTo>
                  <a:cubicBezTo>
                    <a:pt x="389" y="738"/>
                    <a:pt x="389" y="738"/>
                    <a:pt x="389" y="738"/>
                  </a:cubicBezTo>
                  <a:cubicBezTo>
                    <a:pt x="387" y="734"/>
                    <a:pt x="387" y="734"/>
                    <a:pt x="387" y="734"/>
                  </a:cubicBezTo>
                  <a:cubicBezTo>
                    <a:pt x="378" y="727"/>
                    <a:pt x="378" y="727"/>
                    <a:pt x="378" y="727"/>
                  </a:cubicBezTo>
                  <a:cubicBezTo>
                    <a:pt x="375" y="727"/>
                    <a:pt x="375" y="727"/>
                    <a:pt x="375" y="727"/>
                  </a:cubicBezTo>
                  <a:cubicBezTo>
                    <a:pt x="373" y="732"/>
                    <a:pt x="373" y="732"/>
                    <a:pt x="373" y="732"/>
                  </a:cubicBezTo>
                  <a:cubicBezTo>
                    <a:pt x="377" y="736"/>
                    <a:pt x="377" y="736"/>
                    <a:pt x="377" y="736"/>
                  </a:cubicBezTo>
                  <a:cubicBezTo>
                    <a:pt x="380" y="740"/>
                    <a:pt x="380" y="740"/>
                    <a:pt x="380" y="740"/>
                  </a:cubicBezTo>
                  <a:cubicBezTo>
                    <a:pt x="378" y="745"/>
                    <a:pt x="378" y="745"/>
                    <a:pt x="378" y="745"/>
                  </a:cubicBezTo>
                  <a:cubicBezTo>
                    <a:pt x="373" y="741"/>
                    <a:pt x="373" y="741"/>
                    <a:pt x="373" y="741"/>
                  </a:cubicBezTo>
                  <a:cubicBezTo>
                    <a:pt x="366" y="741"/>
                    <a:pt x="366" y="741"/>
                    <a:pt x="366" y="741"/>
                  </a:cubicBezTo>
                  <a:cubicBezTo>
                    <a:pt x="357" y="736"/>
                    <a:pt x="357" y="736"/>
                    <a:pt x="357" y="736"/>
                  </a:cubicBezTo>
                  <a:cubicBezTo>
                    <a:pt x="349" y="740"/>
                    <a:pt x="349" y="740"/>
                    <a:pt x="349" y="740"/>
                  </a:cubicBezTo>
                  <a:cubicBezTo>
                    <a:pt x="349" y="741"/>
                    <a:pt x="349" y="741"/>
                    <a:pt x="349" y="741"/>
                  </a:cubicBezTo>
                  <a:cubicBezTo>
                    <a:pt x="353" y="745"/>
                    <a:pt x="353" y="745"/>
                    <a:pt x="353" y="745"/>
                  </a:cubicBezTo>
                  <a:cubicBezTo>
                    <a:pt x="349" y="741"/>
                    <a:pt x="349" y="741"/>
                    <a:pt x="349" y="741"/>
                  </a:cubicBezTo>
                  <a:cubicBezTo>
                    <a:pt x="338" y="741"/>
                    <a:pt x="338" y="741"/>
                    <a:pt x="338" y="741"/>
                  </a:cubicBezTo>
                  <a:cubicBezTo>
                    <a:pt x="336" y="741"/>
                    <a:pt x="336" y="741"/>
                    <a:pt x="336" y="741"/>
                  </a:cubicBezTo>
                  <a:cubicBezTo>
                    <a:pt x="329" y="743"/>
                    <a:pt x="329" y="743"/>
                    <a:pt x="329" y="743"/>
                  </a:cubicBezTo>
                  <a:cubicBezTo>
                    <a:pt x="324" y="745"/>
                    <a:pt x="324" y="745"/>
                    <a:pt x="324" y="745"/>
                  </a:cubicBezTo>
                  <a:cubicBezTo>
                    <a:pt x="324" y="743"/>
                    <a:pt x="324" y="743"/>
                    <a:pt x="324" y="743"/>
                  </a:cubicBezTo>
                  <a:cubicBezTo>
                    <a:pt x="320" y="743"/>
                    <a:pt x="320" y="743"/>
                    <a:pt x="320" y="743"/>
                  </a:cubicBezTo>
                  <a:cubicBezTo>
                    <a:pt x="313" y="738"/>
                    <a:pt x="313" y="738"/>
                    <a:pt x="313" y="738"/>
                  </a:cubicBezTo>
                  <a:cubicBezTo>
                    <a:pt x="309" y="736"/>
                    <a:pt x="309" y="736"/>
                    <a:pt x="309" y="736"/>
                  </a:cubicBezTo>
                  <a:cubicBezTo>
                    <a:pt x="307" y="738"/>
                    <a:pt x="307" y="738"/>
                    <a:pt x="307" y="738"/>
                  </a:cubicBezTo>
                  <a:cubicBezTo>
                    <a:pt x="306" y="740"/>
                    <a:pt x="306" y="740"/>
                    <a:pt x="306" y="740"/>
                  </a:cubicBezTo>
                  <a:cubicBezTo>
                    <a:pt x="300" y="738"/>
                    <a:pt x="300" y="738"/>
                    <a:pt x="300" y="738"/>
                  </a:cubicBezTo>
                  <a:cubicBezTo>
                    <a:pt x="300" y="740"/>
                    <a:pt x="300" y="740"/>
                    <a:pt x="300" y="740"/>
                  </a:cubicBezTo>
                  <a:cubicBezTo>
                    <a:pt x="298" y="738"/>
                    <a:pt x="298" y="738"/>
                    <a:pt x="298" y="738"/>
                  </a:cubicBezTo>
                  <a:cubicBezTo>
                    <a:pt x="296" y="736"/>
                    <a:pt x="296" y="736"/>
                    <a:pt x="296" y="736"/>
                  </a:cubicBezTo>
                  <a:cubicBezTo>
                    <a:pt x="295" y="736"/>
                    <a:pt x="295" y="736"/>
                    <a:pt x="295" y="736"/>
                  </a:cubicBezTo>
                  <a:cubicBezTo>
                    <a:pt x="295" y="736"/>
                    <a:pt x="295" y="736"/>
                    <a:pt x="295" y="736"/>
                  </a:cubicBezTo>
                  <a:cubicBezTo>
                    <a:pt x="295" y="734"/>
                    <a:pt x="295" y="734"/>
                    <a:pt x="295" y="734"/>
                  </a:cubicBezTo>
                  <a:cubicBezTo>
                    <a:pt x="295" y="732"/>
                    <a:pt x="295" y="732"/>
                    <a:pt x="295" y="732"/>
                  </a:cubicBezTo>
                  <a:cubicBezTo>
                    <a:pt x="295" y="729"/>
                    <a:pt x="295" y="729"/>
                    <a:pt x="295" y="729"/>
                  </a:cubicBezTo>
                  <a:cubicBezTo>
                    <a:pt x="293" y="723"/>
                    <a:pt x="293" y="723"/>
                    <a:pt x="293" y="723"/>
                  </a:cubicBezTo>
                  <a:cubicBezTo>
                    <a:pt x="291" y="718"/>
                    <a:pt x="291" y="718"/>
                    <a:pt x="291" y="718"/>
                  </a:cubicBezTo>
                  <a:cubicBezTo>
                    <a:pt x="289" y="714"/>
                    <a:pt x="289" y="714"/>
                    <a:pt x="289" y="714"/>
                  </a:cubicBezTo>
                  <a:cubicBezTo>
                    <a:pt x="285" y="709"/>
                    <a:pt x="285" y="709"/>
                    <a:pt x="285" y="709"/>
                  </a:cubicBezTo>
                  <a:cubicBezTo>
                    <a:pt x="282" y="709"/>
                    <a:pt x="282" y="709"/>
                    <a:pt x="282" y="709"/>
                  </a:cubicBezTo>
                  <a:cubicBezTo>
                    <a:pt x="282" y="705"/>
                    <a:pt x="282" y="705"/>
                    <a:pt x="282" y="705"/>
                  </a:cubicBezTo>
                  <a:cubicBezTo>
                    <a:pt x="276" y="701"/>
                    <a:pt x="276" y="701"/>
                    <a:pt x="276" y="701"/>
                  </a:cubicBezTo>
                  <a:cubicBezTo>
                    <a:pt x="275" y="703"/>
                    <a:pt x="275" y="703"/>
                    <a:pt x="275" y="703"/>
                  </a:cubicBezTo>
                  <a:cubicBezTo>
                    <a:pt x="273" y="703"/>
                    <a:pt x="273" y="703"/>
                    <a:pt x="273" y="703"/>
                  </a:cubicBezTo>
                  <a:cubicBezTo>
                    <a:pt x="269" y="701"/>
                    <a:pt x="269" y="701"/>
                    <a:pt x="269" y="701"/>
                  </a:cubicBezTo>
                  <a:cubicBezTo>
                    <a:pt x="267" y="698"/>
                    <a:pt x="267" y="698"/>
                    <a:pt x="267" y="698"/>
                  </a:cubicBezTo>
                  <a:cubicBezTo>
                    <a:pt x="265" y="698"/>
                    <a:pt x="265" y="698"/>
                    <a:pt x="265" y="698"/>
                  </a:cubicBezTo>
                  <a:cubicBezTo>
                    <a:pt x="262" y="696"/>
                    <a:pt x="262" y="696"/>
                    <a:pt x="262" y="696"/>
                  </a:cubicBezTo>
                  <a:cubicBezTo>
                    <a:pt x="262" y="694"/>
                    <a:pt x="262" y="694"/>
                    <a:pt x="262" y="694"/>
                  </a:cubicBezTo>
                  <a:cubicBezTo>
                    <a:pt x="258" y="694"/>
                    <a:pt x="258" y="694"/>
                    <a:pt x="258" y="694"/>
                  </a:cubicBezTo>
                  <a:cubicBezTo>
                    <a:pt x="256" y="692"/>
                    <a:pt x="256" y="692"/>
                    <a:pt x="256" y="692"/>
                  </a:cubicBezTo>
                  <a:cubicBezTo>
                    <a:pt x="255" y="690"/>
                    <a:pt x="255" y="690"/>
                    <a:pt x="255" y="690"/>
                  </a:cubicBezTo>
                  <a:cubicBezTo>
                    <a:pt x="251" y="689"/>
                    <a:pt x="251" y="689"/>
                    <a:pt x="251" y="689"/>
                  </a:cubicBezTo>
                  <a:cubicBezTo>
                    <a:pt x="249" y="685"/>
                    <a:pt x="249" y="685"/>
                    <a:pt x="249" y="685"/>
                  </a:cubicBezTo>
                  <a:cubicBezTo>
                    <a:pt x="238" y="676"/>
                    <a:pt x="238" y="676"/>
                    <a:pt x="238" y="676"/>
                  </a:cubicBezTo>
                  <a:cubicBezTo>
                    <a:pt x="234" y="676"/>
                    <a:pt x="234" y="676"/>
                    <a:pt x="234" y="676"/>
                  </a:cubicBezTo>
                  <a:cubicBezTo>
                    <a:pt x="227" y="670"/>
                    <a:pt x="227" y="670"/>
                    <a:pt x="227" y="670"/>
                  </a:cubicBezTo>
                  <a:cubicBezTo>
                    <a:pt x="220" y="672"/>
                    <a:pt x="220" y="672"/>
                    <a:pt x="220" y="672"/>
                  </a:cubicBezTo>
                  <a:cubicBezTo>
                    <a:pt x="216" y="669"/>
                    <a:pt x="216" y="669"/>
                    <a:pt x="216" y="669"/>
                  </a:cubicBezTo>
                  <a:cubicBezTo>
                    <a:pt x="216" y="665"/>
                    <a:pt x="216" y="665"/>
                    <a:pt x="216" y="665"/>
                  </a:cubicBezTo>
                  <a:cubicBezTo>
                    <a:pt x="213" y="661"/>
                    <a:pt x="213" y="661"/>
                    <a:pt x="213" y="661"/>
                  </a:cubicBezTo>
                  <a:cubicBezTo>
                    <a:pt x="209" y="661"/>
                    <a:pt x="209" y="661"/>
                    <a:pt x="209" y="661"/>
                  </a:cubicBezTo>
                  <a:cubicBezTo>
                    <a:pt x="205" y="661"/>
                    <a:pt x="205" y="661"/>
                    <a:pt x="205" y="661"/>
                  </a:cubicBezTo>
                  <a:cubicBezTo>
                    <a:pt x="209" y="659"/>
                    <a:pt x="209" y="659"/>
                    <a:pt x="209" y="659"/>
                  </a:cubicBezTo>
                  <a:cubicBezTo>
                    <a:pt x="211" y="658"/>
                    <a:pt x="211" y="658"/>
                    <a:pt x="211" y="658"/>
                  </a:cubicBezTo>
                  <a:cubicBezTo>
                    <a:pt x="209" y="656"/>
                    <a:pt x="209" y="656"/>
                    <a:pt x="209" y="656"/>
                  </a:cubicBezTo>
                  <a:cubicBezTo>
                    <a:pt x="209" y="654"/>
                    <a:pt x="209" y="654"/>
                    <a:pt x="209" y="654"/>
                  </a:cubicBezTo>
                  <a:cubicBezTo>
                    <a:pt x="213" y="654"/>
                    <a:pt x="213" y="654"/>
                    <a:pt x="213" y="654"/>
                  </a:cubicBezTo>
                  <a:cubicBezTo>
                    <a:pt x="216" y="656"/>
                    <a:pt x="216" y="656"/>
                    <a:pt x="216" y="656"/>
                  </a:cubicBezTo>
                  <a:cubicBezTo>
                    <a:pt x="216" y="656"/>
                    <a:pt x="216" y="656"/>
                    <a:pt x="216" y="656"/>
                  </a:cubicBezTo>
                  <a:cubicBezTo>
                    <a:pt x="220" y="656"/>
                    <a:pt x="220" y="656"/>
                    <a:pt x="220" y="656"/>
                  </a:cubicBezTo>
                  <a:cubicBezTo>
                    <a:pt x="222" y="652"/>
                    <a:pt x="222" y="652"/>
                    <a:pt x="222" y="652"/>
                  </a:cubicBezTo>
                  <a:cubicBezTo>
                    <a:pt x="220" y="650"/>
                    <a:pt x="220" y="650"/>
                    <a:pt x="220" y="650"/>
                  </a:cubicBezTo>
                  <a:cubicBezTo>
                    <a:pt x="220" y="647"/>
                    <a:pt x="220" y="647"/>
                    <a:pt x="220" y="647"/>
                  </a:cubicBezTo>
                  <a:cubicBezTo>
                    <a:pt x="224" y="643"/>
                    <a:pt x="224" y="643"/>
                    <a:pt x="224" y="643"/>
                  </a:cubicBezTo>
                  <a:cubicBezTo>
                    <a:pt x="224" y="641"/>
                    <a:pt x="224" y="641"/>
                    <a:pt x="224" y="641"/>
                  </a:cubicBezTo>
                  <a:cubicBezTo>
                    <a:pt x="225" y="641"/>
                    <a:pt x="225" y="641"/>
                    <a:pt x="225" y="641"/>
                  </a:cubicBezTo>
                  <a:cubicBezTo>
                    <a:pt x="227" y="641"/>
                    <a:pt x="227" y="641"/>
                    <a:pt x="227" y="641"/>
                  </a:cubicBezTo>
                  <a:cubicBezTo>
                    <a:pt x="229" y="639"/>
                    <a:pt x="229" y="639"/>
                    <a:pt x="229" y="639"/>
                  </a:cubicBezTo>
                  <a:cubicBezTo>
                    <a:pt x="231" y="639"/>
                    <a:pt x="231" y="639"/>
                    <a:pt x="231" y="639"/>
                  </a:cubicBezTo>
                  <a:cubicBezTo>
                    <a:pt x="231" y="638"/>
                    <a:pt x="231" y="638"/>
                    <a:pt x="231" y="638"/>
                  </a:cubicBezTo>
                  <a:cubicBezTo>
                    <a:pt x="227" y="636"/>
                    <a:pt x="227" y="636"/>
                    <a:pt x="227" y="636"/>
                  </a:cubicBezTo>
                  <a:cubicBezTo>
                    <a:pt x="225" y="634"/>
                    <a:pt x="225" y="634"/>
                    <a:pt x="225" y="634"/>
                  </a:cubicBezTo>
                  <a:cubicBezTo>
                    <a:pt x="224" y="636"/>
                    <a:pt x="224" y="636"/>
                    <a:pt x="224" y="636"/>
                  </a:cubicBezTo>
                  <a:cubicBezTo>
                    <a:pt x="222" y="634"/>
                    <a:pt x="222" y="634"/>
                    <a:pt x="222" y="634"/>
                  </a:cubicBezTo>
                  <a:cubicBezTo>
                    <a:pt x="220" y="628"/>
                    <a:pt x="220" y="628"/>
                    <a:pt x="220" y="628"/>
                  </a:cubicBezTo>
                  <a:cubicBezTo>
                    <a:pt x="225" y="627"/>
                    <a:pt x="225" y="627"/>
                    <a:pt x="225" y="627"/>
                  </a:cubicBezTo>
                  <a:cubicBezTo>
                    <a:pt x="229" y="628"/>
                    <a:pt x="229" y="628"/>
                    <a:pt x="229" y="628"/>
                  </a:cubicBezTo>
                  <a:cubicBezTo>
                    <a:pt x="231" y="627"/>
                    <a:pt x="231" y="627"/>
                    <a:pt x="231" y="627"/>
                  </a:cubicBezTo>
                  <a:cubicBezTo>
                    <a:pt x="229" y="627"/>
                    <a:pt x="229" y="627"/>
                    <a:pt x="229" y="627"/>
                  </a:cubicBezTo>
                  <a:cubicBezTo>
                    <a:pt x="227" y="625"/>
                    <a:pt x="227" y="625"/>
                    <a:pt x="227" y="625"/>
                  </a:cubicBezTo>
                  <a:cubicBezTo>
                    <a:pt x="231" y="621"/>
                    <a:pt x="231" y="621"/>
                    <a:pt x="231" y="621"/>
                  </a:cubicBezTo>
                  <a:cubicBezTo>
                    <a:pt x="240" y="617"/>
                    <a:pt x="240" y="617"/>
                    <a:pt x="240" y="617"/>
                  </a:cubicBezTo>
                  <a:cubicBezTo>
                    <a:pt x="242" y="614"/>
                    <a:pt x="242" y="614"/>
                    <a:pt x="242" y="614"/>
                  </a:cubicBezTo>
                  <a:cubicBezTo>
                    <a:pt x="240" y="612"/>
                    <a:pt x="240" y="612"/>
                    <a:pt x="240" y="612"/>
                  </a:cubicBezTo>
                  <a:cubicBezTo>
                    <a:pt x="236" y="612"/>
                    <a:pt x="236" y="612"/>
                    <a:pt x="236" y="612"/>
                  </a:cubicBezTo>
                  <a:cubicBezTo>
                    <a:pt x="233" y="616"/>
                    <a:pt x="233" y="616"/>
                    <a:pt x="233" y="616"/>
                  </a:cubicBezTo>
                  <a:cubicBezTo>
                    <a:pt x="229" y="616"/>
                    <a:pt x="229" y="616"/>
                    <a:pt x="229" y="616"/>
                  </a:cubicBezTo>
                  <a:cubicBezTo>
                    <a:pt x="227" y="616"/>
                    <a:pt x="227" y="616"/>
                    <a:pt x="227" y="616"/>
                  </a:cubicBezTo>
                  <a:cubicBezTo>
                    <a:pt x="227" y="616"/>
                    <a:pt x="227" y="616"/>
                    <a:pt x="227" y="616"/>
                  </a:cubicBezTo>
                  <a:cubicBezTo>
                    <a:pt x="229" y="607"/>
                    <a:pt x="229" y="607"/>
                    <a:pt x="229" y="607"/>
                  </a:cubicBezTo>
                  <a:cubicBezTo>
                    <a:pt x="231" y="607"/>
                    <a:pt x="231" y="607"/>
                    <a:pt x="231" y="607"/>
                  </a:cubicBezTo>
                  <a:cubicBezTo>
                    <a:pt x="234" y="599"/>
                    <a:pt x="234" y="599"/>
                    <a:pt x="234" y="599"/>
                  </a:cubicBezTo>
                  <a:cubicBezTo>
                    <a:pt x="244" y="599"/>
                    <a:pt x="244" y="599"/>
                    <a:pt x="244" y="599"/>
                  </a:cubicBezTo>
                  <a:cubicBezTo>
                    <a:pt x="245" y="597"/>
                    <a:pt x="245" y="597"/>
                    <a:pt x="245" y="597"/>
                  </a:cubicBezTo>
                  <a:cubicBezTo>
                    <a:pt x="245" y="594"/>
                    <a:pt x="245" y="594"/>
                    <a:pt x="245" y="594"/>
                  </a:cubicBezTo>
                  <a:cubicBezTo>
                    <a:pt x="247" y="587"/>
                    <a:pt x="247" y="587"/>
                    <a:pt x="247" y="587"/>
                  </a:cubicBezTo>
                  <a:cubicBezTo>
                    <a:pt x="247" y="581"/>
                    <a:pt x="247" y="581"/>
                    <a:pt x="247" y="581"/>
                  </a:cubicBezTo>
                  <a:cubicBezTo>
                    <a:pt x="242" y="577"/>
                    <a:pt x="242" y="577"/>
                    <a:pt x="242" y="577"/>
                  </a:cubicBezTo>
                  <a:cubicBezTo>
                    <a:pt x="244" y="570"/>
                    <a:pt x="244" y="570"/>
                    <a:pt x="244" y="570"/>
                  </a:cubicBezTo>
                  <a:cubicBezTo>
                    <a:pt x="247" y="570"/>
                    <a:pt x="247" y="570"/>
                    <a:pt x="247" y="570"/>
                  </a:cubicBezTo>
                  <a:cubicBezTo>
                    <a:pt x="249" y="566"/>
                    <a:pt x="249" y="566"/>
                    <a:pt x="249" y="566"/>
                  </a:cubicBezTo>
                  <a:cubicBezTo>
                    <a:pt x="249" y="561"/>
                    <a:pt x="249" y="561"/>
                    <a:pt x="249" y="561"/>
                  </a:cubicBezTo>
                  <a:cubicBezTo>
                    <a:pt x="247" y="561"/>
                    <a:pt x="247" y="561"/>
                    <a:pt x="247" y="561"/>
                  </a:cubicBezTo>
                  <a:cubicBezTo>
                    <a:pt x="245" y="556"/>
                    <a:pt x="245" y="556"/>
                    <a:pt x="245" y="556"/>
                  </a:cubicBezTo>
                  <a:cubicBezTo>
                    <a:pt x="244" y="559"/>
                    <a:pt x="244" y="559"/>
                    <a:pt x="244" y="559"/>
                  </a:cubicBezTo>
                  <a:cubicBezTo>
                    <a:pt x="238" y="557"/>
                    <a:pt x="238" y="557"/>
                    <a:pt x="238" y="557"/>
                  </a:cubicBezTo>
                  <a:cubicBezTo>
                    <a:pt x="233" y="556"/>
                    <a:pt x="233" y="556"/>
                    <a:pt x="233" y="556"/>
                  </a:cubicBezTo>
                  <a:cubicBezTo>
                    <a:pt x="229" y="556"/>
                    <a:pt x="229" y="556"/>
                    <a:pt x="229" y="556"/>
                  </a:cubicBezTo>
                  <a:cubicBezTo>
                    <a:pt x="225" y="554"/>
                    <a:pt x="225" y="554"/>
                    <a:pt x="225" y="554"/>
                  </a:cubicBezTo>
                  <a:cubicBezTo>
                    <a:pt x="222" y="554"/>
                    <a:pt x="222" y="554"/>
                    <a:pt x="222" y="554"/>
                  </a:cubicBezTo>
                  <a:cubicBezTo>
                    <a:pt x="216" y="552"/>
                    <a:pt x="216" y="552"/>
                    <a:pt x="216" y="552"/>
                  </a:cubicBezTo>
                  <a:cubicBezTo>
                    <a:pt x="213" y="554"/>
                    <a:pt x="213" y="554"/>
                    <a:pt x="213" y="554"/>
                  </a:cubicBezTo>
                  <a:cubicBezTo>
                    <a:pt x="211" y="552"/>
                    <a:pt x="211" y="552"/>
                    <a:pt x="211" y="552"/>
                  </a:cubicBezTo>
                  <a:cubicBezTo>
                    <a:pt x="205" y="548"/>
                    <a:pt x="205" y="548"/>
                    <a:pt x="205" y="548"/>
                  </a:cubicBezTo>
                  <a:cubicBezTo>
                    <a:pt x="202" y="539"/>
                    <a:pt x="202" y="539"/>
                    <a:pt x="202" y="539"/>
                  </a:cubicBezTo>
                  <a:cubicBezTo>
                    <a:pt x="200" y="539"/>
                    <a:pt x="200" y="539"/>
                    <a:pt x="200" y="539"/>
                  </a:cubicBezTo>
                  <a:cubicBezTo>
                    <a:pt x="194" y="545"/>
                    <a:pt x="194" y="545"/>
                    <a:pt x="194" y="545"/>
                  </a:cubicBezTo>
                  <a:cubicBezTo>
                    <a:pt x="191" y="543"/>
                    <a:pt x="191" y="543"/>
                    <a:pt x="191" y="543"/>
                  </a:cubicBezTo>
                  <a:cubicBezTo>
                    <a:pt x="185" y="545"/>
                    <a:pt x="185" y="545"/>
                    <a:pt x="185" y="545"/>
                  </a:cubicBezTo>
                  <a:cubicBezTo>
                    <a:pt x="182" y="543"/>
                    <a:pt x="182" y="543"/>
                    <a:pt x="182" y="543"/>
                  </a:cubicBezTo>
                  <a:cubicBezTo>
                    <a:pt x="178" y="545"/>
                    <a:pt x="178" y="545"/>
                    <a:pt x="178" y="545"/>
                  </a:cubicBezTo>
                  <a:cubicBezTo>
                    <a:pt x="171" y="537"/>
                    <a:pt x="171" y="537"/>
                    <a:pt x="171" y="537"/>
                  </a:cubicBezTo>
                  <a:cubicBezTo>
                    <a:pt x="169" y="532"/>
                    <a:pt x="169" y="532"/>
                    <a:pt x="169" y="532"/>
                  </a:cubicBezTo>
                  <a:cubicBezTo>
                    <a:pt x="169" y="528"/>
                    <a:pt x="169" y="528"/>
                    <a:pt x="169" y="528"/>
                  </a:cubicBezTo>
                  <a:cubicBezTo>
                    <a:pt x="165" y="526"/>
                    <a:pt x="165" y="526"/>
                    <a:pt x="165" y="526"/>
                  </a:cubicBezTo>
                  <a:cubicBezTo>
                    <a:pt x="165" y="523"/>
                    <a:pt x="165" y="523"/>
                    <a:pt x="165" y="523"/>
                  </a:cubicBezTo>
                  <a:cubicBezTo>
                    <a:pt x="162" y="521"/>
                    <a:pt x="162" y="521"/>
                    <a:pt x="162" y="521"/>
                  </a:cubicBezTo>
                  <a:cubicBezTo>
                    <a:pt x="153" y="523"/>
                    <a:pt x="153" y="523"/>
                    <a:pt x="153" y="523"/>
                  </a:cubicBezTo>
                  <a:cubicBezTo>
                    <a:pt x="147" y="515"/>
                    <a:pt x="147" y="515"/>
                    <a:pt x="147" y="515"/>
                  </a:cubicBezTo>
                  <a:cubicBezTo>
                    <a:pt x="149" y="512"/>
                    <a:pt x="149" y="512"/>
                    <a:pt x="149" y="512"/>
                  </a:cubicBezTo>
                  <a:cubicBezTo>
                    <a:pt x="145" y="508"/>
                    <a:pt x="145" y="508"/>
                    <a:pt x="145" y="508"/>
                  </a:cubicBezTo>
                  <a:cubicBezTo>
                    <a:pt x="143" y="501"/>
                    <a:pt x="143" y="501"/>
                    <a:pt x="143" y="501"/>
                  </a:cubicBezTo>
                  <a:cubicBezTo>
                    <a:pt x="138" y="501"/>
                    <a:pt x="138" y="501"/>
                    <a:pt x="138" y="501"/>
                  </a:cubicBezTo>
                  <a:cubicBezTo>
                    <a:pt x="134" y="503"/>
                    <a:pt x="134" y="503"/>
                    <a:pt x="134" y="503"/>
                  </a:cubicBezTo>
                  <a:cubicBezTo>
                    <a:pt x="125" y="503"/>
                    <a:pt x="125" y="503"/>
                    <a:pt x="125" y="503"/>
                  </a:cubicBezTo>
                  <a:cubicBezTo>
                    <a:pt x="118" y="501"/>
                    <a:pt x="118" y="501"/>
                    <a:pt x="118" y="501"/>
                  </a:cubicBezTo>
                  <a:cubicBezTo>
                    <a:pt x="114" y="503"/>
                    <a:pt x="114" y="503"/>
                    <a:pt x="114" y="503"/>
                  </a:cubicBezTo>
                  <a:cubicBezTo>
                    <a:pt x="114" y="506"/>
                    <a:pt x="114" y="506"/>
                    <a:pt x="114" y="506"/>
                  </a:cubicBezTo>
                  <a:cubicBezTo>
                    <a:pt x="111" y="506"/>
                    <a:pt x="111" y="506"/>
                    <a:pt x="111" y="506"/>
                  </a:cubicBezTo>
                  <a:cubicBezTo>
                    <a:pt x="109" y="506"/>
                    <a:pt x="109" y="506"/>
                    <a:pt x="109" y="506"/>
                  </a:cubicBezTo>
                  <a:cubicBezTo>
                    <a:pt x="109" y="503"/>
                    <a:pt x="109" y="503"/>
                    <a:pt x="109" y="503"/>
                  </a:cubicBezTo>
                  <a:cubicBezTo>
                    <a:pt x="103" y="497"/>
                    <a:pt x="103" y="497"/>
                    <a:pt x="103" y="497"/>
                  </a:cubicBezTo>
                  <a:cubicBezTo>
                    <a:pt x="105" y="494"/>
                    <a:pt x="105" y="494"/>
                    <a:pt x="105" y="494"/>
                  </a:cubicBezTo>
                  <a:cubicBezTo>
                    <a:pt x="102" y="488"/>
                    <a:pt x="102" y="488"/>
                    <a:pt x="102" y="488"/>
                  </a:cubicBezTo>
                  <a:cubicBezTo>
                    <a:pt x="102" y="483"/>
                    <a:pt x="102" y="483"/>
                    <a:pt x="102" y="483"/>
                  </a:cubicBezTo>
                  <a:cubicBezTo>
                    <a:pt x="102" y="481"/>
                    <a:pt x="102" y="481"/>
                    <a:pt x="102" y="481"/>
                  </a:cubicBezTo>
                  <a:cubicBezTo>
                    <a:pt x="107" y="485"/>
                    <a:pt x="107" y="485"/>
                    <a:pt x="107" y="485"/>
                  </a:cubicBezTo>
                  <a:cubicBezTo>
                    <a:pt x="114" y="483"/>
                    <a:pt x="114" y="483"/>
                    <a:pt x="114" y="483"/>
                  </a:cubicBezTo>
                  <a:cubicBezTo>
                    <a:pt x="118" y="477"/>
                    <a:pt x="118" y="477"/>
                    <a:pt x="118" y="477"/>
                  </a:cubicBezTo>
                  <a:cubicBezTo>
                    <a:pt x="120" y="475"/>
                    <a:pt x="120" y="475"/>
                    <a:pt x="120" y="475"/>
                  </a:cubicBezTo>
                  <a:cubicBezTo>
                    <a:pt x="116" y="472"/>
                    <a:pt x="116" y="472"/>
                    <a:pt x="116" y="472"/>
                  </a:cubicBezTo>
                  <a:cubicBezTo>
                    <a:pt x="116" y="468"/>
                    <a:pt x="116" y="468"/>
                    <a:pt x="116" y="468"/>
                  </a:cubicBezTo>
                  <a:cubicBezTo>
                    <a:pt x="109" y="463"/>
                    <a:pt x="109" y="463"/>
                    <a:pt x="109" y="463"/>
                  </a:cubicBezTo>
                  <a:cubicBezTo>
                    <a:pt x="103" y="463"/>
                    <a:pt x="103" y="463"/>
                    <a:pt x="103" y="463"/>
                  </a:cubicBezTo>
                  <a:cubicBezTo>
                    <a:pt x="102" y="455"/>
                    <a:pt x="102" y="455"/>
                    <a:pt x="102" y="455"/>
                  </a:cubicBezTo>
                  <a:cubicBezTo>
                    <a:pt x="98" y="454"/>
                    <a:pt x="98" y="454"/>
                    <a:pt x="98" y="454"/>
                  </a:cubicBezTo>
                  <a:cubicBezTo>
                    <a:pt x="94" y="448"/>
                    <a:pt x="94" y="448"/>
                    <a:pt x="94" y="448"/>
                  </a:cubicBezTo>
                  <a:cubicBezTo>
                    <a:pt x="92" y="443"/>
                    <a:pt x="92" y="443"/>
                    <a:pt x="92" y="443"/>
                  </a:cubicBezTo>
                  <a:cubicBezTo>
                    <a:pt x="89" y="439"/>
                    <a:pt x="89" y="439"/>
                    <a:pt x="89" y="439"/>
                  </a:cubicBezTo>
                  <a:cubicBezTo>
                    <a:pt x="89" y="434"/>
                    <a:pt x="89" y="434"/>
                    <a:pt x="89" y="434"/>
                  </a:cubicBezTo>
                  <a:cubicBezTo>
                    <a:pt x="85" y="430"/>
                    <a:pt x="85" y="430"/>
                    <a:pt x="85" y="430"/>
                  </a:cubicBezTo>
                  <a:cubicBezTo>
                    <a:pt x="87" y="424"/>
                    <a:pt x="87" y="424"/>
                    <a:pt x="87" y="424"/>
                  </a:cubicBezTo>
                  <a:cubicBezTo>
                    <a:pt x="85" y="421"/>
                    <a:pt x="85" y="421"/>
                    <a:pt x="85" y="421"/>
                  </a:cubicBezTo>
                  <a:cubicBezTo>
                    <a:pt x="78" y="419"/>
                    <a:pt x="78" y="419"/>
                    <a:pt x="78" y="419"/>
                  </a:cubicBezTo>
                  <a:cubicBezTo>
                    <a:pt x="76" y="419"/>
                    <a:pt x="76" y="419"/>
                    <a:pt x="76" y="419"/>
                  </a:cubicBezTo>
                  <a:cubicBezTo>
                    <a:pt x="74" y="415"/>
                    <a:pt x="74" y="415"/>
                    <a:pt x="74" y="415"/>
                  </a:cubicBezTo>
                  <a:cubicBezTo>
                    <a:pt x="69" y="417"/>
                    <a:pt x="69" y="417"/>
                    <a:pt x="69" y="417"/>
                  </a:cubicBezTo>
                  <a:cubicBezTo>
                    <a:pt x="63" y="421"/>
                    <a:pt x="63" y="421"/>
                    <a:pt x="63" y="421"/>
                  </a:cubicBezTo>
                  <a:cubicBezTo>
                    <a:pt x="61" y="415"/>
                    <a:pt x="61" y="415"/>
                    <a:pt x="61" y="415"/>
                  </a:cubicBezTo>
                  <a:cubicBezTo>
                    <a:pt x="58" y="415"/>
                    <a:pt x="58" y="415"/>
                    <a:pt x="58" y="415"/>
                  </a:cubicBezTo>
                  <a:cubicBezTo>
                    <a:pt x="52" y="417"/>
                    <a:pt x="52" y="417"/>
                    <a:pt x="52" y="417"/>
                  </a:cubicBezTo>
                  <a:cubicBezTo>
                    <a:pt x="49" y="412"/>
                    <a:pt x="49" y="412"/>
                    <a:pt x="49" y="412"/>
                  </a:cubicBezTo>
                  <a:cubicBezTo>
                    <a:pt x="45" y="413"/>
                    <a:pt x="45" y="413"/>
                    <a:pt x="45" y="413"/>
                  </a:cubicBezTo>
                  <a:cubicBezTo>
                    <a:pt x="43" y="412"/>
                    <a:pt x="43" y="412"/>
                    <a:pt x="43" y="412"/>
                  </a:cubicBezTo>
                  <a:cubicBezTo>
                    <a:pt x="41" y="412"/>
                    <a:pt x="41" y="412"/>
                    <a:pt x="41" y="412"/>
                  </a:cubicBezTo>
                  <a:cubicBezTo>
                    <a:pt x="41" y="406"/>
                    <a:pt x="41" y="406"/>
                    <a:pt x="41" y="406"/>
                  </a:cubicBezTo>
                  <a:cubicBezTo>
                    <a:pt x="38" y="404"/>
                    <a:pt x="38" y="404"/>
                    <a:pt x="38" y="404"/>
                  </a:cubicBezTo>
                  <a:cubicBezTo>
                    <a:pt x="36" y="399"/>
                    <a:pt x="36" y="399"/>
                    <a:pt x="36" y="399"/>
                  </a:cubicBezTo>
                  <a:cubicBezTo>
                    <a:pt x="36" y="397"/>
                    <a:pt x="36" y="397"/>
                    <a:pt x="36" y="397"/>
                  </a:cubicBezTo>
                  <a:cubicBezTo>
                    <a:pt x="32" y="393"/>
                    <a:pt x="32" y="393"/>
                    <a:pt x="32" y="393"/>
                  </a:cubicBezTo>
                  <a:cubicBezTo>
                    <a:pt x="34" y="392"/>
                    <a:pt x="34" y="392"/>
                    <a:pt x="34" y="392"/>
                  </a:cubicBezTo>
                  <a:cubicBezTo>
                    <a:pt x="32" y="388"/>
                    <a:pt x="32" y="388"/>
                    <a:pt x="32" y="388"/>
                  </a:cubicBezTo>
                  <a:cubicBezTo>
                    <a:pt x="30" y="386"/>
                    <a:pt x="30" y="386"/>
                    <a:pt x="30" y="386"/>
                  </a:cubicBezTo>
                  <a:cubicBezTo>
                    <a:pt x="32" y="384"/>
                    <a:pt x="32" y="384"/>
                    <a:pt x="32" y="384"/>
                  </a:cubicBezTo>
                  <a:cubicBezTo>
                    <a:pt x="30" y="383"/>
                    <a:pt x="30" y="383"/>
                    <a:pt x="30" y="383"/>
                  </a:cubicBezTo>
                  <a:cubicBezTo>
                    <a:pt x="29" y="381"/>
                    <a:pt x="29" y="381"/>
                    <a:pt x="29" y="381"/>
                  </a:cubicBezTo>
                  <a:cubicBezTo>
                    <a:pt x="30" y="377"/>
                    <a:pt x="30" y="377"/>
                    <a:pt x="30" y="377"/>
                  </a:cubicBezTo>
                  <a:cubicBezTo>
                    <a:pt x="30" y="375"/>
                    <a:pt x="30" y="375"/>
                    <a:pt x="30" y="375"/>
                  </a:cubicBezTo>
                  <a:cubicBezTo>
                    <a:pt x="32" y="372"/>
                    <a:pt x="32" y="372"/>
                    <a:pt x="32" y="372"/>
                  </a:cubicBezTo>
                  <a:cubicBezTo>
                    <a:pt x="32" y="368"/>
                    <a:pt x="32" y="368"/>
                    <a:pt x="32" y="368"/>
                  </a:cubicBezTo>
                  <a:cubicBezTo>
                    <a:pt x="25" y="353"/>
                    <a:pt x="25" y="353"/>
                    <a:pt x="25" y="353"/>
                  </a:cubicBezTo>
                  <a:cubicBezTo>
                    <a:pt x="25" y="341"/>
                    <a:pt x="25" y="341"/>
                    <a:pt x="25" y="341"/>
                  </a:cubicBezTo>
                  <a:cubicBezTo>
                    <a:pt x="29" y="341"/>
                    <a:pt x="29" y="341"/>
                    <a:pt x="29" y="341"/>
                  </a:cubicBezTo>
                  <a:cubicBezTo>
                    <a:pt x="29" y="335"/>
                    <a:pt x="29" y="335"/>
                    <a:pt x="29" y="335"/>
                  </a:cubicBezTo>
                  <a:cubicBezTo>
                    <a:pt x="32" y="332"/>
                    <a:pt x="32" y="332"/>
                    <a:pt x="32" y="332"/>
                  </a:cubicBezTo>
                  <a:cubicBezTo>
                    <a:pt x="32" y="330"/>
                    <a:pt x="32" y="330"/>
                    <a:pt x="32" y="330"/>
                  </a:cubicBezTo>
                  <a:cubicBezTo>
                    <a:pt x="32" y="330"/>
                    <a:pt x="32" y="330"/>
                    <a:pt x="32" y="330"/>
                  </a:cubicBezTo>
                  <a:cubicBezTo>
                    <a:pt x="30" y="328"/>
                    <a:pt x="30" y="328"/>
                    <a:pt x="30" y="328"/>
                  </a:cubicBezTo>
                  <a:cubicBezTo>
                    <a:pt x="30" y="326"/>
                    <a:pt x="30" y="326"/>
                    <a:pt x="30" y="326"/>
                  </a:cubicBezTo>
                  <a:cubicBezTo>
                    <a:pt x="32" y="322"/>
                    <a:pt x="32" y="322"/>
                    <a:pt x="32" y="322"/>
                  </a:cubicBezTo>
                  <a:cubicBezTo>
                    <a:pt x="30" y="321"/>
                    <a:pt x="30" y="321"/>
                    <a:pt x="30" y="321"/>
                  </a:cubicBezTo>
                  <a:cubicBezTo>
                    <a:pt x="30" y="319"/>
                    <a:pt x="30" y="319"/>
                    <a:pt x="30" y="319"/>
                  </a:cubicBezTo>
                  <a:cubicBezTo>
                    <a:pt x="32" y="319"/>
                    <a:pt x="32" y="319"/>
                    <a:pt x="32" y="319"/>
                  </a:cubicBezTo>
                  <a:cubicBezTo>
                    <a:pt x="32" y="321"/>
                    <a:pt x="32" y="321"/>
                    <a:pt x="32" y="321"/>
                  </a:cubicBezTo>
                  <a:cubicBezTo>
                    <a:pt x="36" y="321"/>
                    <a:pt x="36" y="321"/>
                    <a:pt x="36" y="321"/>
                  </a:cubicBezTo>
                  <a:cubicBezTo>
                    <a:pt x="36" y="317"/>
                    <a:pt x="36" y="317"/>
                    <a:pt x="36" y="317"/>
                  </a:cubicBezTo>
                  <a:cubicBezTo>
                    <a:pt x="38" y="315"/>
                    <a:pt x="38" y="315"/>
                    <a:pt x="38" y="315"/>
                  </a:cubicBezTo>
                  <a:cubicBezTo>
                    <a:pt x="41" y="317"/>
                    <a:pt x="41" y="317"/>
                    <a:pt x="41" y="317"/>
                  </a:cubicBezTo>
                  <a:cubicBezTo>
                    <a:pt x="45" y="313"/>
                    <a:pt x="45" y="313"/>
                    <a:pt x="45" y="313"/>
                  </a:cubicBezTo>
                  <a:cubicBezTo>
                    <a:pt x="47" y="311"/>
                    <a:pt x="47" y="311"/>
                    <a:pt x="47" y="311"/>
                  </a:cubicBezTo>
                  <a:cubicBezTo>
                    <a:pt x="49" y="310"/>
                    <a:pt x="49" y="310"/>
                    <a:pt x="49" y="310"/>
                  </a:cubicBezTo>
                  <a:cubicBezTo>
                    <a:pt x="54" y="311"/>
                    <a:pt x="54" y="311"/>
                    <a:pt x="54" y="311"/>
                  </a:cubicBezTo>
                  <a:cubicBezTo>
                    <a:pt x="56" y="310"/>
                    <a:pt x="56" y="310"/>
                    <a:pt x="56" y="310"/>
                  </a:cubicBezTo>
                  <a:cubicBezTo>
                    <a:pt x="52" y="304"/>
                    <a:pt x="52" y="304"/>
                    <a:pt x="52" y="304"/>
                  </a:cubicBezTo>
                  <a:cubicBezTo>
                    <a:pt x="51" y="304"/>
                    <a:pt x="51" y="304"/>
                    <a:pt x="51" y="304"/>
                  </a:cubicBezTo>
                  <a:cubicBezTo>
                    <a:pt x="49" y="306"/>
                    <a:pt x="49" y="306"/>
                    <a:pt x="49" y="306"/>
                  </a:cubicBezTo>
                  <a:cubicBezTo>
                    <a:pt x="45" y="306"/>
                    <a:pt x="45" y="306"/>
                    <a:pt x="45" y="306"/>
                  </a:cubicBezTo>
                  <a:cubicBezTo>
                    <a:pt x="41" y="302"/>
                    <a:pt x="41" y="302"/>
                    <a:pt x="41" y="302"/>
                  </a:cubicBezTo>
                  <a:cubicBezTo>
                    <a:pt x="38" y="302"/>
                    <a:pt x="38" y="302"/>
                    <a:pt x="38" y="302"/>
                  </a:cubicBezTo>
                  <a:cubicBezTo>
                    <a:pt x="34" y="297"/>
                    <a:pt x="34" y="297"/>
                    <a:pt x="34" y="297"/>
                  </a:cubicBezTo>
                  <a:cubicBezTo>
                    <a:pt x="34" y="295"/>
                    <a:pt x="34" y="295"/>
                    <a:pt x="34" y="295"/>
                  </a:cubicBezTo>
                  <a:cubicBezTo>
                    <a:pt x="38" y="299"/>
                    <a:pt x="38" y="299"/>
                    <a:pt x="38" y="299"/>
                  </a:cubicBezTo>
                  <a:cubicBezTo>
                    <a:pt x="38" y="295"/>
                    <a:pt x="38" y="295"/>
                    <a:pt x="38" y="295"/>
                  </a:cubicBezTo>
                  <a:cubicBezTo>
                    <a:pt x="38" y="293"/>
                    <a:pt x="38" y="293"/>
                    <a:pt x="38" y="293"/>
                  </a:cubicBezTo>
                  <a:cubicBezTo>
                    <a:pt x="40" y="291"/>
                    <a:pt x="40" y="291"/>
                    <a:pt x="40" y="291"/>
                  </a:cubicBezTo>
                  <a:cubicBezTo>
                    <a:pt x="36" y="291"/>
                    <a:pt x="36" y="291"/>
                    <a:pt x="36" y="291"/>
                  </a:cubicBezTo>
                  <a:cubicBezTo>
                    <a:pt x="36" y="291"/>
                    <a:pt x="32" y="295"/>
                    <a:pt x="30" y="295"/>
                  </a:cubicBezTo>
                  <a:cubicBezTo>
                    <a:pt x="30" y="295"/>
                    <a:pt x="30" y="295"/>
                    <a:pt x="30" y="295"/>
                  </a:cubicBezTo>
                  <a:cubicBezTo>
                    <a:pt x="30" y="295"/>
                    <a:pt x="30" y="295"/>
                    <a:pt x="30" y="295"/>
                  </a:cubicBezTo>
                  <a:cubicBezTo>
                    <a:pt x="30" y="291"/>
                    <a:pt x="30" y="291"/>
                    <a:pt x="30" y="291"/>
                  </a:cubicBezTo>
                  <a:cubicBezTo>
                    <a:pt x="38" y="282"/>
                    <a:pt x="38" y="282"/>
                    <a:pt x="38" y="282"/>
                  </a:cubicBezTo>
                  <a:cubicBezTo>
                    <a:pt x="41" y="280"/>
                    <a:pt x="41" y="280"/>
                    <a:pt x="41" y="280"/>
                  </a:cubicBezTo>
                  <a:cubicBezTo>
                    <a:pt x="47" y="273"/>
                    <a:pt x="47" y="273"/>
                    <a:pt x="47" y="273"/>
                  </a:cubicBezTo>
                  <a:cubicBezTo>
                    <a:pt x="51" y="266"/>
                    <a:pt x="51" y="266"/>
                    <a:pt x="51" y="266"/>
                  </a:cubicBezTo>
                  <a:cubicBezTo>
                    <a:pt x="54" y="257"/>
                    <a:pt x="54" y="257"/>
                    <a:pt x="54" y="257"/>
                  </a:cubicBezTo>
                  <a:cubicBezTo>
                    <a:pt x="61" y="246"/>
                    <a:pt x="61" y="246"/>
                    <a:pt x="61" y="246"/>
                  </a:cubicBezTo>
                  <a:cubicBezTo>
                    <a:pt x="67" y="233"/>
                    <a:pt x="67" y="233"/>
                    <a:pt x="67" y="233"/>
                  </a:cubicBezTo>
                  <a:cubicBezTo>
                    <a:pt x="65" y="228"/>
                    <a:pt x="65" y="228"/>
                    <a:pt x="65" y="228"/>
                  </a:cubicBezTo>
                  <a:cubicBezTo>
                    <a:pt x="58" y="219"/>
                    <a:pt x="58" y="219"/>
                    <a:pt x="58" y="219"/>
                  </a:cubicBezTo>
                  <a:cubicBezTo>
                    <a:pt x="54" y="219"/>
                    <a:pt x="54" y="219"/>
                    <a:pt x="54" y="219"/>
                  </a:cubicBezTo>
                  <a:cubicBezTo>
                    <a:pt x="45" y="206"/>
                    <a:pt x="45" y="206"/>
                    <a:pt x="45" y="206"/>
                  </a:cubicBezTo>
                  <a:cubicBezTo>
                    <a:pt x="47" y="202"/>
                    <a:pt x="47" y="202"/>
                    <a:pt x="47" y="202"/>
                  </a:cubicBezTo>
                  <a:cubicBezTo>
                    <a:pt x="51" y="197"/>
                    <a:pt x="51" y="197"/>
                    <a:pt x="51" y="197"/>
                  </a:cubicBezTo>
                  <a:cubicBezTo>
                    <a:pt x="51" y="191"/>
                    <a:pt x="51" y="191"/>
                    <a:pt x="51" y="191"/>
                  </a:cubicBezTo>
                  <a:cubicBezTo>
                    <a:pt x="45" y="188"/>
                    <a:pt x="45" y="188"/>
                    <a:pt x="45" y="188"/>
                  </a:cubicBezTo>
                  <a:cubicBezTo>
                    <a:pt x="43" y="184"/>
                    <a:pt x="43" y="184"/>
                    <a:pt x="43" y="184"/>
                  </a:cubicBezTo>
                  <a:cubicBezTo>
                    <a:pt x="43" y="178"/>
                    <a:pt x="43" y="178"/>
                    <a:pt x="43" y="178"/>
                  </a:cubicBezTo>
                  <a:cubicBezTo>
                    <a:pt x="43" y="177"/>
                    <a:pt x="43" y="177"/>
                    <a:pt x="43" y="177"/>
                  </a:cubicBezTo>
                  <a:cubicBezTo>
                    <a:pt x="43" y="173"/>
                    <a:pt x="43" y="173"/>
                    <a:pt x="43" y="173"/>
                  </a:cubicBezTo>
                  <a:cubicBezTo>
                    <a:pt x="38" y="173"/>
                    <a:pt x="38" y="173"/>
                    <a:pt x="38" y="173"/>
                  </a:cubicBezTo>
                  <a:cubicBezTo>
                    <a:pt x="36" y="169"/>
                    <a:pt x="36" y="169"/>
                    <a:pt x="36" y="169"/>
                  </a:cubicBezTo>
                  <a:cubicBezTo>
                    <a:pt x="36" y="164"/>
                    <a:pt x="36" y="164"/>
                    <a:pt x="36" y="164"/>
                  </a:cubicBezTo>
                  <a:cubicBezTo>
                    <a:pt x="38" y="160"/>
                    <a:pt x="38" y="160"/>
                    <a:pt x="38" y="160"/>
                  </a:cubicBezTo>
                  <a:cubicBezTo>
                    <a:pt x="34" y="160"/>
                    <a:pt x="34" y="160"/>
                    <a:pt x="34" y="160"/>
                  </a:cubicBezTo>
                  <a:cubicBezTo>
                    <a:pt x="34" y="157"/>
                    <a:pt x="34" y="157"/>
                    <a:pt x="34" y="157"/>
                  </a:cubicBezTo>
                  <a:cubicBezTo>
                    <a:pt x="36" y="146"/>
                    <a:pt x="36" y="146"/>
                    <a:pt x="36" y="146"/>
                  </a:cubicBezTo>
                  <a:cubicBezTo>
                    <a:pt x="40" y="146"/>
                    <a:pt x="40" y="146"/>
                    <a:pt x="40" y="146"/>
                  </a:cubicBezTo>
                  <a:cubicBezTo>
                    <a:pt x="30" y="127"/>
                    <a:pt x="30" y="127"/>
                    <a:pt x="30" y="127"/>
                  </a:cubicBezTo>
                  <a:cubicBezTo>
                    <a:pt x="23" y="115"/>
                    <a:pt x="23" y="115"/>
                    <a:pt x="23" y="115"/>
                  </a:cubicBezTo>
                  <a:cubicBezTo>
                    <a:pt x="23" y="109"/>
                    <a:pt x="23" y="109"/>
                    <a:pt x="23" y="109"/>
                  </a:cubicBezTo>
                  <a:cubicBezTo>
                    <a:pt x="18" y="106"/>
                    <a:pt x="18" y="106"/>
                    <a:pt x="18" y="106"/>
                  </a:cubicBezTo>
                  <a:cubicBezTo>
                    <a:pt x="21" y="97"/>
                    <a:pt x="21" y="97"/>
                    <a:pt x="21" y="97"/>
                  </a:cubicBezTo>
                  <a:cubicBezTo>
                    <a:pt x="25" y="91"/>
                    <a:pt x="25" y="91"/>
                    <a:pt x="25" y="91"/>
                  </a:cubicBezTo>
                  <a:cubicBezTo>
                    <a:pt x="27" y="86"/>
                    <a:pt x="27" y="86"/>
                    <a:pt x="27" y="86"/>
                  </a:cubicBezTo>
                  <a:cubicBezTo>
                    <a:pt x="25" y="84"/>
                    <a:pt x="25" y="84"/>
                    <a:pt x="25" y="84"/>
                  </a:cubicBezTo>
                  <a:cubicBezTo>
                    <a:pt x="16" y="78"/>
                    <a:pt x="16" y="78"/>
                    <a:pt x="16" y="78"/>
                  </a:cubicBezTo>
                  <a:cubicBezTo>
                    <a:pt x="14" y="76"/>
                    <a:pt x="14" y="76"/>
                    <a:pt x="14" y="76"/>
                  </a:cubicBezTo>
                  <a:cubicBezTo>
                    <a:pt x="12" y="73"/>
                    <a:pt x="12" y="73"/>
                    <a:pt x="12" y="73"/>
                  </a:cubicBezTo>
                  <a:cubicBezTo>
                    <a:pt x="7" y="69"/>
                    <a:pt x="7" y="69"/>
                    <a:pt x="7" y="69"/>
                  </a:cubicBezTo>
                  <a:cubicBezTo>
                    <a:pt x="5" y="69"/>
                    <a:pt x="5" y="69"/>
                    <a:pt x="5" y="69"/>
                  </a:cubicBezTo>
                  <a:cubicBezTo>
                    <a:pt x="3" y="62"/>
                    <a:pt x="3" y="62"/>
                    <a:pt x="3" y="62"/>
                  </a:cubicBezTo>
                  <a:cubicBezTo>
                    <a:pt x="0" y="58"/>
                    <a:pt x="0" y="58"/>
                    <a:pt x="0" y="58"/>
                  </a:cubicBezTo>
                  <a:cubicBezTo>
                    <a:pt x="1" y="53"/>
                    <a:pt x="1" y="53"/>
                    <a:pt x="1" y="53"/>
                  </a:cubicBezTo>
                  <a:cubicBezTo>
                    <a:pt x="1" y="47"/>
                    <a:pt x="1" y="47"/>
                    <a:pt x="1" y="47"/>
                  </a:cubicBezTo>
                  <a:cubicBezTo>
                    <a:pt x="0" y="47"/>
                    <a:pt x="0" y="47"/>
                    <a:pt x="0" y="47"/>
                  </a:cubicBezTo>
                  <a:cubicBezTo>
                    <a:pt x="1" y="46"/>
                    <a:pt x="1" y="46"/>
                    <a:pt x="1" y="46"/>
                  </a:cubicBezTo>
                  <a:cubicBezTo>
                    <a:pt x="7" y="44"/>
                    <a:pt x="7" y="44"/>
                    <a:pt x="7" y="44"/>
                  </a:cubicBezTo>
                  <a:cubicBezTo>
                    <a:pt x="7" y="44"/>
                    <a:pt x="7" y="44"/>
                    <a:pt x="7" y="44"/>
                  </a:cubicBezTo>
                  <a:cubicBezTo>
                    <a:pt x="9" y="42"/>
                    <a:pt x="9" y="42"/>
                    <a:pt x="9" y="42"/>
                  </a:cubicBezTo>
                  <a:cubicBezTo>
                    <a:pt x="9" y="36"/>
                    <a:pt x="9" y="36"/>
                    <a:pt x="9" y="36"/>
                  </a:cubicBezTo>
                  <a:cubicBezTo>
                    <a:pt x="14" y="33"/>
                    <a:pt x="14" y="33"/>
                    <a:pt x="14" y="33"/>
                  </a:cubicBezTo>
                  <a:cubicBezTo>
                    <a:pt x="18" y="31"/>
                    <a:pt x="18" y="31"/>
                    <a:pt x="18" y="31"/>
                  </a:cubicBezTo>
                  <a:cubicBezTo>
                    <a:pt x="20" y="27"/>
                    <a:pt x="20" y="27"/>
                    <a:pt x="20" y="27"/>
                  </a:cubicBezTo>
                  <a:cubicBezTo>
                    <a:pt x="20" y="24"/>
                    <a:pt x="20" y="24"/>
                    <a:pt x="20" y="24"/>
                  </a:cubicBezTo>
                  <a:cubicBezTo>
                    <a:pt x="23" y="24"/>
                    <a:pt x="23" y="24"/>
                    <a:pt x="23" y="24"/>
                  </a:cubicBezTo>
                  <a:cubicBezTo>
                    <a:pt x="27" y="24"/>
                    <a:pt x="27" y="24"/>
                    <a:pt x="27" y="24"/>
                  </a:cubicBezTo>
                  <a:cubicBezTo>
                    <a:pt x="29" y="22"/>
                    <a:pt x="29" y="22"/>
                    <a:pt x="29" y="22"/>
                  </a:cubicBezTo>
                  <a:cubicBezTo>
                    <a:pt x="29" y="18"/>
                    <a:pt x="29" y="18"/>
                    <a:pt x="29" y="18"/>
                  </a:cubicBezTo>
                  <a:cubicBezTo>
                    <a:pt x="29" y="18"/>
                    <a:pt x="29" y="18"/>
                    <a:pt x="29" y="18"/>
                  </a:cubicBezTo>
                  <a:cubicBezTo>
                    <a:pt x="32" y="18"/>
                    <a:pt x="32" y="18"/>
                    <a:pt x="32" y="18"/>
                  </a:cubicBezTo>
                  <a:cubicBezTo>
                    <a:pt x="34" y="20"/>
                    <a:pt x="34" y="20"/>
                    <a:pt x="34" y="20"/>
                  </a:cubicBezTo>
                  <a:cubicBezTo>
                    <a:pt x="34" y="24"/>
                    <a:pt x="34" y="24"/>
                    <a:pt x="34" y="24"/>
                  </a:cubicBezTo>
                  <a:cubicBezTo>
                    <a:pt x="34" y="25"/>
                    <a:pt x="34" y="25"/>
                    <a:pt x="34" y="25"/>
                  </a:cubicBezTo>
                  <a:cubicBezTo>
                    <a:pt x="36" y="22"/>
                    <a:pt x="36" y="22"/>
                    <a:pt x="36" y="22"/>
                  </a:cubicBezTo>
                  <a:cubicBezTo>
                    <a:pt x="36" y="18"/>
                    <a:pt x="36" y="18"/>
                    <a:pt x="36" y="18"/>
                  </a:cubicBezTo>
                  <a:cubicBezTo>
                    <a:pt x="40" y="18"/>
                    <a:pt x="40" y="18"/>
                    <a:pt x="40" y="18"/>
                  </a:cubicBezTo>
                  <a:cubicBezTo>
                    <a:pt x="40" y="18"/>
                    <a:pt x="40" y="18"/>
                    <a:pt x="40" y="18"/>
                  </a:cubicBezTo>
                  <a:cubicBezTo>
                    <a:pt x="38" y="16"/>
                    <a:pt x="38" y="16"/>
                    <a:pt x="38" y="16"/>
                  </a:cubicBezTo>
                  <a:cubicBezTo>
                    <a:pt x="38" y="15"/>
                    <a:pt x="38" y="15"/>
                    <a:pt x="38" y="15"/>
                  </a:cubicBezTo>
                  <a:cubicBezTo>
                    <a:pt x="40" y="15"/>
                    <a:pt x="40" y="15"/>
                    <a:pt x="40" y="15"/>
                  </a:cubicBezTo>
                  <a:cubicBezTo>
                    <a:pt x="41" y="15"/>
                    <a:pt x="41" y="15"/>
                    <a:pt x="41" y="15"/>
                  </a:cubicBezTo>
                  <a:cubicBezTo>
                    <a:pt x="41" y="13"/>
                    <a:pt x="41" y="13"/>
                    <a:pt x="41" y="13"/>
                  </a:cubicBezTo>
                  <a:cubicBezTo>
                    <a:pt x="40" y="13"/>
                    <a:pt x="40" y="13"/>
                    <a:pt x="40" y="13"/>
                  </a:cubicBezTo>
                  <a:cubicBezTo>
                    <a:pt x="40" y="11"/>
                    <a:pt x="40" y="11"/>
                    <a:pt x="40" y="11"/>
                  </a:cubicBezTo>
                  <a:cubicBezTo>
                    <a:pt x="40" y="11"/>
                    <a:pt x="40" y="11"/>
                    <a:pt x="40" y="11"/>
                  </a:cubicBezTo>
                  <a:cubicBezTo>
                    <a:pt x="43" y="11"/>
                    <a:pt x="43" y="11"/>
                    <a:pt x="43" y="11"/>
                  </a:cubicBezTo>
                  <a:cubicBezTo>
                    <a:pt x="47" y="13"/>
                    <a:pt x="47" y="13"/>
                    <a:pt x="47" y="13"/>
                  </a:cubicBezTo>
                  <a:cubicBezTo>
                    <a:pt x="49" y="15"/>
                    <a:pt x="49" y="15"/>
                    <a:pt x="49" y="15"/>
                  </a:cubicBezTo>
                  <a:cubicBezTo>
                    <a:pt x="51" y="16"/>
                    <a:pt x="51" y="16"/>
                    <a:pt x="51" y="16"/>
                  </a:cubicBezTo>
                  <a:cubicBezTo>
                    <a:pt x="52" y="15"/>
                    <a:pt x="52" y="15"/>
                    <a:pt x="52" y="15"/>
                  </a:cubicBezTo>
                  <a:cubicBezTo>
                    <a:pt x="54" y="16"/>
                    <a:pt x="54" y="16"/>
                    <a:pt x="54" y="16"/>
                  </a:cubicBezTo>
                  <a:cubicBezTo>
                    <a:pt x="56" y="16"/>
                    <a:pt x="56" y="16"/>
                    <a:pt x="56" y="16"/>
                  </a:cubicBezTo>
                  <a:cubicBezTo>
                    <a:pt x="58" y="18"/>
                    <a:pt x="58" y="18"/>
                    <a:pt x="58" y="18"/>
                  </a:cubicBezTo>
                  <a:cubicBezTo>
                    <a:pt x="58" y="20"/>
                    <a:pt x="58" y="20"/>
                    <a:pt x="58" y="20"/>
                  </a:cubicBezTo>
                  <a:cubicBezTo>
                    <a:pt x="54" y="22"/>
                    <a:pt x="54" y="22"/>
                    <a:pt x="54" y="22"/>
                  </a:cubicBezTo>
                  <a:cubicBezTo>
                    <a:pt x="52" y="22"/>
                    <a:pt x="52" y="22"/>
                    <a:pt x="52" y="22"/>
                  </a:cubicBezTo>
                  <a:cubicBezTo>
                    <a:pt x="49" y="22"/>
                    <a:pt x="49" y="22"/>
                    <a:pt x="49" y="22"/>
                  </a:cubicBezTo>
                  <a:cubicBezTo>
                    <a:pt x="45" y="20"/>
                    <a:pt x="45" y="20"/>
                    <a:pt x="45" y="20"/>
                  </a:cubicBezTo>
                  <a:cubicBezTo>
                    <a:pt x="45" y="16"/>
                    <a:pt x="45" y="16"/>
                    <a:pt x="45" y="16"/>
                  </a:cubicBezTo>
                  <a:cubicBezTo>
                    <a:pt x="43" y="20"/>
                    <a:pt x="43" y="20"/>
                    <a:pt x="43" y="20"/>
                  </a:cubicBezTo>
                  <a:cubicBezTo>
                    <a:pt x="43" y="24"/>
                    <a:pt x="43" y="24"/>
                    <a:pt x="43" y="24"/>
                  </a:cubicBezTo>
                  <a:cubicBezTo>
                    <a:pt x="43" y="27"/>
                    <a:pt x="43" y="27"/>
                    <a:pt x="43" y="27"/>
                  </a:cubicBezTo>
                  <a:cubicBezTo>
                    <a:pt x="47" y="24"/>
                    <a:pt x="47" y="24"/>
                    <a:pt x="47" y="24"/>
                  </a:cubicBezTo>
                  <a:cubicBezTo>
                    <a:pt x="49" y="25"/>
                    <a:pt x="49" y="25"/>
                    <a:pt x="49" y="25"/>
                  </a:cubicBezTo>
                  <a:cubicBezTo>
                    <a:pt x="49" y="27"/>
                    <a:pt x="49" y="27"/>
                    <a:pt x="49" y="27"/>
                  </a:cubicBezTo>
                  <a:cubicBezTo>
                    <a:pt x="51" y="25"/>
                    <a:pt x="51" y="25"/>
                    <a:pt x="51" y="25"/>
                  </a:cubicBezTo>
                  <a:cubicBezTo>
                    <a:pt x="54" y="27"/>
                    <a:pt x="54" y="27"/>
                    <a:pt x="54" y="27"/>
                  </a:cubicBezTo>
                  <a:cubicBezTo>
                    <a:pt x="54" y="29"/>
                    <a:pt x="54" y="29"/>
                    <a:pt x="54" y="29"/>
                  </a:cubicBezTo>
                  <a:cubicBezTo>
                    <a:pt x="56" y="29"/>
                    <a:pt x="56" y="29"/>
                    <a:pt x="56" y="29"/>
                  </a:cubicBezTo>
                  <a:cubicBezTo>
                    <a:pt x="58" y="27"/>
                    <a:pt x="58" y="27"/>
                    <a:pt x="58" y="27"/>
                  </a:cubicBezTo>
                  <a:cubicBezTo>
                    <a:pt x="58" y="27"/>
                    <a:pt x="58" y="27"/>
                    <a:pt x="58" y="27"/>
                  </a:cubicBezTo>
                  <a:cubicBezTo>
                    <a:pt x="58" y="29"/>
                    <a:pt x="58" y="29"/>
                    <a:pt x="58" y="29"/>
                  </a:cubicBezTo>
                  <a:cubicBezTo>
                    <a:pt x="58" y="31"/>
                    <a:pt x="58" y="31"/>
                    <a:pt x="58" y="31"/>
                  </a:cubicBezTo>
                  <a:cubicBezTo>
                    <a:pt x="60" y="27"/>
                    <a:pt x="60" y="27"/>
                    <a:pt x="60" y="27"/>
                  </a:cubicBezTo>
                  <a:cubicBezTo>
                    <a:pt x="61" y="27"/>
                    <a:pt x="61" y="27"/>
                    <a:pt x="61" y="27"/>
                  </a:cubicBezTo>
                  <a:cubicBezTo>
                    <a:pt x="63" y="27"/>
                    <a:pt x="63" y="27"/>
                    <a:pt x="63" y="27"/>
                  </a:cubicBezTo>
                  <a:cubicBezTo>
                    <a:pt x="63" y="29"/>
                    <a:pt x="63" y="29"/>
                    <a:pt x="63" y="29"/>
                  </a:cubicBezTo>
                  <a:cubicBezTo>
                    <a:pt x="61" y="31"/>
                    <a:pt x="61" y="31"/>
                    <a:pt x="61" y="31"/>
                  </a:cubicBezTo>
                  <a:cubicBezTo>
                    <a:pt x="65" y="31"/>
                    <a:pt x="65" y="31"/>
                    <a:pt x="65" y="31"/>
                  </a:cubicBezTo>
                  <a:cubicBezTo>
                    <a:pt x="65" y="33"/>
                    <a:pt x="65" y="33"/>
                    <a:pt x="65" y="33"/>
                  </a:cubicBezTo>
                  <a:cubicBezTo>
                    <a:pt x="63" y="33"/>
                    <a:pt x="63" y="33"/>
                    <a:pt x="63" y="33"/>
                  </a:cubicBezTo>
                  <a:cubicBezTo>
                    <a:pt x="61" y="36"/>
                    <a:pt x="61" y="36"/>
                    <a:pt x="61" y="36"/>
                  </a:cubicBezTo>
                  <a:cubicBezTo>
                    <a:pt x="65" y="36"/>
                    <a:pt x="65" y="36"/>
                    <a:pt x="65" y="36"/>
                  </a:cubicBezTo>
                  <a:cubicBezTo>
                    <a:pt x="67" y="33"/>
                    <a:pt x="67" y="33"/>
                    <a:pt x="67" y="33"/>
                  </a:cubicBezTo>
                  <a:cubicBezTo>
                    <a:pt x="67" y="29"/>
                    <a:pt x="67" y="29"/>
                    <a:pt x="67" y="29"/>
                  </a:cubicBezTo>
                  <a:cubicBezTo>
                    <a:pt x="69" y="29"/>
                    <a:pt x="69" y="29"/>
                    <a:pt x="69" y="29"/>
                  </a:cubicBezTo>
                  <a:cubicBezTo>
                    <a:pt x="72" y="27"/>
                    <a:pt x="72" y="27"/>
                    <a:pt x="72" y="27"/>
                  </a:cubicBezTo>
                  <a:cubicBezTo>
                    <a:pt x="74" y="29"/>
                    <a:pt x="74" y="29"/>
                    <a:pt x="74" y="29"/>
                  </a:cubicBezTo>
                  <a:cubicBezTo>
                    <a:pt x="74" y="27"/>
                    <a:pt x="74" y="27"/>
                    <a:pt x="74" y="27"/>
                  </a:cubicBezTo>
                  <a:cubicBezTo>
                    <a:pt x="72" y="25"/>
                    <a:pt x="72" y="25"/>
                    <a:pt x="72" y="25"/>
                  </a:cubicBezTo>
                  <a:cubicBezTo>
                    <a:pt x="72" y="25"/>
                    <a:pt x="72" y="25"/>
                    <a:pt x="72" y="25"/>
                  </a:cubicBezTo>
                  <a:cubicBezTo>
                    <a:pt x="76" y="25"/>
                    <a:pt x="76" y="25"/>
                    <a:pt x="76" y="25"/>
                  </a:cubicBezTo>
                  <a:cubicBezTo>
                    <a:pt x="78" y="29"/>
                    <a:pt x="78" y="29"/>
                    <a:pt x="78" y="29"/>
                  </a:cubicBezTo>
                  <a:cubicBezTo>
                    <a:pt x="83" y="29"/>
                    <a:pt x="83" y="29"/>
                    <a:pt x="83" y="29"/>
                  </a:cubicBezTo>
                  <a:cubicBezTo>
                    <a:pt x="87" y="31"/>
                    <a:pt x="87" y="31"/>
                    <a:pt x="87" y="31"/>
                  </a:cubicBezTo>
                  <a:cubicBezTo>
                    <a:pt x="89" y="29"/>
                    <a:pt x="89" y="29"/>
                    <a:pt x="89" y="29"/>
                  </a:cubicBezTo>
                  <a:cubicBezTo>
                    <a:pt x="89" y="27"/>
                    <a:pt x="89" y="27"/>
                    <a:pt x="89" y="27"/>
                  </a:cubicBezTo>
                  <a:cubicBezTo>
                    <a:pt x="92" y="29"/>
                    <a:pt x="92" y="29"/>
                    <a:pt x="92" y="29"/>
                  </a:cubicBezTo>
                  <a:cubicBezTo>
                    <a:pt x="96" y="31"/>
                    <a:pt x="96" y="31"/>
                    <a:pt x="96" y="31"/>
                  </a:cubicBezTo>
                  <a:cubicBezTo>
                    <a:pt x="98" y="29"/>
                    <a:pt x="98" y="29"/>
                    <a:pt x="98" y="29"/>
                  </a:cubicBezTo>
                  <a:cubicBezTo>
                    <a:pt x="102" y="31"/>
                    <a:pt x="102" y="31"/>
                    <a:pt x="102" y="31"/>
                  </a:cubicBezTo>
                  <a:cubicBezTo>
                    <a:pt x="118" y="40"/>
                    <a:pt x="118" y="40"/>
                    <a:pt x="118" y="40"/>
                  </a:cubicBezTo>
                  <a:cubicBezTo>
                    <a:pt x="131" y="47"/>
                    <a:pt x="131" y="47"/>
                    <a:pt x="131" y="47"/>
                  </a:cubicBezTo>
                  <a:cubicBezTo>
                    <a:pt x="132" y="51"/>
                    <a:pt x="132" y="51"/>
                    <a:pt x="132" y="51"/>
                  </a:cubicBezTo>
                  <a:cubicBezTo>
                    <a:pt x="136" y="53"/>
                    <a:pt x="136" y="53"/>
                    <a:pt x="136" y="53"/>
                  </a:cubicBezTo>
                  <a:cubicBezTo>
                    <a:pt x="140" y="58"/>
                    <a:pt x="140" y="58"/>
                    <a:pt x="140" y="58"/>
                  </a:cubicBezTo>
                  <a:cubicBezTo>
                    <a:pt x="143" y="58"/>
                    <a:pt x="143" y="58"/>
                    <a:pt x="143" y="58"/>
                  </a:cubicBezTo>
                  <a:cubicBezTo>
                    <a:pt x="142" y="56"/>
                    <a:pt x="142" y="56"/>
                    <a:pt x="142" y="56"/>
                  </a:cubicBezTo>
                  <a:cubicBezTo>
                    <a:pt x="142" y="55"/>
                    <a:pt x="142" y="55"/>
                    <a:pt x="142" y="55"/>
                  </a:cubicBezTo>
                  <a:cubicBezTo>
                    <a:pt x="143" y="55"/>
                    <a:pt x="143" y="55"/>
                    <a:pt x="143" y="55"/>
                  </a:cubicBezTo>
                  <a:cubicBezTo>
                    <a:pt x="149" y="60"/>
                    <a:pt x="149" y="60"/>
                    <a:pt x="149" y="60"/>
                  </a:cubicBezTo>
                  <a:cubicBezTo>
                    <a:pt x="151" y="60"/>
                    <a:pt x="151" y="60"/>
                    <a:pt x="151" y="60"/>
                  </a:cubicBezTo>
                  <a:cubicBezTo>
                    <a:pt x="156" y="64"/>
                    <a:pt x="156" y="64"/>
                    <a:pt x="156" y="64"/>
                  </a:cubicBezTo>
                  <a:cubicBezTo>
                    <a:pt x="158" y="64"/>
                    <a:pt x="158" y="64"/>
                    <a:pt x="158" y="64"/>
                  </a:cubicBezTo>
                  <a:cubicBezTo>
                    <a:pt x="156" y="58"/>
                    <a:pt x="156" y="58"/>
                    <a:pt x="156" y="58"/>
                  </a:cubicBezTo>
                  <a:cubicBezTo>
                    <a:pt x="154" y="56"/>
                    <a:pt x="154" y="56"/>
                    <a:pt x="154" y="56"/>
                  </a:cubicBezTo>
                  <a:cubicBezTo>
                    <a:pt x="156" y="56"/>
                    <a:pt x="156" y="56"/>
                    <a:pt x="156" y="56"/>
                  </a:cubicBezTo>
                  <a:cubicBezTo>
                    <a:pt x="160" y="60"/>
                    <a:pt x="160" y="60"/>
                    <a:pt x="160" y="60"/>
                  </a:cubicBezTo>
                  <a:cubicBezTo>
                    <a:pt x="160" y="64"/>
                    <a:pt x="160" y="64"/>
                    <a:pt x="160" y="64"/>
                  </a:cubicBezTo>
                  <a:cubicBezTo>
                    <a:pt x="167" y="69"/>
                    <a:pt x="167" y="69"/>
                    <a:pt x="167" y="69"/>
                  </a:cubicBezTo>
                  <a:cubicBezTo>
                    <a:pt x="167" y="71"/>
                    <a:pt x="167" y="71"/>
                    <a:pt x="167" y="71"/>
                  </a:cubicBezTo>
                  <a:cubicBezTo>
                    <a:pt x="171" y="73"/>
                    <a:pt x="171" y="73"/>
                    <a:pt x="171" y="73"/>
                  </a:cubicBezTo>
                  <a:cubicBezTo>
                    <a:pt x="171" y="71"/>
                    <a:pt x="171" y="71"/>
                    <a:pt x="171" y="71"/>
                  </a:cubicBezTo>
                  <a:cubicBezTo>
                    <a:pt x="174" y="73"/>
                    <a:pt x="174" y="73"/>
                    <a:pt x="174" y="73"/>
                  </a:cubicBezTo>
                  <a:cubicBezTo>
                    <a:pt x="178" y="76"/>
                    <a:pt x="178" y="76"/>
                    <a:pt x="178" y="76"/>
                  </a:cubicBezTo>
                  <a:cubicBezTo>
                    <a:pt x="180" y="80"/>
                    <a:pt x="180" y="80"/>
                    <a:pt x="180" y="80"/>
                  </a:cubicBezTo>
                  <a:cubicBezTo>
                    <a:pt x="182" y="82"/>
                    <a:pt x="182" y="82"/>
                    <a:pt x="182" y="82"/>
                  </a:cubicBezTo>
                  <a:cubicBezTo>
                    <a:pt x="183" y="86"/>
                    <a:pt x="183" y="86"/>
                    <a:pt x="183" y="86"/>
                  </a:cubicBezTo>
                  <a:cubicBezTo>
                    <a:pt x="185" y="86"/>
                    <a:pt x="185" y="86"/>
                    <a:pt x="185" y="86"/>
                  </a:cubicBezTo>
                  <a:cubicBezTo>
                    <a:pt x="187" y="87"/>
                    <a:pt x="187" y="87"/>
                    <a:pt x="187" y="87"/>
                  </a:cubicBezTo>
                  <a:cubicBezTo>
                    <a:pt x="187" y="91"/>
                    <a:pt x="187" y="91"/>
                    <a:pt x="187" y="91"/>
                  </a:cubicBezTo>
                  <a:cubicBezTo>
                    <a:pt x="187" y="95"/>
                    <a:pt x="187" y="95"/>
                    <a:pt x="187" y="95"/>
                  </a:cubicBezTo>
                  <a:cubicBezTo>
                    <a:pt x="185" y="100"/>
                    <a:pt x="185" y="100"/>
                    <a:pt x="185" y="100"/>
                  </a:cubicBezTo>
                  <a:cubicBezTo>
                    <a:pt x="185" y="102"/>
                    <a:pt x="185" y="102"/>
                    <a:pt x="185" y="102"/>
                  </a:cubicBezTo>
                  <a:cubicBezTo>
                    <a:pt x="185" y="106"/>
                    <a:pt x="185" y="106"/>
                    <a:pt x="185" y="106"/>
                  </a:cubicBezTo>
                  <a:cubicBezTo>
                    <a:pt x="182" y="109"/>
                    <a:pt x="182" y="109"/>
                    <a:pt x="182" y="109"/>
                  </a:cubicBezTo>
                  <a:cubicBezTo>
                    <a:pt x="180" y="113"/>
                    <a:pt x="180" y="113"/>
                    <a:pt x="180" y="113"/>
                  </a:cubicBezTo>
                  <a:cubicBezTo>
                    <a:pt x="174" y="120"/>
                    <a:pt x="174" y="120"/>
                    <a:pt x="174" y="120"/>
                  </a:cubicBezTo>
                  <a:cubicBezTo>
                    <a:pt x="169" y="124"/>
                    <a:pt x="169" y="124"/>
                    <a:pt x="169" y="124"/>
                  </a:cubicBezTo>
                  <a:cubicBezTo>
                    <a:pt x="163" y="124"/>
                    <a:pt x="163" y="124"/>
                    <a:pt x="163" y="124"/>
                  </a:cubicBezTo>
                  <a:cubicBezTo>
                    <a:pt x="162" y="126"/>
                    <a:pt x="162" y="126"/>
                    <a:pt x="162" y="126"/>
                  </a:cubicBezTo>
                  <a:cubicBezTo>
                    <a:pt x="156" y="126"/>
                    <a:pt x="156" y="126"/>
                    <a:pt x="156" y="126"/>
                  </a:cubicBezTo>
                  <a:cubicBezTo>
                    <a:pt x="154" y="127"/>
                    <a:pt x="154" y="127"/>
                    <a:pt x="154" y="127"/>
                  </a:cubicBezTo>
                  <a:cubicBezTo>
                    <a:pt x="147" y="129"/>
                    <a:pt x="147" y="129"/>
                    <a:pt x="147" y="129"/>
                  </a:cubicBezTo>
                  <a:cubicBezTo>
                    <a:pt x="138" y="127"/>
                    <a:pt x="138" y="127"/>
                    <a:pt x="138" y="127"/>
                  </a:cubicBezTo>
                  <a:cubicBezTo>
                    <a:pt x="131" y="127"/>
                    <a:pt x="131" y="127"/>
                    <a:pt x="131" y="127"/>
                  </a:cubicBezTo>
                  <a:cubicBezTo>
                    <a:pt x="127" y="124"/>
                    <a:pt x="127" y="124"/>
                    <a:pt x="127" y="124"/>
                  </a:cubicBezTo>
                  <a:cubicBezTo>
                    <a:pt x="125" y="126"/>
                    <a:pt x="125" y="126"/>
                    <a:pt x="125" y="126"/>
                  </a:cubicBezTo>
                  <a:cubicBezTo>
                    <a:pt x="122" y="126"/>
                    <a:pt x="122" y="126"/>
                    <a:pt x="122" y="126"/>
                  </a:cubicBezTo>
                  <a:cubicBezTo>
                    <a:pt x="118" y="124"/>
                    <a:pt x="118" y="124"/>
                    <a:pt x="118" y="124"/>
                  </a:cubicBezTo>
                  <a:cubicBezTo>
                    <a:pt x="116" y="124"/>
                    <a:pt x="116" y="124"/>
                    <a:pt x="116" y="124"/>
                  </a:cubicBezTo>
                  <a:cubicBezTo>
                    <a:pt x="114" y="122"/>
                    <a:pt x="114" y="122"/>
                    <a:pt x="114" y="122"/>
                  </a:cubicBezTo>
                  <a:cubicBezTo>
                    <a:pt x="111" y="124"/>
                    <a:pt x="111" y="124"/>
                    <a:pt x="111" y="124"/>
                  </a:cubicBezTo>
                  <a:cubicBezTo>
                    <a:pt x="107" y="120"/>
                    <a:pt x="107" y="120"/>
                    <a:pt x="107" y="120"/>
                  </a:cubicBezTo>
                  <a:cubicBezTo>
                    <a:pt x="107" y="118"/>
                    <a:pt x="107" y="118"/>
                    <a:pt x="107" y="118"/>
                  </a:cubicBezTo>
                  <a:cubicBezTo>
                    <a:pt x="103" y="118"/>
                    <a:pt x="103" y="118"/>
                    <a:pt x="103" y="118"/>
                  </a:cubicBezTo>
                  <a:cubicBezTo>
                    <a:pt x="102" y="118"/>
                    <a:pt x="102" y="118"/>
                    <a:pt x="102" y="118"/>
                  </a:cubicBezTo>
                  <a:cubicBezTo>
                    <a:pt x="102" y="117"/>
                    <a:pt x="102" y="117"/>
                    <a:pt x="102" y="117"/>
                  </a:cubicBezTo>
                  <a:cubicBezTo>
                    <a:pt x="96" y="117"/>
                    <a:pt x="96" y="117"/>
                    <a:pt x="96" y="117"/>
                  </a:cubicBezTo>
                  <a:cubicBezTo>
                    <a:pt x="94" y="118"/>
                    <a:pt x="94" y="118"/>
                    <a:pt x="94" y="118"/>
                  </a:cubicBezTo>
                  <a:cubicBezTo>
                    <a:pt x="92" y="118"/>
                    <a:pt x="92" y="118"/>
                    <a:pt x="92" y="118"/>
                  </a:cubicBezTo>
                  <a:cubicBezTo>
                    <a:pt x="92" y="117"/>
                    <a:pt x="92" y="117"/>
                    <a:pt x="92" y="117"/>
                  </a:cubicBezTo>
                  <a:cubicBezTo>
                    <a:pt x="91" y="115"/>
                    <a:pt x="91" y="115"/>
                    <a:pt x="91" y="115"/>
                  </a:cubicBezTo>
                  <a:cubicBezTo>
                    <a:pt x="92" y="115"/>
                    <a:pt x="92" y="115"/>
                    <a:pt x="92" y="115"/>
                  </a:cubicBezTo>
                  <a:cubicBezTo>
                    <a:pt x="91" y="111"/>
                    <a:pt x="91" y="111"/>
                    <a:pt x="91" y="111"/>
                  </a:cubicBezTo>
                  <a:cubicBezTo>
                    <a:pt x="89" y="113"/>
                    <a:pt x="89" y="113"/>
                    <a:pt x="89" y="113"/>
                  </a:cubicBezTo>
                  <a:cubicBezTo>
                    <a:pt x="83" y="113"/>
                    <a:pt x="83" y="113"/>
                    <a:pt x="83" y="113"/>
                  </a:cubicBezTo>
                  <a:cubicBezTo>
                    <a:pt x="80" y="111"/>
                    <a:pt x="80" y="111"/>
                    <a:pt x="80" y="111"/>
                  </a:cubicBezTo>
                  <a:cubicBezTo>
                    <a:pt x="80" y="111"/>
                    <a:pt x="80" y="111"/>
                    <a:pt x="80" y="111"/>
                  </a:cubicBezTo>
                  <a:cubicBezTo>
                    <a:pt x="78" y="111"/>
                    <a:pt x="78" y="111"/>
                    <a:pt x="78" y="111"/>
                  </a:cubicBezTo>
                  <a:cubicBezTo>
                    <a:pt x="71" y="106"/>
                    <a:pt x="71" y="106"/>
                    <a:pt x="71" y="106"/>
                  </a:cubicBezTo>
                  <a:cubicBezTo>
                    <a:pt x="69" y="102"/>
                    <a:pt x="69" y="102"/>
                    <a:pt x="69" y="102"/>
                  </a:cubicBezTo>
                  <a:cubicBezTo>
                    <a:pt x="65" y="102"/>
                    <a:pt x="65" y="102"/>
                    <a:pt x="65" y="102"/>
                  </a:cubicBezTo>
                  <a:cubicBezTo>
                    <a:pt x="63" y="100"/>
                    <a:pt x="63" y="100"/>
                    <a:pt x="63" y="100"/>
                  </a:cubicBezTo>
                  <a:cubicBezTo>
                    <a:pt x="61" y="100"/>
                    <a:pt x="61" y="100"/>
                    <a:pt x="61" y="100"/>
                  </a:cubicBezTo>
                  <a:cubicBezTo>
                    <a:pt x="60" y="102"/>
                    <a:pt x="60" y="102"/>
                    <a:pt x="60" y="102"/>
                  </a:cubicBezTo>
                  <a:cubicBezTo>
                    <a:pt x="63" y="104"/>
                    <a:pt x="63" y="104"/>
                    <a:pt x="63" y="104"/>
                  </a:cubicBezTo>
                  <a:cubicBezTo>
                    <a:pt x="65" y="109"/>
                    <a:pt x="65" y="109"/>
                    <a:pt x="65" y="109"/>
                  </a:cubicBezTo>
                  <a:cubicBezTo>
                    <a:pt x="69" y="111"/>
                    <a:pt x="69" y="111"/>
                    <a:pt x="69" y="111"/>
                  </a:cubicBezTo>
                  <a:cubicBezTo>
                    <a:pt x="69" y="115"/>
                    <a:pt x="69" y="115"/>
                    <a:pt x="69" y="115"/>
                  </a:cubicBezTo>
                  <a:cubicBezTo>
                    <a:pt x="74" y="115"/>
                    <a:pt x="74" y="115"/>
                    <a:pt x="74" y="115"/>
                  </a:cubicBezTo>
                  <a:cubicBezTo>
                    <a:pt x="76" y="117"/>
                    <a:pt x="76" y="117"/>
                    <a:pt x="76" y="117"/>
                  </a:cubicBezTo>
                  <a:cubicBezTo>
                    <a:pt x="72" y="118"/>
                    <a:pt x="72" y="118"/>
                    <a:pt x="72" y="118"/>
                  </a:cubicBezTo>
                  <a:cubicBezTo>
                    <a:pt x="71" y="120"/>
                    <a:pt x="71" y="120"/>
                    <a:pt x="71" y="120"/>
                  </a:cubicBezTo>
                  <a:cubicBezTo>
                    <a:pt x="72" y="122"/>
                    <a:pt x="72" y="122"/>
                    <a:pt x="72" y="122"/>
                  </a:cubicBezTo>
                  <a:cubicBezTo>
                    <a:pt x="78" y="120"/>
                    <a:pt x="78" y="120"/>
                    <a:pt x="78" y="120"/>
                  </a:cubicBezTo>
                  <a:cubicBezTo>
                    <a:pt x="80" y="118"/>
                    <a:pt x="80" y="118"/>
                    <a:pt x="80" y="118"/>
                  </a:cubicBezTo>
                  <a:cubicBezTo>
                    <a:pt x="81" y="120"/>
                    <a:pt x="81" y="120"/>
                    <a:pt x="81" y="120"/>
                  </a:cubicBezTo>
                  <a:cubicBezTo>
                    <a:pt x="80" y="122"/>
                    <a:pt x="80" y="122"/>
                    <a:pt x="80" y="122"/>
                  </a:cubicBezTo>
                  <a:cubicBezTo>
                    <a:pt x="80" y="122"/>
                    <a:pt x="80" y="122"/>
                    <a:pt x="80" y="122"/>
                  </a:cubicBezTo>
                  <a:cubicBezTo>
                    <a:pt x="83" y="122"/>
                    <a:pt x="83" y="122"/>
                    <a:pt x="83" y="122"/>
                  </a:cubicBezTo>
                  <a:cubicBezTo>
                    <a:pt x="81" y="126"/>
                    <a:pt x="81" y="126"/>
                    <a:pt x="81" y="126"/>
                  </a:cubicBezTo>
                  <a:cubicBezTo>
                    <a:pt x="80" y="126"/>
                    <a:pt x="80" y="126"/>
                    <a:pt x="80" y="126"/>
                  </a:cubicBezTo>
                  <a:cubicBezTo>
                    <a:pt x="78" y="127"/>
                    <a:pt x="78" y="127"/>
                    <a:pt x="78" y="127"/>
                  </a:cubicBezTo>
                  <a:cubicBezTo>
                    <a:pt x="81" y="127"/>
                    <a:pt x="81" y="127"/>
                    <a:pt x="81" y="127"/>
                  </a:cubicBezTo>
                  <a:cubicBezTo>
                    <a:pt x="83" y="127"/>
                    <a:pt x="83" y="127"/>
                    <a:pt x="83" y="127"/>
                  </a:cubicBezTo>
                  <a:cubicBezTo>
                    <a:pt x="85" y="127"/>
                    <a:pt x="85" y="127"/>
                    <a:pt x="85" y="127"/>
                  </a:cubicBezTo>
                  <a:cubicBezTo>
                    <a:pt x="87" y="129"/>
                    <a:pt x="87" y="129"/>
                    <a:pt x="87" y="129"/>
                  </a:cubicBezTo>
                  <a:cubicBezTo>
                    <a:pt x="89" y="127"/>
                    <a:pt x="89" y="127"/>
                    <a:pt x="89" y="127"/>
                  </a:cubicBezTo>
                  <a:cubicBezTo>
                    <a:pt x="98" y="131"/>
                    <a:pt x="98" y="131"/>
                    <a:pt x="98" y="131"/>
                  </a:cubicBezTo>
                  <a:cubicBezTo>
                    <a:pt x="102" y="137"/>
                    <a:pt x="102" y="137"/>
                    <a:pt x="102" y="137"/>
                  </a:cubicBezTo>
                  <a:cubicBezTo>
                    <a:pt x="103" y="137"/>
                    <a:pt x="103" y="137"/>
                    <a:pt x="103" y="137"/>
                  </a:cubicBezTo>
                  <a:cubicBezTo>
                    <a:pt x="102" y="138"/>
                    <a:pt x="102" y="138"/>
                    <a:pt x="102" y="138"/>
                  </a:cubicBezTo>
                  <a:cubicBezTo>
                    <a:pt x="102" y="140"/>
                    <a:pt x="102" y="140"/>
                    <a:pt x="102" y="140"/>
                  </a:cubicBezTo>
                  <a:cubicBezTo>
                    <a:pt x="103" y="142"/>
                    <a:pt x="103" y="142"/>
                    <a:pt x="103" y="142"/>
                  </a:cubicBezTo>
                  <a:cubicBezTo>
                    <a:pt x="103" y="144"/>
                    <a:pt x="103" y="144"/>
                    <a:pt x="103" y="144"/>
                  </a:cubicBezTo>
                  <a:cubicBezTo>
                    <a:pt x="102" y="149"/>
                    <a:pt x="102" y="149"/>
                    <a:pt x="102" y="149"/>
                  </a:cubicBezTo>
                  <a:cubicBezTo>
                    <a:pt x="100" y="151"/>
                    <a:pt x="100" y="151"/>
                    <a:pt x="100" y="151"/>
                  </a:cubicBezTo>
                  <a:cubicBezTo>
                    <a:pt x="100" y="155"/>
                    <a:pt x="100" y="155"/>
                    <a:pt x="100" y="155"/>
                  </a:cubicBezTo>
                  <a:cubicBezTo>
                    <a:pt x="102" y="155"/>
                    <a:pt x="102" y="155"/>
                    <a:pt x="102" y="155"/>
                  </a:cubicBezTo>
                  <a:cubicBezTo>
                    <a:pt x="102" y="158"/>
                    <a:pt x="102" y="158"/>
                    <a:pt x="102" y="158"/>
                  </a:cubicBezTo>
                  <a:cubicBezTo>
                    <a:pt x="107" y="164"/>
                    <a:pt x="107" y="164"/>
                    <a:pt x="107" y="164"/>
                  </a:cubicBezTo>
                  <a:cubicBezTo>
                    <a:pt x="107" y="166"/>
                    <a:pt x="107" y="166"/>
                    <a:pt x="107" y="166"/>
                  </a:cubicBezTo>
                  <a:cubicBezTo>
                    <a:pt x="111" y="169"/>
                    <a:pt x="111" y="169"/>
                    <a:pt x="111" y="169"/>
                  </a:cubicBezTo>
                  <a:cubicBezTo>
                    <a:pt x="111" y="171"/>
                    <a:pt x="111" y="171"/>
                    <a:pt x="111" y="171"/>
                  </a:cubicBezTo>
                  <a:cubicBezTo>
                    <a:pt x="111" y="177"/>
                    <a:pt x="111" y="177"/>
                    <a:pt x="111" y="177"/>
                  </a:cubicBezTo>
                  <a:cubicBezTo>
                    <a:pt x="109" y="178"/>
                    <a:pt x="109" y="178"/>
                    <a:pt x="109" y="178"/>
                  </a:cubicBezTo>
                  <a:cubicBezTo>
                    <a:pt x="111" y="180"/>
                    <a:pt x="111" y="180"/>
                    <a:pt x="111" y="180"/>
                  </a:cubicBezTo>
                  <a:cubicBezTo>
                    <a:pt x="112" y="184"/>
                    <a:pt x="112" y="184"/>
                    <a:pt x="112" y="184"/>
                  </a:cubicBezTo>
                  <a:cubicBezTo>
                    <a:pt x="120" y="186"/>
                    <a:pt x="120" y="186"/>
                    <a:pt x="120" y="186"/>
                  </a:cubicBezTo>
                  <a:cubicBezTo>
                    <a:pt x="122" y="182"/>
                    <a:pt x="122" y="182"/>
                    <a:pt x="122" y="182"/>
                  </a:cubicBezTo>
                  <a:cubicBezTo>
                    <a:pt x="123" y="184"/>
                    <a:pt x="123" y="184"/>
                    <a:pt x="123" y="184"/>
                  </a:cubicBezTo>
                  <a:cubicBezTo>
                    <a:pt x="125" y="186"/>
                    <a:pt x="125" y="186"/>
                    <a:pt x="125" y="186"/>
                  </a:cubicBezTo>
                  <a:cubicBezTo>
                    <a:pt x="129" y="188"/>
                    <a:pt x="129" y="188"/>
                    <a:pt x="129" y="188"/>
                  </a:cubicBezTo>
                  <a:cubicBezTo>
                    <a:pt x="129" y="193"/>
                    <a:pt x="129" y="193"/>
                    <a:pt x="129" y="193"/>
                  </a:cubicBezTo>
                  <a:cubicBezTo>
                    <a:pt x="131" y="193"/>
                    <a:pt x="131" y="193"/>
                    <a:pt x="131" y="193"/>
                  </a:cubicBezTo>
                  <a:cubicBezTo>
                    <a:pt x="136" y="193"/>
                    <a:pt x="136" y="193"/>
                    <a:pt x="136" y="193"/>
                  </a:cubicBezTo>
                  <a:cubicBezTo>
                    <a:pt x="138" y="195"/>
                    <a:pt x="138" y="195"/>
                    <a:pt x="138" y="195"/>
                  </a:cubicBezTo>
                  <a:cubicBezTo>
                    <a:pt x="143" y="197"/>
                    <a:pt x="143" y="197"/>
                    <a:pt x="143" y="197"/>
                  </a:cubicBezTo>
                  <a:cubicBezTo>
                    <a:pt x="147" y="199"/>
                    <a:pt x="147" y="199"/>
                    <a:pt x="147" y="199"/>
                  </a:cubicBezTo>
                  <a:cubicBezTo>
                    <a:pt x="149" y="199"/>
                    <a:pt x="149" y="199"/>
                    <a:pt x="149" y="199"/>
                  </a:cubicBezTo>
                  <a:cubicBezTo>
                    <a:pt x="153" y="195"/>
                    <a:pt x="153" y="195"/>
                    <a:pt x="153" y="195"/>
                  </a:cubicBezTo>
                  <a:cubicBezTo>
                    <a:pt x="154" y="195"/>
                    <a:pt x="154" y="195"/>
                    <a:pt x="154" y="195"/>
                  </a:cubicBezTo>
                  <a:cubicBezTo>
                    <a:pt x="158" y="193"/>
                    <a:pt x="158" y="193"/>
                    <a:pt x="158" y="193"/>
                  </a:cubicBezTo>
                  <a:cubicBezTo>
                    <a:pt x="158" y="188"/>
                    <a:pt x="158" y="188"/>
                    <a:pt x="158" y="188"/>
                  </a:cubicBezTo>
                  <a:cubicBezTo>
                    <a:pt x="154" y="186"/>
                    <a:pt x="154" y="186"/>
                    <a:pt x="154" y="186"/>
                  </a:cubicBezTo>
                  <a:cubicBezTo>
                    <a:pt x="156" y="184"/>
                    <a:pt x="156" y="184"/>
                    <a:pt x="156" y="184"/>
                  </a:cubicBezTo>
                  <a:cubicBezTo>
                    <a:pt x="156" y="182"/>
                    <a:pt x="156" y="182"/>
                    <a:pt x="156" y="182"/>
                  </a:cubicBezTo>
                  <a:cubicBezTo>
                    <a:pt x="153" y="182"/>
                    <a:pt x="153" y="182"/>
                    <a:pt x="153" y="182"/>
                  </a:cubicBezTo>
                  <a:cubicBezTo>
                    <a:pt x="151" y="178"/>
                    <a:pt x="151" y="178"/>
                    <a:pt x="151" y="178"/>
                  </a:cubicBezTo>
                  <a:cubicBezTo>
                    <a:pt x="149" y="180"/>
                    <a:pt x="149" y="180"/>
                    <a:pt x="149" y="180"/>
                  </a:cubicBezTo>
                  <a:cubicBezTo>
                    <a:pt x="147" y="180"/>
                    <a:pt x="147" y="180"/>
                    <a:pt x="147" y="180"/>
                  </a:cubicBezTo>
                  <a:cubicBezTo>
                    <a:pt x="143" y="182"/>
                    <a:pt x="143" y="182"/>
                    <a:pt x="143" y="182"/>
                  </a:cubicBezTo>
                  <a:cubicBezTo>
                    <a:pt x="140" y="180"/>
                    <a:pt x="140" y="180"/>
                    <a:pt x="140" y="180"/>
                  </a:cubicBezTo>
                  <a:cubicBezTo>
                    <a:pt x="136" y="177"/>
                    <a:pt x="136" y="177"/>
                    <a:pt x="136" y="177"/>
                  </a:cubicBezTo>
                  <a:cubicBezTo>
                    <a:pt x="132" y="173"/>
                    <a:pt x="132" y="173"/>
                    <a:pt x="132" y="173"/>
                  </a:cubicBezTo>
                  <a:cubicBezTo>
                    <a:pt x="131" y="169"/>
                    <a:pt x="131" y="169"/>
                    <a:pt x="131" y="169"/>
                  </a:cubicBezTo>
                  <a:cubicBezTo>
                    <a:pt x="129" y="166"/>
                    <a:pt x="129" y="166"/>
                    <a:pt x="129" y="166"/>
                  </a:cubicBezTo>
                  <a:cubicBezTo>
                    <a:pt x="132" y="166"/>
                    <a:pt x="132" y="166"/>
                    <a:pt x="132" y="166"/>
                  </a:cubicBezTo>
                  <a:cubicBezTo>
                    <a:pt x="134" y="164"/>
                    <a:pt x="134" y="164"/>
                    <a:pt x="134" y="164"/>
                  </a:cubicBezTo>
                  <a:cubicBezTo>
                    <a:pt x="132" y="162"/>
                    <a:pt x="132" y="162"/>
                    <a:pt x="132" y="162"/>
                  </a:cubicBezTo>
                  <a:cubicBezTo>
                    <a:pt x="134" y="160"/>
                    <a:pt x="134" y="160"/>
                    <a:pt x="134" y="160"/>
                  </a:cubicBezTo>
                  <a:cubicBezTo>
                    <a:pt x="132" y="157"/>
                    <a:pt x="132" y="157"/>
                    <a:pt x="132" y="157"/>
                  </a:cubicBezTo>
                  <a:cubicBezTo>
                    <a:pt x="132" y="155"/>
                    <a:pt x="132" y="155"/>
                    <a:pt x="132" y="155"/>
                  </a:cubicBezTo>
                  <a:cubicBezTo>
                    <a:pt x="138" y="155"/>
                    <a:pt x="138" y="155"/>
                    <a:pt x="138" y="155"/>
                  </a:cubicBezTo>
                  <a:cubicBezTo>
                    <a:pt x="142" y="157"/>
                    <a:pt x="142" y="157"/>
                    <a:pt x="142" y="157"/>
                  </a:cubicBezTo>
                  <a:cubicBezTo>
                    <a:pt x="145" y="158"/>
                    <a:pt x="145" y="158"/>
                    <a:pt x="145" y="158"/>
                  </a:cubicBezTo>
                  <a:cubicBezTo>
                    <a:pt x="149" y="162"/>
                    <a:pt x="149" y="162"/>
                    <a:pt x="149" y="162"/>
                  </a:cubicBezTo>
                  <a:cubicBezTo>
                    <a:pt x="151" y="164"/>
                    <a:pt x="151" y="164"/>
                    <a:pt x="151" y="164"/>
                  </a:cubicBezTo>
                  <a:cubicBezTo>
                    <a:pt x="158" y="166"/>
                    <a:pt x="158" y="166"/>
                    <a:pt x="158" y="166"/>
                  </a:cubicBezTo>
                  <a:cubicBezTo>
                    <a:pt x="158" y="168"/>
                    <a:pt x="158" y="168"/>
                    <a:pt x="158" y="168"/>
                  </a:cubicBezTo>
                  <a:cubicBezTo>
                    <a:pt x="162" y="168"/>
                    <a:pt x="162" y="168"/>
                    <a:pt x="162" y="168"/>
                  </a:cubicBezTo>
                  <a:cubicBezTo>
                    <a:pt x="173" y="173"/>
                    <a:pt x="173" y="173"/>
                    <a:pt x="173" y="173"/>
                  </a:cubicBezTo>
                  <a:cubicBezTo>
                    <a:pt x="178" y="177"/>
                    <a:pt x="178" y="177"/>
                    <a:pt x="178" y="177"/>
                  </a:cubicBezTo>
                  <a:cubicBezTo>
                    <a:pt x="180" y="175"/>
                    <a:pt x="180" y="175"/>
                    <a:pt x="180" y="175"/>
                  </a:cubicBezTo>
                  <a:cubicBezTo>
                    <a:pt x="183" y="171"/>
                    <a:pt x="183" y="171"/>
                    <a:pt x="183" y="171"/>
                  </a:cubicBezTo>
                  <a:cubicBezTo>
                    <a:pt x="182" y="168"/>
                    <a:pt x="182" y="168"/>
                    <a:pt x="182" y="168"/>
                  </a:cubicBezTo>
                  <a:cubicBezTo>
                    <a:pt x="185" y="168"/>
                    <a:pt x="185" y="168"/>
                    <a:pt x="185" y="168"/>
                  </a:cubicBezTo>
                  <a:cubicBezTo>
                    <a:pt x="187" y="166"/>
                    <a:pt x="187" y="166"/>
                    <a:pt x="187" y="166"/>
                  </a:cubicBezTo>
                  <a:cubicBezTo>
                    <a:pt x="183" y="158"/>
                    <a:pt x="183" y="158"/>
                    <a:pt x="183" y="158"/>
                  </a:cubicBezTo>
                  <a:cubicBezTo>
                    <a:pt x="176" y="151"/>
                    <a:pt x="176" y="151"/>
                    <a:pt x="176" y="151"/>
                  </a:cubicBezTo>
                  <a:cubicBezTo>
                    <a:pt x="174" y="146"/>
                    <a:pt x="174" y="146"/>
                    <a:pt x="174" y="146"/>
                  </a:cubicBezTo>
                  <a:cubicBezTo>
                    <a:pt x="174" y="142"/>
                    <a:pt x="174" y="142"/>
                    <a:pt x="174" y="142"/>
                  </a:cubicBezTo>
                  <a:cubicBezTo>
                    <a:pt x="178" y="138"/>
                    <a:pt x="178" y="138"/>
                    <a:pt x="178" y="138"/>
                  </a:cubicBezTo>
                  <a:cubicBezTo>
                    <a:pt x="183" y="133"/>
                    <a:pt x="183" y="133"/>
                    <a:pt x="183" y="133"/>
                  </a:cubicBezTo>
                  <a:cubicBezTo>
                    <a:pt x="183" y="129"/>
                    <a:pt x="183" y="129"/>
                    <a:pt x="183" y="129"/>
                  </a:cubicBezTo>
                  <a:cubicBezTo>
                    <a:pt x="187" y="126"/>
                    <a:pt x="187" y="126"/>
                    <a:pt x="187" y="126"/>
                  </a:cubicBezTo>
                  <a:cubicBezTo>
                    <a:pt x="191" y="126"/>
                    <a:pt x="191" y="126"/>
                    <a:pt x="191" y="126"/>
                  </a:cubicBezTo>
                  <a:cubicBezTo>
                    <a:pt x="196" y="120"/>
                    <a:pt x="196" y="120"/>
                    <a:pt x="196" y="120"/>
                  </a:cubicBezTo>
                  <a:cubicBezTo>
                    <a:pt x="200" y="113"/>
                    <a:pt x="200" y="113"/>
                    <a:pt x="200" y="113"/>
                  </a:cubicBezTo>
                  <a:cubicBezTo>
                    <a:pt x="202" y="111"/>
                    <a:pt x="202" y="111"/>
                    <a:pt x="202" y="111"/>
                  </a:cubicBezTo>
                  <a:cubicBezTo>
                    <a:pt x="207" y="111"/>
                    <a:pt x="207" y="111"/>
                    <a:pt x="207" y="111"/>
                  </a:cubicBezTo>
                  <a:cubicBezTo>
                    <a:pt x="211" y="115"/>
                    <a:pt x="211" y="115"/>
                    <a:pt x="211" y="115"/>
                  </a:cubicBezTo>
                  <a:cubicBezTo>
                    <a:pt x="214" y="113"/>
                    <a:pt x="214" y="113"/>
                    <a:pt x="214" y="113"/>
                  </a:cubicBezTo>
                  <a:cubicBezTo>
                    <a:pt x="220" y="115"/>
                    <a:pt x="220" y="115"/>
                    <a:pt x="220" y="115"/>
                  </a:cubicBezTo>
                  <a:cubicBezTo>
                    <a:pt x="222" y="117"/>
                    <a:pt x="222" y="117"/>
                    <a:pt x="222" y="117"/>
                  </a:cubicBezTo>
                  <a:cubicBezTo>
                    <a:pt x="222" y="120"/>
                    <a:pt x="222" y="120"/>
                    <a:pt x="222" y="120"/>
                  </a:cubicBezTo>
                  <a:cubicBezTo>
                    <a:pt x="225" y="117"/>
                    <a:pt x="225" y="117"/>
                    <a:pt x="225" y="117"/>
                  </a:cubicBezTo>
                  <a:cubicBezTo>
                    <a:pt x="231" y="120"/>
                    <a:pt x="231" y="120"/>
                    <a:pt x="231" y="120"/>
                  </a:cubicBezTo>
                  <a:cubicBezTo>
                    <a:pt x="231" y="124"/>
                    <a:pt x="231" y="124"/>
                    <a:pt x="231" y="124"/>
                  </a:cubicBezTo>
                  <a:cubicBezTo>
                    <a:pt x="234" y="126"/>
                    <a:pt x="234" y="126"/>
                    <a:pt x="234" y="126"/>
                  </a:cubicBezTo>
                  <a:cubicBezTo>
                    <a:pt x="233" y="120"/>
                    <a:pt x="233" y="120"/>
                    <a:pt x="233" y="120"/>
                  </a:cubicBezTo>
                  <a:cubicBezTo>
                    <a:pt x="231" y="115"/>
                    <a:pt x="231" y="115"/>
                    <a:pt x="231" y="115"/>
                  </a:cubicBezTo>
                  <a:cubicBezTo>
                    <a:pt x="233" y="113"/>
                    <a:pt x="233" y="113"/>
                    <a:pt x="233" y="113"/>
                  </a:cubicBezTo>
                  <a:cubicBezTo>
                    <a:pt x="233" y="106"/>
                    <a:pt x="233" y="106"/>
                    <a:pt x="233" y="106"/>
                  </a:cubicBezTo>
                  <a:cubicBezTo>
                    <a:pt x="233" y="102"/>
                    <a:pt x="233" y="102"/>
                    <a:pt x="233" y="102"/>
                  </a:cubicBezTo>
                  <a:cubicBezTo>
                    <a:pt x="233" y="102"/>
                    <a:pt x="233" y="102"/>
                    <a:pt x="233" y="102"/>
                  </a:cubicBezTo>
                  <a:cubicBezTo>
                    <a:pt x="231" y="100"/>
                    <a:pt x="231" y="100"/>
                    <a:pt x="231" y="100"/>
                  </a:cubicBezTo>
                  <a:cubicBezTo>
                    <a:pt x="233" y="98"/>
                    <a:pt x="233" y="98"/>
                    <a:pt x="233" y="98"/>
                  </a:cubicBezTo>
                  <a:cubicBezTo>
                    <a:pt x="231" y="95"/>
                    <a:pt x="231" y="95"/>
                    <a:pt x="231" y="95"/>
                  </a:cubicBezTo>
                  <a:cubicBezTo>
                    <a:pt x="233" y="95"/>
                    <a:pt x="233" y="95"/>
                    <a:pt x="233" y="95"/>
                  </a:cubicBezTo>
                  <a:cubicBezTo>
                    <a:pt x="229" y="91"/>
                    <a:pt x="229" y="91"/>
                    <a:pt x="229" y="91"/>
                  </a:cubicBezTo>
                  <a:cubicBezTo>
                    <a:pt x="225" y="89"/>
                    <a:pt x="225" y="89"/>
                    <a:pt x="225" y="89"/>
                  </a:cubicBezTo>
                  <a:cubicBezTo>
                    <a:pt x="222" y="89"/>
                    <a:pt x="222" y="89"/>
                    <a:pt x="222" y="89"/>
                  </a:cubicBezTo>
                  <a:cubicBezTo>
                    <a:pt x="220" y="86"/>
                    <a:pt x="220" y="86"/>
                    <a:pt x="220" y="86"/>
                  </a:cubicBezTo>
                  <a:cubicBezTo>
                    <a:pt x="222" y="80"/>
                    <a:pt x="222" y="80"/>
                    <a:pt x="222" y="80"/>
                  </a:cubicBezTo>
                  <a:cubicBezTo>
                    <a:pt x="222" y="73"/>
                    <a:pt x="222" y="73"/>
                    <a:pt x="222" y="73"/>
                  </a:cubicBezTo>
                  <a:cubicBezTo>
                    <a:pt x="222" y="71"/>
                    <a:pt x="222" y="71"/>
                    <a:pt x="222" y="71"/>
                  </a:cubicBezTo>
                  <a:cubicBezTo>
                    <a:pt x="222" y="69"/>
                    <a:pt x="222" y="69"/>
                    <a:pt x="222" y="69"/>
                  </a:cubicBezTo>
                  <a:cubicBezTo>
                    <a:pt x="222" y="66"/>
                    <a:pt x="222" y="66"/>
                    <a:pt x="222" y="66"/>
                  </a:cubicBezTo>
                  <a:cubicBezTo>
                    <a:pt x="224" y="66"/>
                    <a:pt x="224" y="66"/>
                    <a:pt x="224" y="66"/>
                  </a:cubicBezTo>
                  <a:cubicBezTo>
                    <a:pt x="222" y="62"/>
                    <a:pt x="222" y="62"/>
                    <a:pt x="222" y="62"/>
                  </a:cubicBezTo>
                  <a:cubicBezTo>
                    <a:pt x="222" y="58"/>
                    <a:pt x="222" y="58"/>
                    <a:pt x="222" y="58"/>
                  </a:cubicBezTo>
                  <a:cubicBezTo>
                    <a:pt x="218" y="51"/>
                    <a:pt x="218" y="51"/>
                    <a:pt x="218" y="51"/>
                  </a:cubicBezTo>
                  <a:cubicBezTo>
                    <a:pt x="213" y="47"/>
                    <a:pt x="213" y="47"/>
                    <a:pt x="213" y="47"/>
                  </a:cubicBezTo>
                  <a:cubicBezTo>
                    <a:pt x="205" y="40"/>
                    <a:pt x="205" y="40"/>
                    <a:pt x="205" y="40"/>
                  </a:cubicBezTo>
                  <a:cubicBezTo>
                    <a:pt x="205" y="38"/>
                    <a:pt x="205" y="38"/>
                    <a:pt x="205" y="38"/>
                  </a:cubicBezTo>
                  <a:cubicBezTo>
                    <a:pt x="209" y="38"/>
                    <a:pt x="209" y="38"/>
                    <a:pt x="209" y="38"/>
                  </a:cubicBezTo>
                  <a:cubicBezTo>
                    <a:pt x="216" y="44"/>
                    <a:pt x="216" y="44"/>
                    <a:pt x="216" y="44"/>
                  </a:cubicBezTo>
                  <a:cubicBezTo>
                    <a:pt x="220" y="44"/>
                    <a:pt x="220" y="44"/>
                    <a:pt x="220" y="44"/>
                  </a:cubicBezTo>
                  <a:cubicBezTo>
                    <a:pt x="224" y="42"/>
                    <a:pt x="224" y="42"/>
                    <a:pt x="224" y="42"/>
                  </a:cubicBezTo>
                  <a:cubicBezTo>
                    <a:pt x="229" y="42"/>
                    <a:pt x="229" y="42"/>
                    <a:pt x="229" y="42"/>
                  </a:cubicBezTo>
                  <a:cubicBezTo>
                    <a:pt x="238" y="42"/>
                    <a:pt x="238" y="42"/>
                    <a:pt x="238" y="42"/>
                  </a:cubicBezTo>
                  <a:cubicBezTo>
                    <a:pt x="244" y="46"/>
                    <a:pt x="244" y="46"/>
                    <a:pt x="244" y="46"/>
                  </a:cubicBezTo>
                  <a:cubicBezTo>
                    <a:pt x="242" y="49"/>
                    <a:pt x="242" y="49"/>
                    <a:pt x="242" y="49"/>
                  </a:cubicBezTo>
                  <a:cubicBezTo>
                    <a:pt x="245" y="53"/>
                    <a:pt x="245" y="53"/>
                    <a:pt x="245" y="53"/>
                  </a:cubicBezTo>
                  <a:cubicBezTo>
                    <a:pt x="251" y="53"/>
                    <a:pt x="251" y="53"/>
                    <a:pt x="251" y="53"/>
                  </a:cubicBezTo>
                  <a:cubicBezTo>
                    <a:pt x="251" y="56"/>
                    <a:pt x="251" y="56"/>
                    <a:pt x="251" y="56"/>
                  </a:cubicBezTo>
                  <a:cubicBezTo>
                    <a:pt x="256" y="62"/>
                    <a:pt x="256" y="62"/>
                    <a:pt x="256" y="62"/>
                  </a:cubicBezTo>
                  <a:cubicBezTo>
                    <a:pt x="255" y="64"/>
                    <a:pt x="255" y="64"/>
                    <a:pt x="255" y="64"/>
                  </a:cubicBezTo>
                  <a:cubicBezTo>
                    <a:pt x="249" y="64"/>
                    <a:pt x="249" y="64"/>
                    <a:pt x="249" y="64"/>
                  </a:cubicBezTo>
                  <a:cubicBezTo>
                    <a:pt x="247" y="67"/>
                    <a:pt x="247" y="67"/>
                    <a:pt x="247" y="67"/>
                  </a:cubicBezTo>
                  <a:cubicBezTo>
                    <a:pt x="242" y="67"/>
                    <a:pt x="242" y="67"/>
                    <a:pt x="242" y="67"/>
                  </a:cubicBezTo>
                  <a:cubicBezTo>
                    <a:pt x="240" y="69"/>
                    <a:pt x="240" y="69"/>
                    <a:pt x="240" y="69"/>
                  </a:cubicBezTo>
                  <a:cubicBezTo>
                    <a:pt x="240" y="71"/>
                    <a:pt x="240" y="71"/>
                    <a:pt x="240" y="71"/>
                  </a:cubicBezTo>
                  <a:cubicBezTo>
                    <a:pt x="240" y="73"/>
                    <a:pt x="240" y="73"/>
                    <a:pt x="240" y="73"/>
                  </a:cubicBezTo>
                  <a:cubicBezTo>
                    <a:pt x="238" y="73"/>
                    <a:pt x="238" y="73"/>
                    <a:pt x="238" y="73"/>
                  </a:cubicBezTo>
                  <a:cubicBezTo>
                    <a:pt x="236" y="75"/>
                    <a:pt x="236" y="75"/>
                    <a:pt x="236" y="75"/>
                  </a:cubicBezTo>
                  <a:cubicBezTo>
                    <a:pt x="236" y="78"/>
                    <a:pt x="236" y="78"/>
                    <a:pt x="236" y="78"/>
                  </a:cubicBezTo>
                  <a:cubicBezTo>
                    <a:pt x="238" y="80"/>
                    <a:pt x="238" y="80"/>
                    <a:pt x="238" y="80"/>
                  </a:cubicBezTo>
                  <a:cubicBezTo>
                    <a:pt x="245" y="86"/>
                    <a:pt x="245" y="86"/>
                    <a:pt x="245" y="86"/>
                  </a:cubicBezTo>
                  <a:cubicBezTo>
                    <a:pt x="253" y="95"/>
                    <a:pt x="253" y="95"/>
                    <a:pt x="253" y="95"/>
                  </a:cubicBezTo>
                  <a:cubicBezTo>
                    <a:pt x="256" y="95"/>
                    <a:pt x="256" y="95"/>
                    <a:pt x="256" y="95"/>
                  </a:cubicBezTo>
                  <a:cubicBezTo>
                    <a:pt x="260" y="93"/>
                    <a:pt x="260" y="93"/>
                    <a:pt x="260" y="93"/>
                  </a:cubicBezTo>
                  <a:cubicBezTo>
                    <a:pt x="262" y="97"/>
                    <a:pt x="262" y="97"/>
                    <a:pt x="262" y="97"/>
                  </a:cubicBezTo>
                  <a:cubicBezTo>
                    <a:pt x="264" y="95"/>
                    <a:pt x="264" y="95"/>
                    <a:pt x="264" y="95"/>
                  </a:cubicBezTo>
                  <a:cubicBezTo>
                    <a:pt x="267" y="95"/>
                    <a:pt x="267" y="95"/>
                    <a:pt x="267" y="95"/>
                  </a:cubicBezTo>
                  <a:cubicBezTo>
                    <a:pt x="269" y="93"/>
                    <a:pt x="269" y="93"/>
                    <a:pt x="269" y="93"/>
                  </a:cubicBezTo>
                  <a:cubicBezTo>
                    <a:pt x="275" y="89"/>
                    <a:pt x="275" y="89"/>
                    <a:pt x="275" y="89"/>
                  </a:cubicBezTo>
                  <a:cubicBezTo>
                    <a:pt x="276" y="86"/>
                    <a:pt x="276" y="86"/>
                    <a:pt x="276" y="86"/>
                  </a:cubicBezTo>
                  <a:cubicBezTo>
                    <a:pt x="275" y="80"/>
                    <a:pt x="275" y="80"/>
                    <a:pt x="275" y="80"/>
                  </a:cubicBezTo>
                  <a:cubicBezTo>
                    <a:pt x="276" y="76"/>
                    <a:pt x="276" y="76"/>
                    <a:pt x="276" y="76"/>
                  </a:cubicBezTo>
                  <a:cubicBezTo>
                    <a:pt x="276" y="73"/>
                    <a:pt x="276" y="73"/>
                    <a:pt x="276" y="73"/>
                  </a:cubicBezTo>
                  <a:cubicBezTo>
                    <a:pt x="275" y="71"/>
                    <a:pt x="275" y="71"/>
                    <a:pt x="275" y="71"/>
                  </a:cubicBezTo>
                  <a:cubicBezTo>
                    <a:pt x="276" y="69"/>
                    <a:pt x="276" y="69"/>
                    <a:pt x="276" y="69"/>
                  </a:cubicBezTo>
                  <a:cubicBezTo>
                    <a:pt x="285" y="67"/>
                    <a:pt x="285" y="67"/>
                    <a:pt x="285" y="67"/>
                  </a:cubicBezTo>
                  <a:cubicBezTo>
                    <a:pt x="287" y="66"/>
                    <a:pt x="287" y="66"/>
                    <a:pt x="287" y="66"/>
                  </a:cubicBezTo>
                  <a:cubicBezTo>
                    <a:pt x="293" y="67"/>
                    <a:pt x="293" y="67"/>
                    <a:pt x="293" y="67"/>
                  </a:cubicBezTo>
                  <a:cubicBezTo>
                    <a:pt x="291" y="66"/>
                    <a:pt x="291" y="66"/>
                    <a:pt x="291" y="66"/>
                  </a:cubicBezTo>
                  <a:cubicBezTo>
                    <a:pt x="287" y="62"/>
                    <a:pt x="287" y="62"/>
                    <a:pt x="287" y="62"/>
                  </a:cubicBezTo>
                  <a:cubicBezTo>
                    <a:pt x="285" y="58"/>
                    <a:pt x="285" y="58"/>
                    <a:pt x="285" y="58"/>
                  </a:cubicBezTo>
                  <a:cubicBezTo>
                    <a:pt x="287" y="58"/>
                    <a:pt x="287" y="58"/>
                    <a:pt x="287" y="58"/>
                  </a:cubicBezTo>
                  <a:cubicBezTo>
                    <a:pt x="289" y="60"/>
                    <a:pt x="289" y="60"/>
                    <a:pt x="289" y="60"/>
                  </a:cubicBezTo>
                  <a:cubicBezTo>
                    <a:pt x="293" y="60"/>
                    <a:pt x="293" y="60"/>
                    <a:pt x="293" y="60"/>
                  </a:cubicBezTo>
                  <a:cubicBezTo>
                    <a:pt x="298" y="51"/>
                    <a:pt x="298" y="51"/>
                    <a:pt x="298" y="51"/>
                  </a:cubicBezTo>
                  <a:cubicBezTo>
                    <a:pt x="300" y="51"/>
                    <a:pt x="300" y="51"/>
                    <a:pt x="300" y="51"/>
                  </a:cubicBezTo>
                  <a:cubicBezTo>
                    <a:pt x="307" y="42"/>
                    <a:pt x="307" y="42"/>
                    <a:pt x="307" y="42"/>
                  </a:cubicBezTo>
                  <a:cubicBezTo>
                    <a:pt x="307" y="40"/>
                    <a:pt x="307" y="40"/>
                    <a:pt x="307" y="40"/>
                  </a:cubicBezTo>
                  <a:cubicBezTo>
                    <a:pt x="309" y="40"/>
                    <a:pt x="309" y="40"/>
                    <a:pt x="309" y="40"/>
                  </a:cubicBezTo>
                  <a:cubicBezTo>
                    <a:pt x="313" y="40"/>
                    <a:pt x="313" y="40"/>
                    <a:pt x="313" y="40"/>
                  </a:cubicBezTo>
                  <a:cubicBezTo>
                    <a:pt x="318" y="38"/>
                    <a:pt x="318" y="38"/>
                    <a:pt x="318" y="38"/>
                  </a:cubicBezTo>
                  <a:cubicBezTo>
                    <a:pt x="318" y="36"/>
                    <a:pt x="318" y="36"/>
                    <a:pt x="318" y="36"/>
                  </a:cubicBezTo>
                  <a:cubicBezTo>
                    <a:pt x="326" y="33"/>
                    <a:pt x="326" y="33"/>
                    <a:pt x="326" y="33"/>
                  </a:cubicBezTo>
                  <a:cubicBezTo>
                    <a:pt x="326" y="36"/>
                    <a:pt x="326" y="36"/>
                    <a:pt x="326" y="36"/>
                  </a:cubicBezTo>
                  <a:cubicBezTo>
                    <a:pt x="327" y="36"/>
                    <a:pt x="327" y="36"/>
                    <a:pt x="327" y="36"/>
                  </a:cubicBezTo>
                  <a:cubicBezTo>
                    <a:pt x="327" y="38"/>
                    <a:pt x="327" y="38"/>
                    <a:pt x="327" y="38"/>
                  </a:cubicBezTo>
                  <a:cubicBezTo>
                    <a:pt x="327" y="42"/>
                    <a:pt x="327" y="42"/>
                    <a:pt x="327" y="42"/>
                  </a:cubicBezTo>
                  <a:cubicBezTo>
                    <a:pt x="329" y="42"/>
                    <a:pt x="329" y="42"/>
                    <a:pt x="329" y="42"/>
                  </a:cubicBezTo>
                  <a:cubicBezTo>
                    <a:pt x="333" y="38"/>
                    <a:pt x="333" y="38"/>
                    <a:pt x="333" y="38"/>
                  </a:cubicBezTo>
                  <a:cubicBezTo>
                    <a:pt x="333" y="36"/>
                    <a:pt x="333" y="36"/>
                    <a:pt x="333" y="36"/>
                  </a:cubicBezTo>
                  <a:cubicBezTo>
                    <a:pt x="331" y="35"/>
                    <a:pt x="331" y="35"/>
                    <a:pt x="331" y="35"/>
                  </a:cubicBezTo>
                  <a:cubicBezTo>
                    <a:pt x="329" y="33"/>
                    <a:pt x="329" y="33"/>
                    <a:pt x="329" y="33"/>
                  </a:cubicBezTo>
                  <a:cubicBezTo>
                    <a:pt x="329" y="31"/>
                    <a:pt x="329" y="31"/>
                    <a:pt x="329" y="31"/>
                  </a:cubicBezTo>
                  <a:cubicBezTo>
                    <a:pt x="335" y="25"/>
                    <a:pt x="335" y="25"/>
                    <a:pt x="335" y="25"/>
                  </a:cubicBezTo>
                  <a:cubicBezTo>
                    <a:pt x="336" y="24"/>
                    <a:pt x="336" y="24"/>
                    <a:pt x="336" y="24"/>
                  </a:cubicBezTo>
                  <a:cubicBezTo>
                    <a:pt x="336" y="27"/>
                    <a:pt x="336" y="27"/>
                    <a:pt x="336" y="27"/>
                  </a:cubicBezTo>
                  <a:cubicBezTo>
                    <a:pt x="335" y="27"/>
                    <a:pt x="335" y="27"/>
                    <a:pt x="335" y="27"/>
                  </a:cubicBezTo>
                  <a:cubicBezTo>
                    <a:pt x="335" y="29"/>
                    <a:pt x="335" y="29"/>
                    <a:pt x="335" y="29"/>
                  </a:cubicBezTo>
                  <a:cubicBezTo>
                    <a:pt x="336" y="33"/>
                    <a:pt x="336" y="33"/>
                    <a:pt x="336" y="33"/>
                  </a:cubicBezTo>
                  <a:cubicBezTo>
                    <a:pt x="340" y="33"/>
                    <a:pt x="340" y="33"/>
                    <a:pt x="340" y="33"/>
                  </a:cubicBezTo>
                  <a:cubicBezTo>
                    <a:pt x="342" y="29"/>
                    <a:pt x="342" y="29"/>
                    <a:pt x="342" y="29"/>
                  </a:cubicBezTo>
                  <a:cubicBezTo>
                    <a:pt x="340" y="27"/>
                    <a:pt x="340" y="27"/>
                    <a:pt x="340" y="27"/>
                  </a:cubicBezTo>
                  <a:cubicBezTo>
                    <a:pt x="338" y="24"/>
                    <a:pt x="338" y="24"/>
                    <a:pt x="338" y="24"/>
                  </a:cubicBezTo>
                  <a:cubicBezTo>
                    <a:pt x="338" y="22"/>
                    <a:pt x="338" y="22"/>
                    <a:pt x="338" y="22"/>
                  </a:cubicBezTo>
                  <a:cubicBezTo>
                    <a:pt x="340" y="20"/>
                    <a:pt x="340" y="20"/>
                    <a:pt x="340" y="20"/>
                  </a:cubicBezTo>
                  <a:cubicBezTo>
                    <a:pt x="349" y="16"/>
                    <a:pt x="349" y="16"/>
                    <a:pt x="349" y="16"/>
                  </a:cubicBezTo>
                  <a:cubicBezTo>
                    <a:pt x="355" y="16"/>
                    <a:pt x="355" y="16"/>
                    <a:pt x="355" y="16"/>
                  </a:cubicBezTo>
                  <a:cubicBezTo>
                    <a:pt x="357" y="16"/>
                    <a:pt x="357" y="16"/>
                    <a:pt x="357" y="16"/>
                  </a:cubicBezTo>
                  <a:cubicBezTo>
                    <a:pt x="353" y="18"/>
                    <a:pt x="353" y="18"/>
                    <a:pt x="353" y="18"/>
                  </a:cubicBezTo>
                  <a:cubicBezTo>
                    <a:pt x="351" y="18"/>
                    <a:pt x="351" y="18"/>
                    <a:pt x="351" y="18"/>
                  </a:cubicBezTo>
                  <a:cubicBezTo>
                    <a:pt x="344" y="22"/>
                    <a:pt x="344" y="22"/>
                    <a:pt x="344" y="22"/>
                  </a:cubicBezTo>
                  <a:cubicBezTo>
                    <a:pt x="346" y="24"/>
                    <a:pt x="346" y="24"/>
                    <a:pt x="346" y="24"/>
                  </a:cubicBezTo>
                  <a:cubicBezTo>
                    <a:pt x="347" y="24"/>
                    <a:pt x="347" y="24"/>
                    <a:pt x="347" y="24"/>
                  </a:cubicBezTo>
                  <a:cubicBezTo>
                    <a:pt x="349" y="24"/>
                    <a:pt x="349" y="24"/>
                    <a:pt x="349" y="24"/>
                  </a:cubicBezTo>
                  <a:cubicBezTo>
                    <a:pt x="353" y="27"/>
                    <a:pt x="353" y="27"/>
                    <a:pt x="353" y="27"/>
                  </a:cubicBezTo>
                  <a:cubicBezTo>
                    <a:pt x="351" y="27"/>
                    <a:pt x="351" y="27"/>
                    <a:pt x="351" y="27"/>
                  </a:cubicBezTo>
                  <a:cubicBezTo>
                    <a:pt x="351" y="29"/>
                    <a:pt x="351" y="29"/>
                    <a:pt x="351" y="29"/>
                  </a:cubicBezTo>
                  <a:cubicBezTo>
                    <a:pt x="353" y="33"/>
                    <a:pt x="353" y="33"/>
                    <a:pt x="353" y="33"/>
                  </a:cubicBezTo>
                  <a:cubicBezTo>
                    <a:pt x="351" y="35"/>
                    <a:pt x="351" y="35"/>
                    <a:pt x="351" y="35"/>
                  </a:cubicBezTo>
                  <a:cubicBezTo>
                    <a:pt x="347" y="35"/>
                    <a:pt x="347" y="35"/>
                    <a:pt x="347" y="35"/>
                  </a:cubicBezTo>
                  <a:cubicBezTo>
                    <a:pt x="344" y="38"/>
                    <a:pt x="344" y="38"/>
                    <a:pt x="344" y="38"/>
                  </a:cubicBezTo>
                  <a:cubicBezTo>
                    <a:pt x="346" y="42"/>
                    <a:pt x="346" y="42"/>
                    <a:pt x="346" y="42"/>
                  </a:cubicBezTo>
                  <a:cubicBezTo>
                    <a:pt x="347" y="42"/>
                    <a:pt x="347" y="42"/>
                    <a:pt x="347" y="42"/>
                  </a:cubicBezTo>
                  <a:cubicBezTo>
                    <a:pt x="349" y="42"/>
                    <a:pt x="349" y="42"/>
                    <a:pt x="349" y="42"/>
                  </a:cubicBezTo>
                  <a:cubicBezTo>
                    <a:pt x="353" y="42"/>
                    <a:pt x="353" y="42"/>
                    <a:pt x="353" y="42"/>
                  </a:cubicBezTo>
                  <a:cubicBezTo>
                    <a:pt x="355" y="40"/>
                    <a:pt x="355" y="40"/>
                    <a:pt x="355" y="40"/>
                  </a:cubicBezTo>
                  <a:cubicBezTo>
                    <a:pt x="358" y="42"/>
                    <a:pt x="358" y="42"/>
                    <a:pt x="358" y="42"/>
                  </a:cubicBezTo>
                  <a:cubicBezTo>
                    <a:pt x="358" y="46"/>
                    <a:pt x="358" y="46"/>
                    <a:pt x="358" y="46"/>
                  </a:cubicBezTo>
                  <a:cubicBezTo>
                    <a:pt x="360" y="42"/>
                    <a:pt x="360" y="42"/>
                    <a:pt x="360" y="42"/>
                  </a:cubicBezTo>
                  <a:cubicBezTo>
                    <a:pt x="364" y="36"/>
                    <a:pt x="364" y="36"/>
                    <a:pt x="364" y="36"/>
                  </a:cubicBezTo>
                  <a:cubicBezTo>
                    <a:pt x="366" y="36"/>
                    <a:pt x="366" y="36"/>
                    <a:pt x="366" y="36"/>
                  </a:cubicBezTo>
                  <a:cubicBezTo>
                    <a:pt x="367" y="40"/>
                    <a:pt x="367" y="40"/>
                    <a:pt x="367" y="40"/>
                  </a:cubicBezTo>
                  <a:cubicBezTo>
                    <a:pt x="369" y="42"/>
                    <a:pt x="369" y="42"/>
                    <a:pt x="369" y="42"/>
                  </a:cubicBezTo>
                  <a:cubicBezTo>
                    <a:pt x="371" y="40"/>
                    <a:pt x="371" y="40"/>
                    <a:pt x="371" y="40"/>
                  </a:cubicBezTo>
                  <a:cubicBezTo>
                    <a:pt x="369" y="38"/>
                    <a:pt x="369" y="38"/>
                    <a:pt x="369" y="38"/>
                  </a:cubicBezTo>
                  <a:cubicBezTo>
                    <a:pt x="371" y="36"/>
                    <a:pt x="371" y="36"/>
                    <a:pt x="371" y="36"/>
                  </a:cubicBezTo>
                  <a:cubicBezTo>
                    <a:pt x="367" y="35"/>
                    <a:pt x="367" y="35"/>
                    <a:pt x="367" y="35"/>
                  </a:cubicBezTo>
                  <a:cubicBezTo>
                    <a:pt x="367" y="33"/>
                    <a:pt x="367" y="33"/>
                    <a:pt x="367" y="33"/>
                  </a:cubicBezTo>
                  <a:cubicBezTo>
                    <a:pt x="371" y="29"/>
                    <a:pt x="371" y="29"/>
                    <a:pt x="371" y="29"/>
                  </a:cubicBezTo>
                  <a:cubicBezTo>
                    <a:pt x="375" y="29"/>
                    <a:pt x="375" y="29"/>
                    <a:pt x="375" y="29"/>
                  </a:cubicBezTo>
                  <a:cubicBezTo>
                    <a:pt x="375" y="27"/>
                    <a:pt x="375" y="27"/>
                    <a:pt x="375" y="27"/>
                  </a:cubicBezTo>
                  <a:cubicBezTo>
                    <a:pt x="380" y="24"/>
                    <a:pt x="380" y="24"/>
                    <a:pt x="380" y="24"/>
                  </a:cubicBezTo>
                  <a:cubicBezTo>
                    <a:pt x="382" y="25"/>
                    <a:pt x="382" y="25"/>
                    <a:pt x="382" y="25"/>
                  </a:cubicBezTo>
                  <a:cubicBezTo>
                    <a:pt x="384" y="25"/>
                    <a:pt x="384" y="25"/>
                    <a:pt x="384" y="25"/>
                  </a:cubicBezTo>
                  <a:cubicBezTo>
                    <a:pt x="386" y="25"/>
                    <a:pt x="386" y="25"/>
                    <a:pt x="386" y="25"/>
                  </a:cubicBezTo>
                  <a:cubicBezTo>
                    <a:pt x="389" y="25"/>
                    <a:pt x="389" y="25"/>
                    <a:pt x="389" y="25"/>
                  </a:cubicBezTo>
                  <a:cubicBezTo>
                    <a:pt x="397" y="25"/>
                    <a:pt x="397" y="25"/>
                    <a:pt x="397" y="25"/>
                  </a:cubicBezTo>
                  <a:cubicBezTo>
                    <a:pt x="398" y="24"/>
                    <a:pt x="398" y="24"/>
                    <a:pt x="398" y="24"/>
                  </a:cubicBezTo>
                  <a:cubicBezTo>
                    <a:pt x="398" y="22"/>
                    <a:pt x="398" y="22"/>
                    <a:pt x="398" y="22"/>
                  </a:cubicBezTo>
                  <a:cubicBezTo>
                    <a:pt x="400" y="20"/>
                    <a:pt x="400" y="20"/>
                    <a:pt x="400" y="20"/>
                  </a:cubicBezTo>
                  <a:cubicBezTo>
                    <a:pt x="404" y="20"/>
                    <a:pt x="404" y="20"/>
                    <a:pt x="404" y="20"/>
                  </a:cubicBezTo>
                  <a:cubicBezTo>
                    <a:pt x="406" y="18"/>
                    <a:pt x="406" y="18"/>
                    <a:pt x="406" y="18"/>
                  </a:cubicBezTo>
                  <a:cubicBezTo>
                    <a:pt x="408" y="15"/>
                    <a:pt x="408" y="15"/>
                    <a:pt x="408" y="15"/>
                  </a:cubicBezTo>
                  <a:cubicBezTo>
                    <a:pt x="411" y="15"/>
                    <a:pt x="411" y="15"/>
                    <a:pt x="411" y="15"/>
                  </a:cubicBezTo>
                  <a:cubicBezTo>
                    <a:pt x="415" y="9"/>
                    <a:pt x="415" y="9"/>
                    <a:pt x="415" y="9"/>
                  </a:cubicBezTo>
                  <a:cubicBezTo>
                    <a:pt x="417" y="9"/>
                    <a:pt x="417" y="9"/>
                    <a:pt x="417" y="9"/>
                  </a:cubicBezTo>
                  <a:moveTo>
                    <a:pt x="120" y="164"/>
                  </a:moveTo>
                  <a:cubicBezTo>
                    <a:pt x="118" y="160"/>
                    <a:pt x="118" y="160"/>
                    <a:pt x="118" y="160"/>
                  </a:cubicBezTo>
                  <a:cubicBezTo>
                    <a:pt x="120" y="158"/>
                    <a:pt x="120" y="158"/>
                    <a:pt x="120" y="158"/>
                  </a:cubicBezTo>
                  <a:cubicBezTo>
                    <a:pt x="120" y="157"/>
                    <a:pt x="120" y="157"/>
                    <a:pt x="120" y="157"/>
                  </a:cubicBezTo>
                  <a:cubicBezTo>
                    <a:pt x="116" y="157"/>
                    <a:pt x="116" y="157"/>
                    <a:pt x="116" y="157"/>
                  </a:cubicBezTo>
                  <a:cubicBezTo>
                    <a:pt x="114" y="158"/>
                    <a:pt x="114" y="158"/>
                    <a:pt x="114" y="158"/>
                  </a:cubicBezTo>
                  <a:cubicBezTo>
                    <a:pt x="114" y="160"/>
                    <a:pt x="114" y="160"/>
                    <a:pt x="114" y="160"/>
                  </a:cubicBezTo>
                  <a:cubicBezTo>
                    <a:pt x="118" y="164"/>
                    <a:pt x="118" y="164"/>
                    <a:pt x="118" y="164"/>
                  </a:cubicBezTo>
                  <a:cubicBezTo>
                    <a:pt x="118" y="166"/>
                    <a:pt x="118" y="166"/>
                    <a:pt x="118" y="166"/>
                  </a:cubicBezTo>
                  <a:cubicBezTo>
                    <a:pt x="120" y="166"/>
                    <a:pt x="120" y="166"/>
                    <a:pt x="120" y="166"/>
                  </a:cubicBezTo>
                  <a:cubicBezTo>
                    <a:pt x="120" y="164"/>
                    <a:pt x="120" y="164"/>
                    <a:pt x="120" y="164"/>
                  </a:cubicBezTo>
                  <a:close/>
                  <a:moveTo>
                    <a:pt x="209" y="107"/>
                  </a:moveTo>
                  <a:cubicBezTo>
                    <a:pt x="211" y="106"/>
                    <a:pt x="211" y="106"/>
                    <a:pt x="211" y="106"/>
                  </a:cubicBezTo>
                  <a:cubicBezTo>
                    <a:pt x="211" y="104"/>
                    <a:pt x="211" y="104"/>
                    <a:pt x="211" y="104"/>
                  </a:cubicBezTo>
                  <a:cubicBezTo>
                    <a:pt x="209" y="102"/>
                    <a:pt x="209" y="102"/>
                    <a:pt x="209" y="102"/>
                  </a:cubicBezTo>
                  <a:cubicBezTo>
                    <a:pt x="207" y="102"/>
                    <a:pt x="207" y="102"/>
                    <a:pt x="207" y="102"/>
                  </a:cubicBezTo>
                  <a:cubicBezTo>
                    <a:pt x="207" y="104"/>
                    <a:pt x="207" y="104"/>
                    <a:pt x="207" y="104"/>
                  </a:cubicBezTo>
                  <a:cubicBezTo>
                    <a:pt x="209" y="107"/>
                    <a:pt x="209" y="107"/>
                    <a:pt x="209" y="107"/>
                  </a:cubicBezTo>
                  <a:close/>
                  <a:moveTo>
                    <a:pt x="278" y="31"/>
                  </a:moveTo>
                  <a:cubicBezTo>
                    <a:pt x="282" y="31"/>
                    <a:pt x="282" y="31"/>
                    <a:pt x="282" y="31"/>
                  </a:cubicBezTo>
                  <a:cubicBezTo>
                    <a:pt x="285" y="27"/>
                    <a:pt x="285" y="27"/>
                    <a:pt x="285" y="27"/>
                  </a:cubicBezTo>
                  <a:cubicBezTo>
                    <a:pt x="289" y="24"/>
                    <a:pt x="289" y="24"/>
                    <a:pt x="289" y="24"/>
                  </a:cubicBezTo>
                  <a:cubicBezTo>
                    <a:pt x="289" y="18"/>
                    <a:pt x="289" y="18"/>
                    <a:pt x="289" y="18"/>
                  </a:cubicBezTo>
                  <a:cubicBezTo>
                    <a:pt x="291" y="16"/>
                    <a:pt x="291" y="16"/>
                    <a:pt x="291" y="16"/>
                  </a:cubicBezTo>
                  <a:cubicBezTo>
                    <a:pt x="293" y="18"/>
                    <a:pt x="293" y="18"/>
                    <a:pt x="293" y="18"/>
                  </a:cubicBezTo>
                  <a:cubicBezTo>
                    <a:pt x="291" y="24"/>
                    <a:pt x="291" y="24"/>
                    <a:pt x="291" y="24"/>
                  </a:cubicBezTo>
                  <a:cubicBezTo>
                    <a:pt x="295" y="18"/>
                    <a:pt x="295" y="18"/>
                    <a:pt x="295" y="18"/>
                  </a:cubicBezTo>
                  <a:cubicBezTo>
                    <a:pt x="295" y="15"/>
                    <a:pt x="295" y="15"/>
                    <a:pt x="295" y="15"/>
                  </a:cubicBezTo>
                  <a:cubicBezTo>
                    <a:pt x="291" y="11"/>
                    <a:pt x="291" y="11"/>
                    <a:pt x="291" y="11"/>
                  </a:cubicBezTo>
                  <a:cubicBezTo>
                    <a:pt x="278" y="5"/>
                    <a:pt x="278" y="5"/>
                    <a:pt x="278" y="5"/>
                  </a:cubicBezTo>
                  <a:cubicBezTo>
                    <a:pt x="273" y="5"/>
                    <a:pt x="273" y="5"/>
                    <a:pt x="273" y="5"/>
                  </a:cubicBezTo>
                  <a:cubicBezTo>
                    <a:pt x="269" y="7"/>
                    <a:pt x="269" y="7"/>
                    <a:pt x="269" y="7"/>
                  </a:cubicBezTo>
                  <a:cubicBezTo>
                    <a:pt x="267" y="15"/>
                    <a:pt x="267" y="15"/>
                    <a:pt x="267" y="15"/>
                  </a:cubicBezTo>
                  <a:cubicBezTo>
                    <a:pt x="267" y="24"/>
                    <a:pt x="267" y="24"/>
                    <a:pt x="267" y="24"/>
                  </a:cubicBezTo>
                  <a:cubicBezTo>
                    <a:pt x="269" y="27"/>
                    <a:pt x="269" y="27"/>
                    <a:pt x="269" y="27"/>
                  </a:cubicBezTo>
                  <a:cubicBezTo>
                    <a:pt x="271" y="31"/>
                    <a:pt x="271" y="31"/>
                    <a:pt x="271" y="31"/>
                  </a:cubicBezTo>
                  <a:cubicBezTo>
                    <a:pt x="271" y="31"/>
                    <a:pt x="271" y="31"/>
                    <a:pt x="271" y="31"/>
                  </a:cubicBezTo>
                  <a:cubicBezTo>
                    <a:pt x="275" y="31"/>
                    <a:pt x="275" y="31"/>
                    <a:pt x="275" y="31"/>
                  </a:cubicBezTo>
                  <a:cubicBezTo>
                    <a:pt x="273" y="35"/>
                    <a:pt x="273" y="35"/>
                    <a:pt x="273" y="35"/>
                  </a:cubicBezTo>
                  <a:cubicBezTo>
                    <a:pt x="276" y="35"/>
                    <a:pt x="276" y="35"/>
                    <a:pt x="276" y="35"/>
                  </a:cubicBezTo>
                  <a:cubicBezTo>
                    <a:pt x="278" y="31"/>
                    <a:pt x="278" y="31"/>
                    <a:pt x="278" y="31"/>
                  </a:cubicBezTo>
                  <a:close/>
                  <a:moveTo>
                    <a:pt x="309" y="38"/>
                  </a:moveTo>
                  <a:cubicBezTo>
                    <a:pt x="311" y="38"/>
                    <a:pt x="311" y="38"/>
                    <a:pt x="311" y="38"/>
                  </a:cubicBezTo>
                  <a:cubicBezTo>
                    <a:pt x="311" y="36"/>
                    <a:pt x="311" y="36"/>
                    <a:pt x="311" y="36"/>
                  </a:cubicBezTo>
                  <a:cubicBezTo>
                    <a:pt x="315" y="36"/>
                    <a:pt x="315" y="36"/>
                    <a:pt x="315" y="36"/>
                  </a:cubicBezTo>
                  <a:cubicBezTo>
                    <a:pt x="316" y="35"/>
                    <a:pt x="316" y="35"/>
                    <a:pt x="316" y="35"/>
                  </a:cubicBezTo>
                  <a:cubicBezTo>
                    <a:pt x="313" y="35"/>
                    <a:pt x="313" y="35"/>
                    <a:pt x="313" y="35"/>
                  </a:cubicBezTo>
                  <a:cubicBezTo>
                    <a:pt x="309" y="36"/>
                    <a:pt x="309" y="36"/>
                    <a:pt x="309" y="36"/>
                  </a:cubicBezTo>
                  <a:cubicBezTo>
                    <a:pt x="309" y="38"/>
                    <a:pt x="309" y="38"/>
                    <a:pt x="309" y="38"/>
                  </a:cubicBezTo>
                  <a:close/>
                  <a:moveTo>
                    <a:pt x="358" y="36"/>
                  </a:moveTo>
                  <a:cubicBezTo>
                    <a:pt x="360" y="38"/>
                    <a:pt x="360" y="38"/>
                    <a:pt x="360" y="38"/>
                  </a:cubicBezTo>
                  <a:cubicBezTo>
                    <a:pt x="362" y="35"/>
                    <a:pt x="362" y="35"/>
                    <a:pt x="362" y="35"/>
                  </a:cubicBezTo>
                  <a:cubicBezTo>
                    <a:pt x="362" y="33"/>
                    <a:pt x="362" y="33"/>
                    <a:pt x="362" y="33"/>
                  </a:cubicBezTo>
                  <a:cubicBezTo>
                    <a:pt x="360" y="33"/>
                    <a:pt x="360" y="33"/>
                    <a:pt x="360" y="33"/>
                  </a:cubicBezTo>
                  <a:cubicBezTo>
                    <a:pt x="358" y="36"/>
                    <a:pt x="358" y="36"/>
                    <a:pt x="358" y="36"/>
                  </a:cubicBezTo>
                  <a:cubicBezTo>
                    <a:pt x="358" y="36"/>
                    <a:pt x="358" y="36"/>
                    <a:pt x="358" y="36"/>
                  </a:cubicBezTo>
                  <a:close/>
                  <a:moveTo>
                    <a:pt x="353" y="38"/>
                  </a:moveTo>
                  <a:cubicBezTo>
                    <a:pt x="355" y="38"/>
                    <a:pt x="355" y="38"/>
                    <a:pt x="355" y="38"/>
                  </a:cubicBezTo>
                  <a:cubicBezTo>
                    <a:pt x="357" y="36"/>
                    <a:pt x="357" y="36"/>
                    <a:pt x="357" y="36"/>
                  </a:cubicBezTo>
                  <a:cubicBezTo>
                    <a:pt x="355" y="35"/>
                    <a:pt x="355" y="35"/>
                    <a:pt x="355" y="35"/>
                  </a:cubicBezTo>
                  <a:cubicBezTo>
                    <a:pt x="353" y="35"/>
                    <a:pt x="353" y="35"/>
                    <a:pt x="353" y="35"/>
                  </a:cubicBezTo>
                  <a:cubicBezTo>
                    <a:pt x="353" y="38"/>
                    <a:pt x="353" y="38"/>
                    <a:pt x="353" y="38"/>
                  </a:cubicBezTo>
                  <a:close/>
                  <a:moveTo>
                    <a:pt x="393" y="20"/>
                  </a:moveTo>
                  <a:cubicBezTo>
                    <a:pt x="395" y="22"/>
                    <a:pt x="395" y="22"/>
                    <a:pt x="395" y="22"/>
                  </a:cubicBezTo>
                  <a:cubicBezTo>
                    <a:pt x="397" y="20"/>
                    <a:pt x="397" y="20"/>
                    <a:pt x="397" y="20"/>
                  </a:cubicBezTo>
                  <a:cubicBezTo>
                    <a:pt x="402" y="18"/>
                    <a:pt x="402" y="18"/>
                    <a:pt x="402" y="18"/>
                  </a:cubicBezTo>
                  <a:cubicBezTo>
                    <a:pt x="402" y="16"/>
                    <a:pt x="402" y="16"/>
                    <a:pt x="402" y="16"/>
                  </a:cubicBezTo>
                  <a:cubicBezTo>
                    <a:pt x="400" y="16"/>
                    <a:pt x="400" y="16"/>
                    <a:pt x="400" y="16"/>
                  </a:cubicBezTo>
                  <a:cubicBezTo>
                    <a:pt x="395" y="18"/>
                    <a:pt x="395" y="18"/>
                    <a:pt x="395" y="18"/>
                  </a:cubicBezTo>
                  <a:cubicBezTo>
                    <a:pt x="393" y="20"/>
                    <a:pt x="393" y="20"/>
                    <a:pt x="393" y="20"/>
                  </a:cubicBezTo>
                  <a:close/>
                  <a:moveTo>
                    <a:pt x="377" y="16"/>
                  </a:moveTo>
                  <a:cubicBezTo>
                    <a:pt x="378" y="18"/>
                    <a:pt x="378" y="18"/>
                    <a:pt x="378" y="18"/>
                  </a:cubicBezTo>
                  <a:cubicBezTo>
                    <a:pt x="380" y="18"/>
                    <a:pt x="380" y="18"/>
                    <a:pt x="380" y="18"/>
                  </a:cubicBezTo>
                  <a:cubicBezTo>
                    <a:pt x="380" y="16"/>
                    <a:pt x="380" y="16"/>
                    <a:pt x="380" y="16"/>
                  </a:cubicBezTo>
                  <a:cubicBezTo>
                    <a:pt x="378" y="16"/>
                    <a:pt x="378" y="16"/>
                    <a:pt x="378" y="16"/>
                  </a:cubicBezTo>
                  <a:cubicBezTo>
                    <a:pt x="377" y="16"/>
                    <a:pt x="377" y="16"/>
                    <a:pt x="377" y="16"/>
                  </a:cubicBezTo>
                  <a:close/>
                  <a:moveTo>
                    <a:pt x="366" y="16"/>
                  </a:moveTo>
                  <a:cubicBezTo>
                    <a:pt x="369" y="16"/>
                    <a:pt x="369" y="16"/>
                    <a:pt x="369" y="16"/>
                  </a:cubicBezTo>
                  <a:cubicBezTo>
                    <a:pt x="369" y="18"/>
                    <a:pt x="369" y="18"/>
                    <a:pt x="369" y="18"/>
                  </a:cubicBezTo>
                  <a:cubicBezTo>
                    <a:pt x="373" y="20"/>
                    <a:pt x="373" y="20"/>
                    <a:pt x="373" y="20"/>
                  </a:cubicBezTo>
                  <a:cubicBezTo>
                    <a:pt x="371" y="16"/>
                    <a:pt x="371" y="16"/>
                    <a:pt x="371" y="16"/>
                  </a:cubicBezTo>
                  <a:cubicBezTo>
                    <a:pt x="369" y="15"/>
                    <a:pt x="369" y="15"/>
                    <a:pt x="369" y="15"/>
                  </a:cubicBezTo>
                  <a:cubicBezTo>
                    <a:pt x="366" y="16"/>
                    <a:pt x="366" y="16"/>
                    <a:pt x="366" y="16"/>
                  </a:cubicBezTo>
                  <a:close/>
                  <a:moveTo>
                    <a:pt x="360" y="16"/>
                  </a:moveTo>
                  <a:cubicBezTo>
                    <a:pt x="362" y="18"/>
                    <a:pt x="362" y="18"/>
                    <a:pt x="362" y="18"/>
                  </a:cubicBezTo>
                  <a:cubicBezTo>
                    <a:pt x="364" y="18"/>
                    <a:pt x="364" y="18"/>
                    <a:pt x="364" y="18"/>
                  </a:cubicBezTo>
                  <a:cubicBezTo>
                    <a:pt x="366" y="16"/>
                    <a:pt x="366" y="16"/>
                    <a:pt x="366" y="16"/>
                  </a:cubicBezTo>
                  <a:cubicBezTo>
                    <a:pt x="364" y="15"/>
                    <a:pt x="364" y="15"/>
                    <a:pt x="364" y="15"/>
                  </a:cubicBezTo>
                  <a:cubicBezTo>
                    <a:pt x="360" y="16"/>
                    <a:pt x="360" y="16"/>
                    <a:pt x="360" y="16"/>
                  </a:cubicBezTo>
                  <a:close/>
                  <a:moveTo>
                    <a:pt x="418" y="0"/>
                  </a:moveTo>
                  <a:cubicBezTo>
                    <a:pt x="418" y="0"/>
                    <a:pt x="418" y="0"/>
                    <a:pt x="418" y="0"/>
                  </a:cubicBezTo>
                  <a:moveTo>
                    <a:pt x="34" y="302"/>
                  </a:moveTo>
                  <a:cubicBezTo>
                    <a:pt x="34" y="304"/>
                    <a:pt x="34" y="304"/>
                    <a:pt x="34" y="304"/>
                  </a:cubicBezTo>
                  <a:cubicBezTo>
                    <a:pt x="36" y="306"/>
                    <a:pt x="36" y="306"/>
                    <a:pt x="36" y="306"/>
                  </a:cubicBezTo>
                  <a:cubicBezTo>
                    <a:pt x="38" y="304"/>
                    <a:pt x="38" y="304"/>
                    <a:pt x="38" y="304"/>
                  </a:cubicBezTo>
                  <a:cubicBezTo>
                    <a:pt x="34" y="302"/>
                    <a:pt x="34" y="302"/>
                    <a:pt x="34" y="302"/>
                  </a:cubicBezTo>
                  <a:cubicBezTo>
                    <a:pt x="34" y="302"/>
                    <a:pt x="34" y="302"/>
                    <a:pt x="34" y="302"/>
                  </a:cubicBezTo>
                  <a:close/>
                </a:path>
              </a:pathLst>
            </a:custGeom>
            <a:solidFill>
              <a:schemeClr val="bg1"/>
            </a:solidFill>
            <a:ln w="6350">
              <a:solidFill>
                <a:schemeClr val="accent2"/>
              </a:solidFill>
              <a:round/>
              <a:headEnd/>
              <a:tailEnd/>
            </a:ln>
          </p:spPr>
          <p:txBody>
            <a:bodyPr/>
            <a:lstStyle/>
            <a:p>
              <a:endParaRPr lang="de-DE"/>
            </a:p>
          </p:txBody>
        </p:sp>
        <p:sp>
          <p:nvSpPr>
            <p:cNvPr id="171" name="Freeform 11"/>
            <p:cNvSpPr>
              <a:spLocks noEditPoints="1"/>
            </p:cNvSpPr>
            <p:nvPr/>
          </p:nvSpPr>
          <p:spPr bwMode="gray">
            <a:xfrm>
              <a:off x="3477" y="-99"/>
              <a:ext cx="1331" cy="2371"/>
            </a:xfrm>
            <a:custGeom>
              <a:avLst/>
              <a:gdLst>
                <a:gd name="T0" fmla="*/ 42632726 w 418"/>
                <a:gd name="T1" fmla="*/ 54894907 h 745"/>
                <a:gd name="T2" fmla="*/ 38795902 w 418"/>
                <a:gd name="T3" fmla="*/ 58082740 h 745"/>
                <a:gd name="T4" fmla="*/ 41693645 w 418"/>
                <a:gd name="T5" fmla="*/ 65451114 h 745"/>
                <a:gd name="T6" fmla="*/ 42632726 w 418"/>
                <a:gd name="T7" fmla="*/ 67355591 h 745"/>
                <a:gd name="T8" fmla="*/ 41355097 w 418"/>
                <a:gd name="T9" fmla="*/ 68325244 h 745"/>
                <a:gd name="T10" fmla="*/ 39748806 w 418"/>
                <a:gd name="T11" fmla="*/ 71849804 h 745"/>
                <a:gd name="T12" fmla="*/ 41693645 w 418"/>
                <a:gd name="T13" fmla="*/ 74187794 h 745"/>
                <a:gd name="T14" fmla="*/ 39981224 w 418"/>
                <a:gd name="T15" fmla="*/ 78040440 h 745"/>
                <a:gd name="T16" fmla="*/ 34726656 w 418"/>
                <a:gd name="T17" fmla="*/ 79217761 h 745"/>
                <a:gd name="T18" fmla="*/ 31398487 w 418"/>
                <a:gd name="T19" fmla="*/ 77072114 h 745"/>
                <a:gd name="T20" fmla="*/ 27425137 w 418"/>
                <a:gd name="T21" fmla="*/ 73754267 h 745"/>
                <a:gd name="T22" fmla="*/ 22416769 w 418"/>
                <a:gd name="T23" fmla="*/ 69935888 h 745"/>
                <a:gd name="T24" fmla="*/ 24773343 w 418"/>
                <a:gd name="T25" fmla="*/ 67997766 h 745"/>
                <a:gd name="T26" fmla="*/ 25267316 w 418"/>
                <a:gd name="T27" fmla="*/ 65252612 h 745"/>
                <a:gd name="T28" fmla="*/ 26486056 w 418"/>
                <a:gd name="T29" fmla="*/ 60758371 h 745"/>
                <a:gd name="T30" fmla="*/ 21633730 w 418"/>
                <a:gd name="T31" fmla="*/ 57441883 h 745"/>
                <a:gd name="T32" fmla="*/ 15947669 w 418"/>
                <a:gd name="T33" fmla="*/ 54558314 h 745"/>
                <a:gd name="T34" fmla="*/ 10939301 w 418"/>
                <a:gd name="T35" fmla="*/ 51485654 h 745"/>
                <a:gd name="T36" fmla="*/ 9522885 w 418"/>
                <a:gd name="T37" fmla="*/ 46253933 h 745"/>
                <a:gd name="T38" fmla="*/ 4408106 w 418"/>
                <a:gd name="T39" fmla="*/ 43909653 h 745"/>
                <a:gd name="T40" fmla="*/ 3435483 w 418"/>
                <a:gd name="T41" fmla="*/ 39223510 h 745"/>
                <a:gd name="T42" fmla="*/ 3866947 w 418"/>
                <a:gd name="T43" fmla="*/ 34236934 h 745"/>
                <a:gd name="T44" fmla="*/ 3634528 w 418"/>
                <a:gd name="T45" fmla="*/ 31657955 h 745"/>
                <a:gd name="T46" fmla="*/ 5791114 w 418"/>
                <a:gd name="T47" fmla="*/ 27394572 h 745"/>
                <a:gd name="T48" fmla="*/ 4069275 w 418"/>
                <a:gd name="T49" fmla="*/ 18459362 h 745"/>
                <a:gd name="T50" fmla="*/ 2695406 w 418"/>
                <a:gd name="T51" fmla="*/ 8945653 h 745"/>
                <a:gd name="T52" fmla="*/ 972531 w 418"/>
                <a:gd name="T53" fmla="*/ 3852939 h 745"/>
                <a:gd name="T54" fmla="*/ 3866947 w 418"/>
                <a:gd name="T55" fmla="*/ 1904760 h 745"/>
                <a:gd name="T56" fmla="*/ 5589111 w 418"/>
                <a:gd name="T57" fmla="*/ 1610644 h 745"/>
                <a:gd name="T58" fmla="*/ 5254597 w 418"/>
                <a:gd name="T59" fmla="*/ 2883569 h 745"/>
                <a:gd name="T60" fmla="*/ 6962983 w 418"/>
                <a:gd name="T61" fmla="*/ 3515404 h 745"/>
                <a:gd name="T62" fmla="*/ 9319512 w 418"/>
                <a:gd name="T63" fmla="*/ 3316902 h 745"/>
                <a:gd name="T64" fmla="*/ 15313999 w 418"/>
                <a:gd name="T65" fmla="*/ 5863493 h 745"/>
                <a:gd name="T66" fmla="*/ 19078146 w 418"/>
                <a:gd name="T67" fmla="*/ 8104937 h 745"/>
                <a:gd name="T68" fmla="*/ 17471824 w 418"/>
                <a:gd name="T69" fmla="*/ 13227644 h 745"/>
                <a:gd name="T70" fmla="*/ 11477175 w 418"/>
                <a:gd name="T71" fmla="*/ 12600092 h 745"/>
                <a:gd name="T72" fmla="*/ 8350309 w 418"/>
                <a:gd name="T73" fmla="*/ 11818468 h 745"/>
                <a:gd name="T74" fmla="*/ 7704086 w 418"/>
                <a:gd name="T75" fmla="*/ 12995779 h 745"/>
                <a:gd name="T76" fmla="*/ 10494473 w 418"/>
                <a:gd name="T77" fmla="*/ 13965139 h 745"/>
                <a:gd name="T78" fmla="*/ 11878424 w 418"/>
                <a:gd name="T79" fmla="*/ 18218369 h 745"/>
                <a:gd name="T80" fmla="*/ 15745755 w 418"/>
                <a:gd name="T81" fmla="*/ 21207834 h 745"/>
                <a:gd name="T82" fmla="*/ 14574122 w 418"/>
                <a:gd name="T83" fmla="*/ 18859360 h 745"/>
                <a:gd name="T84" fmla="*/ 16930785 w 418"/>
                <a:gd name="T85" fmla="*/ 17681947 h 745"/>
                <a:gd name="T86" fmla="*/ 19615988 w 418"/>
                <a:gd name="T87" fmla="*/ 14166932 h 745"/>
                <a:gd name="T88" fmla="*/ 24773343 w 418"/>
                <a:gd name="T89" fmla="*/ 13227644 h 745"/>
                <a:gd name="T90" fmla="*/ 23588313 w 418"/>
                <a:gd name="T91" fmla="*/ 9177103 h 745"/>
                <a:gd name="T92" fmla="*/ 23588313 w 418"/>
                <a:gd name="T93" fmla="*/ 4692432 h 745"/>
                <a:gd name="T94" fmla="*/ 25712424 w 418"/>
                <a:gd name="T95" fmla="*/ 7566548 h 745"/>
                <a:gd name="T96" fmla="*/ 29582669 w 418"/>
                <a:gd name="T97" fmla="*/ 9177103 h 745"/>
                <a:gd name="T98" fmla="*/ 31939657 w 418"/>
                <a:gd name="T99" fmla="*/ 5430252 h 745"/>
                <a:gd name="T100" fmla="*/ 35670068 w 418"/>
                <a:gd name="T101" fmla="*/ 3852939 h 745"/>
                <a:gd name="T102" fmla="*/ 36449855 w 418"/>
                <a:gd name="T103" fmla="*/ 2145749 h 745"/>
                <a:gd name="T104" fmla="*/ 37189611 w 418"/>
                <a:gd name="T105" fmla="*/ 3713521 h 745"/>
                <a:gd name="T106" fmla="*/ 39536014 w 418"/>
                <a:gd name="T107" fmla="*/ 4051441 h 745"/>
                <a:gd name="T108" fmla="*/ 42875672 w 418"/>
                <a:gd name="T109" fmla="*/ 2145749 h 745"/>
                <a:gd name="T110" fmla="*/ 12652015 w 418"/>
                <a:gd name="T111" fmla="*/ 17681947 h 745"/>
                <a:gd name="T112" fmla="*/ 31199484 w 418"/>
                <a:gd name="T113" fmla="*/ 1706258 h 745"/>
                <a:gd name="T114" fmla="*/ 29243926 w 418"/>
                <a:gd name="T115" fmla="*/ 3713521 h 745"/>
                <a:gd name="T116" fmla="*/ 38563480 w 418"/>
                <a:gd name="T117" fmla="*/ 3515404 h 745"/>
                <a:gd name="T118" fmla="*/ 42337798 w 418"/>
                <a:gd name="T119" fmla="*/ 1904760 h 745"/>
                <a:gd name="T120" fmla="*/ 38563480 w 418"/>
                <a:gd name="T121" fmla="*/ 1706258 h 74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18" h="745">
                  <a:moveTo>
                    <a:pt x="418" y="13"/>
                  </a:moveTo>
                  <a:cubicBezTo>
                    <a:pt x="418" y="13"/>
                    <a:pt x="418" y="13"/>
                    <a:pt x="418" y="13"/>
                  </a:cubicBezTo>
                  <a:moveTo>
                    <a:pt x="417" y="512"/>
                  </a:moveTo>
                  <a:cubicBezTo>
                    <a:pt x="415" y="510"/>
                    <a:pt x="415" y="510"/>
                    <a:pt x="415" y="510"/>
                  </a:cubicBezTo>
                  <a:cubicBezTo>
                    <a:pt x="417" y="508"/>
                    <a:pt x="417" y="508"/>
                    <a:pt x="417" y="508"/>
                  </a:cubicBezTo>
                  <a:cubicBezTo>
                    <a:pt x="417" y="506"/>
                    <a:pt x="417" y="506"/>
                    <a:pt x="417" y="506"/>
                  </a:cubicBezTo>
                  <a:cubicBezTo>
                    <a:pt x="413" y="505"/>
                    <a:pt x="413" y="505"/>
                    <a:pt x="413" y="505"/>
                  </a:cubicBezTo>
                  <a:cubicBezTo>
                    <a:pt x="408" y="501"/>
                    <a:pt x="408" y="501"/>
                    <a:pt x="408" y="501"/>
                  </a:cubicBezTo>
                  <a:cubicBezTo>
                    <a:pt x="408" y="503"/>
                    <a:pt x="408" y="503"/>
                    <a:pt x="408" y="503"/>
                  </a:cubicBezTo>
                  <a:cubicBezTo>
                    <a:pt x="408" y="506"/>
                    <a:pt x="408" y="506"/>
                    <a:pt x="408" y="506"/>
                  </a:cubicBezTo>
                  <a:cubicBezTo>
                    <a:pt x="408" y="510"/>
                    <a:pt x="408" y="510"/>
                    <a:pt x="408" y="510"/>
                  </a:cubicBezTo>
                  <a:cubicBezTo>
                    <a:pt x="404" y="508"/>
                    <a:pt x="404" y="508"/>
                    <a:pt x="404" y="508"/>
                  </a:cubicBezTo>
                  <a:cubicBezTo>
                    <a:pt x="402" y="510"/>
                    <a:pt x="402" y="510"/>
                    <a:pt x="402" y="510"/>
                  </a:cubicBezTo>
                  <a:cubicBezTo>
                    <a:pt x="400" y="515"/>
                    <a:pt x="400" y="515"/>
                    <a:pt x="400" y="515"/>
                  </a:cubicBezTo>
                  <a:cubicBezTo>
                    <a:pt x="398" y="515"/>
                    <a:pt x="398" y="515"/>
                    <a:pt x="398" y="515"/>
                  </a:cubicBezTo>
                  <a:cubicBezTo>
                    <a:pt x="393" y="519"/>
                    <a:pt x="393" y="519"/>
                    <a:pt x="393" y="519"/>
                  </a:cubicBezTo>
                  <a:cubicBezTo>
                    <a:pt x="391" y="523"/>
                    <a:pt x="391" y="523"/>
                    <a:pt x="391" y="523"/>
                  </a:cubicBezTo>
                  <a:cubicBezTo>
                    <a:pt x="393" y="525"/>
                    <a:pt x="393" y="525"/>
                    <a:pt x="393" y="525"/>
                  </a:cubicBezTo>
                  <a:cubicBezTo>
                    <a:pt x="393" y="530"/>
                    <a:pt x="393" y="530"/>
                    <a:pt x="393" y="530"/>
                  </a:cubicBezTo>
                  <a:cubicBezTo>
                    <a:pt x="387" y="530"/>
                    <a:pt x="387" y="530"/>
                    <a:pt x="387" y="530"/>
                  </a:cubicBezTo>
                  <a:cubicBezTo>
                    <a:pt x="382" y="530"/>
                    <a:pt x="382" y="530"/>
                    <a:pt x="382" y="530"/>
                  </a:cubicBezTo>
                  <a:cubicBezTo>
                    <a:pt x="387" y="545"/>
                    <a:pt x="387" y="545"/>
                    <a:pt x="387" y="545"/>
                  </a:cubicBezTo>
                  <a:cubicBezTo>
                    <a:pt x="386" y="545"/>
                    <a:pt x="386" y="545"/>
                    <a:pt x="386" y="545"/>
                  </a:cubicBezTo>
                  <a:cubicBezTo>
                    <a:pt x="386" y="550"/>
                    <a:pt x="386" y="550"/>
                    <a:pt x="386" y="550"/>
                  </a:cubicBezTo>
                  <a:cubicBezTo>
                    <a:pt x="380" y="552"/>
                    <a:pt x="380" y="552"/>
                    <a:pt x="380" y="552"/>
                  </a:cubicBezTo>
                  <a:cubicBezTo>
                    <a:pt x="375" y="548"/>
                    <a:pt x="375" y="548"/>
                    <a:pt x="375" y="548"/>
                  </a:cubicBezTo>
                  <a:cubicBezTo>
                    <a:pt x="373" y="545"/>
                    <a:pt x="373" y="545"/>
                    <a:pt x="373" y="545"/>
                  </a:cubicBezTo>
                  <a:cubicBezTo>
                    <a:pt x="364" y="537"/>
                    <a:pt x="364" y="537"/>
                    <a:pt x="364" y="537"/>
                  </a:cubicBezTo>
                  <a:cubicBezTo>
                    <a:pt x="362" y="539"/>
                    <a:pt x="362" y="539"/>
                    <a:pt x="362" y="539"/>
                  </a:cubicBezTo>
                  <a:cubicBezTo>
                    <a:pt x="362" y="545"/>
                    <a:pt x="362" y="545"/>
                    <a:pt x="362" y="545"/>
                  </a:cubicBezTo>
                  <a:cubicBezTo>
                    <a:pt x="358" y="550"/>
                    <a:pt x="358" y="550"/>
                    <a:pt x="358" y="550"/>
                  </a:cubicBezTo>
                  <a:cubicBezTo>
                    <a:pt x="355" y="552"/>
                    <a:pt x="355" y="552"/>
                    <a:pt x="355" y="552"/>
                  </a:cubicBezTo>
                  <a:cubicBezTo>
                    <a:pt x="355" y="559"/>
                    <a:pt x="355" y="559"/>
                    <a:pt x="355" y="559"/>
                  </a:cubicBezTo>
                  <a:cubicBezTo>
                    <a:pt x="358" y="563"/>
                    <a:pt x="358" y="563"/>
                    <a:pt x="358" y="563"/>
                  </a:cubicBezTo>
                  <a:cubicBezTo>
                    <a:pt x="357" y="574"/>
                    <a:pt x="357" y="574"/>
                    <a:pt x="357" y="574"/>
                  </a:cubicBezTo>
                  <a:cubicBezTo>
                    <a:pt x="353" y="579"/>
                    <a:pt x="353" y="579"/>
                    <a:pt x="353" y="579"/>
                  </a:cubicBezTo>
                  <a:cubicBezTo>
                    <a:pt x="360" y="581"/>
                    <a:pt x="360" y="581"/>
                    <a:pt x="360" y="581"/>
                  </a:cubicBezTo>
                  <a:cubicBezTo>
                    <a:pt x="364" y="587"/>
                    <a:pt x="364" y="587"/>
                    <a:pt x="364" y="587"/>
                  </a:cubicBezTo>
                  <a:cubicBezTo>
                    <a:pt x="362" y="590"/>
                    <a:pt x="362" y="590"/>
                    <a:pt x="362" y="590"/>
                  </a:cubicBezTo>
                  <a:cubicBezTo>
                    <a:pt x="367" y="594"/>
                    <a:pt x="367" y="594"/>
                    <a:pt x="367" y="594"/>
                  </a:cubicBezTo>
                  <a:cubicBezTo>
                    <a:pt x="369" y="592"/>
                    <a:pt x="369" y="592"/>
                    <a:pt x="369" y="592"/>
                  </a:cubicBezTo>
                  <a:cubicBezTo>
                    <a:pt x="380" y="594"/>
                    <a:pt x="380" y="594"/>
                    <a:pt x="380" y="594"/>
                  </a:cubicBezTo>
                  <a:cubicBezTo>
                    <a:pt x="389" y="601"/>
                    <a:pt x="389" y="601"/>
                    <a:pt x="389" y="601"/>
                  </a:cubicBezTo>
                  <a:cubicBezTo>
                    <a:pt x="395" y="614"/>
                    <a:pt x="395" y="614"/>
                    <a:pt x="395" y="614"/>
                  </a:cubicBezTo>
                  <a:cubicBezTo>
                    <a:pt x="389" y="614"/>
                    <a:pt x="389" y="614"/>
                    <a:pt x="389" y="614"/>
                  </a:cubicBezTo>
                  <a:cubicBezTo>
                    <a:pt x="389" y="616"/>
                    <a:pt x="389" y="616"/>
                    <a:pt x="389" y="616"/>
                  </a:cubicBezTo>
                  <a:cubicBezTo>
                    <a:pt x="395" y="621"/>
                    <a:pt x="395" y="621"/>
                    <a:pt x="395" y="621"/>
                  </a:cubicBezTo>
                  <a:cubicBezTo>
                    <a:pt x="398" y="619"/>
                    <a:pt x="398" y="619"/>
                    <a:pt x="398" y="619"/>
                  </a:cubicBezTo>
                  <a:cubicBezTo>
                    <a:pt x="404" y="621"/>
                    <a:pt x="404" y="621"/>
                    <a:pt x="404" y="621"/>
                  </a:cubicBezTo>
                  <a:cubicBezTo>
                    <a:pt x="404" y="621"/>
                    <a:pt x="404" y="621"/>
                    <a:pt x="404" y="621"/>
                  </a:cubicBezTo>
                  <a:cubicBezTo>
                    <a:pt x="404" y="621"/>
                    <a:pt x="404" y="621"/>
                    <a:pt x="404" y="621"/>
                  </a:cubicBezTo>
                  <a:cubicBezTo>
                    <a:pt x="404" y="623"/>
                    <a:pt x="404" y="623"/>
                    <a:pt x="404" y="623"/>
                  </a:cubicBezTo>
                  <a:cubicBezTo>
                    <a:pt x="404" y="625"/>
                    <a:pt x="404" y="625"/>
                    <a:pt x="404" y="625"/>
                  </a:cubicBezTo>
                  <a:cubicBezTo>
                    <a:pt x="400" y="625"/>
                    <a:pt x="400" y="625"/>
                    <a:pt x="400" y="625"/>
                  </a:cubicBezTo>
                  <a:cubicBezTo>
                    <a:pt x="402" y="627"/>
                    <a:pt x="402" y="627"/>
                    <a:pt x="402" y="627"/>
                  </a:cubicBezTo>
                  <a:cubicBezTo>
                    <a:pt x="402" y="628"/>
                    <a:pt x="402" y="628"/>
                    <a:pt x="402" y="628"/>
                  </a:cubicBezTo>
                  <a:cubicBezTo>
                    <a:pt x="400" y="628"/>
                    <a:pt x="400" y="628"/>
                    <a:pt x="400" y="628"/>
                  </a:cubicBezTo>
                  <a:cubicBezTo>
                    <a:pt x="402" y="630"/>
                    <a:pt x="402" y="630"/>
                    <a:pt x="402" y="630"/>
                  </a:cubicBezTo>
                  <a:cubicBezTo>
                    <a:pt x="402" y="632"/>
                    <a:pt x="402" y="632"/>
                    <a:pt x="402" y="632"/>
                  </a:cubicBezTo>
                  <a:cubicBezTo>
                    <a:pt x="398" y="632"/>
                    <a:pt x="398" y="632"/>
                    <a:pt x="398" y="632"/>
                  </a:cubicBezTo>
                  <a:cubicBezTo>
                    <a:pt x="398" y="632"/>
                    <a:pt x="398" y="632"/>
                    <a:pt x="398" y="632"/>
                  </a:cubicBezTo>
                  <a:cubicBezTo>
                    <a:pt x="395" y="630"/>
                    <a:pt x="395" y="630"/>
                    <a:pt x="395" y="630"/>
                  </a:cubicBezTo>
                  <a:cubicBezTo>
                    <a:pt x="393" y="632"/>
                    <a:pt x="393" y="632"/>
                    <a:pt x="393" y="632"/>
                  </a:cubicBezTo>
                  <a:cubicBezTo>
                    <a:pt x="397" y="634"/>
                    <a:pt x="397" y="634"/>
                    <a:pt x="397" y="634"/>
                  </a:cubicBezTo>
                  <a:cubicBezTo>
                    <a:pt x="398" y="636"/>
                    <a:pt x="398" y="636"/>
                    <a:pt x="398" y="636"/>
                  </a:cubicBezTo>
                  <a:cubicBezTo>
                    <a:pt x="397" y="638"/>
                    <a:pt x="397" y="638"/>
                    <a:pt x="397" y="638"/>
                  </a:cubicBezTo>
                  <a:cubicBezTo>
                    <a:pt x="395" y="636"/>
                    <a:pt x="395" y="636"/>
                    <a:pt x="395" y="636"/>
                  </a:cubicBezTo>
                  <a:cubicBezTo>
                    <a:pt x="393" y="636"/>
                    <a:pt x="393" y="636"/>
                    <a:pt x="393" y="636"/>
                  </a:cubicBezTo>
                  <a:cubicBezTo>
                    <a:pt x="391" y="636"/>
                    <a:pt x="391" y="636"/>
                    <a:pt x="391" y="636"/>
                  </a:cubicBezTo>
                  <a:cubicBezTo>
                    <a:pt x="389" y="636"/>
                    <a:pt x="389" y="636"/>
                    <a:pt x="389" y="636"/>
                  </a:cubicBezTo>
                  <a:cubicBezTo>
                    <a:pt x="391" y="638"/>
                    <a:pt x="391" y="638"/>
                    <a:pt x="391" y="638"/>
                  </a:cubicBezTo>
                  <a:cubicBezTo>
                    <a:pt x="393" y="638"/>
                    <a:pt x="393" y="638"/>
                    <a:pt x="393" y="638"/>
                  </a:cubicBezTo>
                  <a:cubicBezTo>
                    <a:pt x="389" y="639"/>
                    <a:pt x="389" y="639"/>
                    <a:pt x="389" y="639"/>
                  </a:cubicBezTo>
                  <a:cubicBezTo>
                    <a:pt x="387" y="639"/>
                    <a:pt x="387" y="639"/>
                    <a:pt x="387" y="639"/>
                  </a:cubicBezTo>
                  <a:cubicBezTo>
                    <a:pt x="386" y="641"/>
                    <a:pt x="386" y="641"/>
                    <a:pt x="386" y="641"/>
                  </a:cubicBezTo>
                  <a:cubicBezTo>
                    <a:pt x="384" y="639"/>
                    <a:pt x="384" y="639"/>
                    <a:pt x="384" y="639"/>
                  </a:cubicBezTo>
                  <a:cubicBezTo>
                    <a:pt x="384" y="641"/>
                    <a:pt x="384" y="641"/>
                    <a:pt x="384" y="641"/>
                  </a:cubicBezTo>
                  <a:cubicBezTo>
                    <a:pt x="382" y="643"/>
                    <a:pt x="382" y="643"/>
                    <a:pt x="382" y="643"/>
                  </a:cubicBezTo>
                  <a:cubicBezTo>
                    <a:pt x="380" y="641"/>
                    <a:pt x="380" y="641"/>
                    <a:pt x="380" y="641"/>
                  </a:cubicBezTo>
                  <a:cubicBezTo>
                    <a:pt x="378" y="641"/>
                    <a:pt x="378" y="641"/>
                    <a:pt x="378" y="641"/>
                  </a:cubicBezTo>
                  <a:cubicBezTo>
                    <a:pt x="378" y="643"/>
                    <a:pt x="378" y="643"/>
                    <a:pt x="378" y="643"/>
                  </a:cubicBezTo>
                  <a:cubicBezTo>
                    <a:pt x="377" y="645"/>
                    <a:pt x="377" y="645"/>
                    <a:pt x="377" y="645"/>
                  </a:cubicBezTo>
                  <a:cubicBezTo>
                    <a:pt x="377" y="650"/>
                    <a:pt x="377" y="650"/>
                    <a:pt x="377" y="650"/>
                  </a:cubicBezTo>
                  <a:cubicBezTo>
                    <a:pt x="375" y="650"/>
                    <a:pt x="375" y="650"/>
                    <a:pt x="375" y="650"/>
                  </a:cubicBezTo>
                  <a:cubicBezTo>
                    <a:pt x="373" y="654"/>
                    <a:pt x="373" y="654"/>
                    <a:pt x="373" y="654"/>
                  </a:cubicBezTo>
                  <a:cubicBezTo>
                    <a:pt x="373" y="658"/>
                    <a:pt x="373" y="658"/>
                    <a:pt x="373" y="658"/>
                  </a:cubicBezTo>
                  <a:cubicBezTo>
                    <a:pt x="373" y="663"/>
                    <a:pt x="373" y="663"/>
                    <a:pt x="373" y="663"/>
                  </a:cubicBezTo>
                  <a:cubicBezTo>
                    <a:pt x="371" y="665"/>
                    <a:pt x="371" y="665"/>
                    <a:pt x="371" y="665"/>
                  </a:cubicBezTo>
                  <a:cubicBezTo>
                    <a:pt x="369" y="669"/>
                    <a:pt x="369" y="669"/>
                    <a:pt x="369" y="669"/>
                  </a:cubicBezTo>
                  <a:cubicBezTo>
                    <a:pt x="371" y="674"/>
                    <a:pt x="371" y="674"/>
                    <a:pt x="371" y="674"/>
                  </a:cubicBezTo>
                  <a:cubicBezTo>
                    <a:pt x="373" y="674"/>
                    <a:pt x="373" y="674"/>
                    <a:pt x="373" y="674"/>
                  </a:cubicBezTo>
                  <a:cubicBezTo>
                    <a:pt x="377" y="674"/>
                    <a:pt x="377" y="674"/>
                    <a:pt x="377" y="674"/>
                  </a:cubicBezTo>
                  <a:cubicBezTo>
                    <a:pt x="378" y="676"/>
                    <a:pt x="378" y="676"/>
                    <a:pt x="378" y="676"/>
                  </a:cubicBezTo>
                  <a:cubicBezTo>
                    <a:pt x="382" y="678"/>
                    <a:pt x="382" y="678"/>
                    <a:pt x="382" y="678"/>
                  </a:cubicBezTo>
                  <a:cubicBezTo>
                    <a:pt x="382" y="683"/>
                    <a:pt x="382" y="683"/>
                    <a:pt x="382" y="683"/>
                  </a:cubicBezTo>
                  <a:cubicBezTo>
                    <a:pt x="386" y="685"/>
                    <a:pt x="386" y="685"/>
                    <a:pt x="386" y="685"/>
                  </a:cubicBezTo>
                  <a:cubicBezTo>
                    <a:pt x="387" y="683"/>
                    <a:pt x="387" y="683"/>
                    <a:pt x="387" y="683"/>
                  </a:cubicBezTo>
                  <a:cubicBezTo>
                    <a:pt x="389" y="683"/>
                    <a:pt x="389" y="683"/>
                    <a:pt x="389" y="683"/>
                  </a:cubicBezTo>
                  <a:cubicBezTo>
                    <a:pt x="387" y="687"/>
                    <a:pt x="387" y="687"/>
                    <a:pt x="387" y="687"/>
                  </a:cubicBezTo>
                  <a:cubicBezTo>
                    <a:pt x="387" y="690"/>
                    <a:pt x="387" y="690"/>
                    <a:pt x="387" y="690"/>
                  </a:cubicBezTo>
                  <a:cubicBezTo>
                    <a:pt x="386" y="689"/>
                    <a:pt x="386" y="689"/>
                    <a:pt x="386" y="689"/>
                  </a:cubicBezTo>
                  <a:cubicBezTo>
                    <a:pt x="384" y="692"/>
                    <a:pt x="384" y="692"/>
                    <a:pt x="384" y="692"/>
                  </a:cubicBezTo>
                  <a:cubicBezTo>
                    <a:pt x="387" y="692"/>
                    <a:pt x="387" y="692"/>
                    <a:pt x="387" y="692"/>
                  </a:cubicBezTo>
                  <a:cubicBezTo>
                    <a:pt x="387" y="694"/>
                    <a:pt x="387" y="694"/>
                    <a:pt x="387" y="694"/>
                  </a:cubicBezTo>
                  <a:cubicBezTo>
                    <a:pt x="389" y="696"/>
                    <a:pt x="389" y="696"/>
                    <a:pt x="389" y="696"/>
                  </a:cubicBezTo>
                  <a:cubicBezTo>
                    <a:pt x="389" y="701"/>
                    <a:pt x="389" y="701"/>
                    <a:pt x="389" y="701"/>
                  </a:cubicBezTo>
                  <a:cubicBezTo>
                    <a:pt x="391" y="705"/>
                    <a:pt x="391" y="705"/>
                    <a:pt x="391" y="705"/>
                  </a:cubicBezTo>
                  <a:cubicBezTo>
                    <a:pt x="393" y="709"/>
                    <a:pt x="393" y="709"/>
                    <a:pt x="393" y="709"/>
                  </a:cubicBezTo>
                  <a:cubicBezTo>
                    <a:pt x="398" y="718"/>
                    <a:pt x="398" y="718"/>
                    <a:pt x="398" y="718"/>
                  </a:cubicBezTo>
                  <a:cubicBezTo>
                    <a:pt x="408" y="725"/>
                    <a:pt x="408" y="725"/>
                    <a:pt x="408" y="725"/>
                  </a:cubicBezTo>
                  <a:cubicBezTo>
                    <a:pt x="409" y="725"/>
                    <a:pt x="409" y="725"/>
                    <a:pt x="409" y="725"/>
                  </a:cubicBezTo>
                  <a:cubicBezTo>
                    <a:pt x="409" y="727"/>
                    <a:pt x="409" y="727"/>
                    <a:pt x="409" y="727"/>
                  </a:cubicBezTo>
                  <a:cubicBezTo>
                    <a:pt x="404" y="732"/>
                    <a:pt x="404" y="732"/>
                    <a:pt x="404" y="732"/>
                  </a:cubicBezTo>
                  <a:cubicBezTo>
                    <a:pt x="398" y="736"/>
                    <a:pt x="398" y="736"/>
                    <a:pt x="398" y="736"/>
                  </a:cubicBezTo>
                  <a:cubicBezTo>
                    <a:pt x="397" y="738"/>
                    <a:pt x="397" y="738"/>
                    <a:pt x="397" y="738"/>
                  </a:cubicBezTo>
                  <a:cubicBezTo>
                    <a:pt x="389" y="738"/>
                    <a:pt x="389" y="738"/>
                    <a:pt x="389" y="738"/>
                  </a:cubicBezTo>
                  <a:cubicBezTo>
                    <a:pt x="387" y="734"/>
                    <a:pt x="387" y="734"/>
                    <a:pt x="387" y="734"/>
                  </a:cubicBezTo>
                  <a:cubicBezTo>
                    <a:pt x="378" y="727"/>
                    <a:pt x="378" y="727"/>
                    <a:pt x="378" y="727"/>
                  </a:cubicBezTo>
                  <a:cubicBezTo>
                    <a:pt x="375" y="727"/>
                    <a:pt x="375" y="727"/>
                    <a:pt x="375" y="727"/>
                  </a:cubicBezTo>
                  <a:cubicBezTo>
                    <a:pt x="373" y="732"/>
                    <a:pt x="373" y="732"/>
                    <a:pt x="373" y="732"/>
                  </a:cubicBezTo>
                  <a:cubicBezTo>
                    <a:pt x="377" y="736"/>
                    <a:pt x="377" y="736"/>
                    <a:pt x="377" y="736"/>
                  </a:cubicBezTo>
                  <a:cubicBezTo>
                    <a:pt x="380" y="740"/>
                    <a:pt x="380" y="740"/>
                    <a:pt x="380" y="740"/>
                  </a:cubicBezTo>
                  <a:cubicBezTo>
                    <a:pt x="378" y="745"/>
                    <a:pt x="378" y="745"/>
                    <a:pt x="378" y="745"/>
                  </a:cubicBezTo>
                  <a:cubicBezTo>
                    <a:pt x="373" y="741"/>
                    <a:pt x="373" y="741"/>
                    <a:pt x="373" y="741"/>
                  </a:cubicBezTo>
                  <a:cubicBezTo>
                    <a:pt x="366" y="741"/>
                    <a:pt x="366" y="741"/>
                    <a:pt x="366" y="741"/>
                  </a:cubicBezTo>
                  <a:cubicBezTo>
                    <a:pt x="357" y="736"/>
                    <a:pt x="357" y="736"/>
                    <a:pt x="357" y="736"/>
                  </a:cubicBezTo>
                  <a:cubicBezTo>
                    <a:pt x="349" y="740"/>
                    <a:pt x="349" y="740"/>
                    <a:pt x="349" y="740"/>
                  </a:cubicBezTo>
                  <a:cubicBezTo>
                    <a:pt x="349" y="741"/>
                    <a:pt x="349" y="741"/>
                    <a:pt x="349" y="741"/>
                  </a:cubicBezTo>
                  <a:cubicBezTo>
                    <a:pt x="353" y="745"/>
                    <a:pt x="353" y="745"/>
                    <a:pt x="353" y="745"/>
                  </a:cubicBezTo>
                  <a:cubicBezTo>
                    <a:pt x="349" y="741"/>
                    <a:pt x="349" y="741"/>
                    <a:pt x="349" y="741"/>
                  </a:cubicBezTo>
                  <a:cubicBezTo>
                    <a:pt x="338" y="741"/>
                    <a:pt x="338" y="741"/>
                    <a:pt x="338" y="741"/>
                  </a:cubicBezTo>
                  <a:cubicBezTo>
                    <a:pt x="336" y="741"/>
                    <a:pt x="336" y="741"/>
                    <a:pt x="336" y="741"/>
                  </a:cubicBezTo>
                  <a:cubicBezTo>
                    <a:pt x="329" y="743"/>
                    <a:pt x="329" y="743"/>
                    <a:pt x="329" y="743"/>
                  </a:cubicBezTo>
                  <a:cubicBezTo>
                    <a:pt x="324" y="745"/>
                    <a:pt x="324" y="745"/>
                    <a:pt x="324" y="745"/>
                  </a:cubicBezTo>
                  <a:cubicBezTo>
                    <a:pt x="324" y="743"/>
                    <a:pt x="324" y="743"/>
                    <a:pt x="324" y="743"/>
                  </a:cubicBezTo>
                  <a:cubicBezTo>
                    <a:pt x="320" y="743"/>
                    <a:pt x="320" y="743"/>
                    <a:pt x="320" y="743"/>
                  </a:cubicBezTo>
                  <a:cubicBezTo>
                    <a:pt x="313" y="738"/>
                    <a:pt x="313" y="738"/>
                    <a:pt x="313" y="738"/>
                  </a:cubicBezTo>
                  <a:cubicBezTo>
                    <a:pt x="309" y="736"/>
                    <a:pt x="309" y="736"/>
                    <a:pt x="309" y="736"/>
                  </a:cubicBezTo>
                  <a:cubicBezTo>
                    <a:pt x="307" y="738"/>
                    <a:pt x="307" y="738"/>
                    <a:pt x="307" y="738"/>
                  </a:cubicBezTo>
                  <a:cubicBezTo>
                    <a:pt x="306" y="740"/>
                    <a:pt x="306" y="740"/>
                    <a:pt x="306" y="740"/>
                  </a:cubicBezTo>
                  <a:cubicBezTo>
                    <a:pt x="300" y="738"/>
                    <a:pt x="300" y="738"/>
                    <a:pt x="300" y="738"/>
                  </a:cubicBezTo>
                  <a:cubicBezTo>
                    <a:pt x="300" y="740"/>
                    <a:pt x="300" y="740"/>
                    <a:pt x="300" y="740"/>
                  </a:cubicBezTo>
                  <a:cubicBezTo>
                    <a:pt x="298" y="738"/>
                    <a:pt x="298" y="738"/>
                    <a:pt x="298" y="738"/>
                  </a:cubicBezTo>
                  <a:cubicBezTo>
                    <a:pt x="296" y="736"/>
                    <a:pt x="296" y="736"/>
                    <a:pt x="296" y="736"/>
                  </a:cubicBezTo>
                  <a:cubicBezTo>
                    <a:pt x="295" y="736"/>
                    <a:pt x="295" y="736"/>
                    <a:pt x="295" y="736"/>
                  </a:cubicBezTo>
                  <a:cubicBezTo>
                    <a:pt x="295" y="736"/>
                    <a:pt x="295" y="736"/>
                    <a:pt x="295" y="736"/>
                  </a:cubicBezTo>
                  <a:cubicBezTo>
                    <a:pt x="295" y="734"/>
                    <a:pt x="295" y="734"/>
                    <a:pt x="295" y="734"/>
                  </a:cubicBezTo>
                  <a:cubicBezTo>
                    <a:pt x="295" y="732"/>
                    <a:pt x="295" y="732"/>
                    <a:pt x="295" y="732"/>
                  </a:cubicBezTo>
                  <a:cubicBezTo>
                    <a:pt x="295" y="729"/>
                    <a:pt x="295" y="729"/>
                    <a:pt x="295" y="729"/>
                  </a:cubicBezTo>
                  <a:cubicBezTo>
                    <a:pt x="293" y="723"/>
                    <a:pt x="293" y="723"/>
                    <a:pt x="293" y="723"/>
                  </a:cubicBezTo>
                  <a:cubicBezTo>
                    <a:pt x="291" y="718"/>
                    <a:pt x="291" y="718"/>
                    <a:pt x="291" y="718"/>
                  </a:cubicBezTo>
                  <a:cubicBezTo>
                    <a:pt x="289" y="714"/>
                    <a:pt x="289" y="714"/>
                    <a:pt x="289" y="714"/>
                  </a:cubicBezTo>
                  <a:cubicBezTo>
                    <a:pt x="285" y="709"/>
                    <a:pt x="285" y="709"/>
                    <a:pt x="285" y="709"/>
                  </a:cubicBezTo>
                  <a:cubicBezTo>
                    <a:pt x="282" y="709"/>
                    <a:pt x="282" y="709"/>
                    <a:pt x="282" y="709"/>
                  </a:cubicBezTo>
                  <a:cubicBezTo>
                    <a:pt x="282" y="705"/>
                    <a:pt x="282" y="705"/>
                    <a:pt x="282" y="705"/>
                  </a:cubicBezTo>
                  <a:cubicBezTo>
                    <a:pt x="276" y="701"/>
                    <a:pt x="276" y="701"/>
                    <a:pt x="276" y="701"/>
                  </a:cubicBezTo>
                  <a:cubicBezTo>
                    <a:pt x="275" y="703"/>
                    <a:pt x="275" y="703"/>
                    <a:pt x="275" y="703"/>
                  </a:cubicBezTo>
                  <a:cubicBezTo>
                    <a:pt x="273" y="703"/>
                    <a:pt x="273" y="703"/>
                    <a:pt x="273" y="703"/>
                  </a:cubicBezTo>
                  <a:cubicBezTo>
                    <a:pt x="269" y="701"/>
                    <a:pt x="269" y="701"/>
                    <a:pt x="269" y="701"/>
                  </a:cubicBezTo>
                  <a:cubicBezTo>
                    <a:pt x="267" y="698"/>
                    <a:pt x="267" y="698"/>
                    <a:pt x="267" y="698"/>
                  </a:cubicBezTo>
                  <a:cubicBezTo>
                    <a:pt x="265" y="698"/>
                    <a:pt x="265" y="698"/>
                    <a:pt x="265" y="698"/>
                  </a:cubicBezTo>
                  <a:cubicBezTo>
                    <a:pt x="262" y="696"/>
                    <a:pt x="262" y="696"/>
                    <a:pt x="262" y="696"/>
                  </a:cubicBezTo>
                  <a:cubicBezTo>
                    <a:pt x="262" y="694"/>
                    <a:pt x="262" y="694"/>
                    <a:pt x="262" y="694"/>
                  </a:cubicBezTo>
                  <a:cubicBezTo>
                    <a:pt x="258" y="694"/>
                    <a:pt x="258" y="694"/>
                    <a:pt x="258" y="694"/>
                  </a:cubicBezTo>
                  <a:cubicBezTo>
                    <a:pt x="256" y="692"/>
                    <a:pt x="256" y="692"/>
                    <a:pt x="256" y="692"/>
                  </a:cubicBezTo>
                  <a:cubicBezTo>
                    <a:pt x="255" y="690"/>
                    <a:pt x="255" y="690"/>
                    <a:pt x="255" y="690"/>
                  </a:cubicBezTo>
                  <a:cubicBezTo>
                    <a:pt x="251" y="689"/>
                    <a:pt x="251" y="689"/>
                    <a:pt x="251" y="689"/>
                  </a:cubicBezTo>
                  <a:cubicBezTo>
                    <a:pt x="249" y="685"/>
                    <a:pt x="249" y="685"/>
                    <a:pt x="249" y="685"/>
                  </a:cubicBezTo>
                  <a:cubicBezTo>
                    <a:pt x="238" y="676"/>
                    <a:pt x="238" y="676"/>
                    <a:pt x="238" y="676"/>
                  </a:cubicBezTo>
                  <a:cubicBezTo>
                    <a:pt x="234" y="676"/>
                    <a:pt x="234" y="676"/>
                    <a:pt x="234" y="676"/>
                  </a:cubicBezTo>
                  <a:cubicBezTo>
                    <a:pt x="227" y="670"/>
                    <a:pt x="227" y="670"/>
                    <a:pt x="227" y="670"/>
                  </a:cubicBezTo>
                  <a:cubicBezTo>
                    <a:pt x="220" y="672"/>
                    <a:pt x="220" y="672"/>
                    <a:pt x="220" y="672"/>
                  </a:cubicBezTo>
                  <a:cubicBezTo>
                    <a:pt x="216" y="669"/>
                    <a:pt x="216" y="669"/>
                    <a:pt x="216" y="669"/>
                  </a:cubicBezTo>
                  <a:cubicBezTo>
                    <a:pt x="216" y="665"/>
                    <a:pt x="216" y="665"/>
                    <a:pt x="216" y="665"/>
                  </a:cubicBezTo>
                  <a:cubicBezTo>
                    <a:pt x="213" y="661"/>
                    <a:pt x="213" y="661"/>
                    <a:pt x="213" y="661"/>
                  </a:cubicBezTo>
                  <a:cubicBezTo>
                    <a:pt x="209" y="661"/>
                    <a:pt x="209" y="661"/>
                    <a:pt x="209" y="661"/>
                  </a:cubicBezTo>
                  <a:cubicBezTo>
                    <a:pt x="205" y="661"/>
                    <a:pt x="205" y="661"/>
                    <a:pt x="205" y="661"/>
                  </a:cubicBezTo>
                  <a:cubicBezTo>
                    <a:pt x="209" y="659"/>
                    <a:pt x="209" y="659"/>
                    <a:pt x="209" y="659"/>
                  </a:cubicBezTo>
                  <a:cubicBezTo>
                    <a:pt x="211" y="658"/>
                    <a:pt x="211" y="658"/>
                    <a:pt x="211" y="658"/>
                  </a:cubicBezTo>
                  <a:cubicBezTo>
                    <a:pt x="209" y="656"/>
                    <a:pt x="209" y="656"/>
                    <a:pt x="209" y="656"/>
                  </a:cubicBezTo>
                  <a:cubicBezTo>
                    <a:pt x="209" y="654"/>
                    <a:pt x="209" y="654"/>
                    <a:pt x="209" y="654"/>
                  </a:cubicBezTo>
                  <a:cubicBezTo>
                    <a:pt x="213" y="654"/>
                    <a:pt x="213" y="654"/>
                    <a:pt x="213" y="654"/>
                  </a:cubicBezTo>
                  <a:cubicBezTo>
                    <a:pt x="216" y="656"/>
                    <a:pt x="216" y="656"/>
                    <a:pt x="216" y="656"/>
                  </a:cubicBezTo>
                  <a:cubicBezTo>
                    <a:pt x="216" y="656"/>
                    <a:pt x="216" y="656"/>
                    <a:pt x="216" y="656"/>
                  </a:cubicBezTo>
                  <a:cubicBezTo>
                    <a:pt x="220" y="656"/>
                    <a:pt x="220" y="656"/>
                    <a:pt x="220" y="656"/>
                  </a:cubicBezTo>
                  <a:cubicBezTo>
                    <a:pt x="222" y="652"/>
                    <a:pt x="222" y="652"/>
                    <a:pt x="222" y="652"/>
                  </a:cubicBezTo>
                  <a:cubicBezTo>
                    <a:pt x="220" y="650"/>
                    <a:pt x="220" y="650"/>
                    <a:pt x="220" y="650"/>
                  </a:cubicBezTo>
                  <a:cubicBezTo>
                    <a:pt x="220" y="647"/>
                    <a:pt x="220" y="647"/>
                    <a:pt x="220" y="647"/>
                  </a:cubicBezTo>
                  <a:cubicBezTo>
                    <a:pt x="224" y="643"/>
                    <a:pt x="224" y="643"/>
                    <a:pt x="224" y="643"/>
                  </a:cubicBezTo>
                  <a:cubicBezTo>
                    <a:pt x="224" y="641"/>
                    <a:pt x="224" y="641"/>
                    <a:pt x="224" y="641"/>
                  </a:cubicBezTo>
                  <a:cubicBezTo>
                    <a:pt x="225" y="641"/>
                    <a:pt x="225" y="641"/>
                    <a:pt x="225" y="641"/>
                  </a:cubicBezTo>
                  <a:cubicBezTo>
                    <a:pt x="227" y="641"/>
                    <a:pt x="227" y="641"/>
                    <a:pt x="227" y="641"/>
                  </a:cubicBezTo>
                  <a:cubicBezTo>
                    <a:pt x="229" y="639"/>
                    <a:pt x="229" y="639"/>
                    <a:pt x="229" y="639"/>
                  </a:cubicBezTo>
                  <a:cubicBezTo>
                    <a:pt x="231" y="639"/>
                    <a:pt x="231" y="639"/>
                    <a:pt x="231" y="639"/>
                  </a:cubicBezTo>
                  <a:cubicBezTo>
                    <a:pt x="231" y="638"/>
                    <a:pt x="231" y="638"/>
                    <a:pt x="231" y="638"/>
                  </a:cubicBezTo>
                  <a:cubicBezTo>
                    <a:pt x="227" y="636"/>
                    <a:pt x="227" y="636"/>
                    <a:pt x="227" y="636"/>
                  </a:cubicBezTo>
                  <a:cubicBezTo>
                    <a:pt x="225" y="634"/>
                    <a:pt x="225" y="634"/>
                    <a:pt x="225" y="634"/>
                  </a:cubicBezTo>
                  <a:cubicBezTo>
                    <a:pt x="224" y="636"/>
                    <a:pt x="224" y="636"/>
                    <a:pt x="224" y="636"/>
                  </a:cubicBezTo>
                  <a:cubicBezTo>
                    <a:pt x="222" y="634"/>
                    <a:pt x="222" y="634"/>
                    <a:pt x="222" y="634"/>
                  </a:cubicBezTo>
                  <a:cubicBezTo>
                    <a:pt x="220" y="628"/>
                    <a:pt x="220" y="628"/>
                    <a:pt x="220" y="628"/>
                  </a:cubicBezTo>
                  <a:cubicBezTo>
                    <a:pt x="225" y="627"/>
                    <a:pt x="225" y="627"/>
                    <a:pt x="225" y="627"/>
                  </a:cubicBezTo>
                  <a:cubicBezTo>
                    <a:pt x="229" y="628"/>
                    <a:pt x="229" y="628"/>
                    <a:pt x="229" y="628"/>
                  </a:cubicBezTo>
                  <a:cubicBezTo>
                    <a:pt x="231" y="627"/>
                    <a:pt x="231" y="627"/>
                    <a:pt x="231" y="627"/>
                  </a:cubicBezTo>
                  <a:cubicBezTo>
                    <a:pt x="229" y="627"/>
                    <a:pt x="229" y="627"/>
                    <a:pt x="229" y="627"/>
                  </a:cubicBezTo>
                  <a:cubicBezTo>
                    <a:pt x="227" y="625"/>
                    <a:pt x="227" y="625"/>
                    <a:pt x="227" y="625"/>
                  </a:cubicBezTo>
                  <a:cubicBezTo>
                    <a:pt x="231" y="621"/>
                    <a:pt x="231" y="621"/>
                    <a:pt x="231" y="621"/>
                  </a:cubicBezTo>
                  <a:cubicBezTo>
                    <a:pt x="240" y="617"/>
                    <a:pt x="240" y="617"/>
                    <a:pt x="240" y="617"/>
                  </a:cubicBezTo>
                  <a:cubicBezTo>
                    <a:pt x="242" y="614"/>
                    <a:pt x="242" y="614"/>
                    <a:pt x="242" y="614"/>
                  </a:cubicBezTo>
                  <a:cubicBezTo>
                    <a:pt x="240" y="612"/>
                    <a:pt x="240" y="612"/>
                    <a:pt x="240" y="612"/>
                  </a:cubicBezTo>
                  <a:cubicBezTo>
                    <a:pt x="236" y="612"/>
                    <a:pt x="236" y="612"/>
                    <a:pt x="236" y="612"/>
                  </a:cubicBezTo>
                  <a:cubicBezTo>
                    <a:pt x="233" y="616"/>
                    <a:pt x="233" y="616"/>
                    <a:pt x="233" y="616"/>
                  </a:cubicBezTo>
                  <a:cubicBezTo>
                    <a:pt x="229" y="616"/>
                    <a:pt x="229" y="616"/>
                    <a:pt x="229" y="616"/>
                  </a:cubicBezTo>
                  <a:cubicBezTo>
                    <a:pt x="227" y="616"/>
                    <a:pt x="227" y="616"/>
                    <a:pt x="227" y="616"/>
                  </a:cubicBezTo>
                  <a:cubicBezTo>
                    <a:pt x="227" y="616"/>
                    <a:pt x="227" y="616"/>
                    <a:pt x="227" y="616"/>
                  </a:cubicBezTo>
                  <a:cubicBezTo>
                    <a:pt x="229" y="607"/>
                    <a:pt x="229" y="607"/>
                    <a:pt x="229" y="607"/>
                  </a:cubicBezTo>
                  <a:cubicBezTo>
                    <a:pt x="231" y="607"/>
                    <a:pt x="231" y="607"/>
                    <a:pt x="231" y="607"/>
                  </a:cubicBezTo>
                  <a:cubicBezTo>
                    <a:pt x="234" y="599"/>
                    <a:pt x="234" y="599"/>
                    <a:pt x="234" y="599"/>
                  </a:cubicBezTo>
                  <a:cubicBezTo>
                    <a:pt x="244" y="599"/>
                    <a:pt x="244" y="599"/>
                    <a:pt x="244" y="599"/>
                  </a:cubicBezTo>
                  <a:cubicBezTo>
                    <a:pt x="245" y="597"/>
                    <a:pt x="245" y="597"/>
                    <a:pt x="245" y="597"/>
                  </a:cubicBezTo>
                  <a:cubicBezTo>
                    <a:pt x="245" y="594"/>
                    <a:pt x="245" y="594"/>
                    <a:pt x="245" y="594"/>
                  </a:cubicBezTo>
                  <a:cubicBezTo>
                    <a:pt x="247" y="587"/>
                    <a:pt x="247" y="587"/>
                    <a:pt x="247" y="587"/>
                  </a:cubicBezTo>
                  <a:cubicBezTo>
                    <a:pt x="247" y="581"/>
                    <a:pt x="247" y="581"/>
                    <a:pt x="247" y="581"/>
                  </a:cubicBezTo>
                  <a:cubicBezTo>
                    <a:pt x="242" y="577"/>
                    <a:pt x="242" y="577"/>
                    <a:pt x="242" y="577"/>
                  </a:cubicBezTo>
                  <a:cubicBezTo>
                    <a:pt x="244" y="570"/>
                    <a:pt x="244" y="570"/>
                    <a:pt x="244" y="570"/>
                  </a:cubicBezTo>
                  <a:cubicBezTo>
                    <a:pt x="247" y="570"/>
                    <a:pt x="247" y="570"/>
                    <a:pt x="247" y="570"/>
                  </a:cubicBezTo>
                  <a:cubicBezTo>
                    <a:pt x="249" y="566"/>
                    <a:pt x="249" y="566"/>
                    <a:pt x="249" y="566"/>
                  </a:cubicBezTo>
                  <a:cubicBezTo>
                    <a:pt x="249" y="561"/>
                    <a:pt x="249" y="561"/>
                    <a:pt x="249" y="561"/>
                  </a:cubicBezTo>
                  <a:cubicBezTo>
                    <a:pt x="247" y="561"/>
                    <a:pt x="247" y="561"/>
                    <a:pt x="247" y="561"/>
                  </a:cubicBezTo>
                  <a:cubicBezTo>
                    <a:pt x="245" y="556"/>
                    <a:pt x="245" y="556"/>
                    <a:pt x="245" y="556"/>
                  </a:cubicBezTo>
                  <a:cubicBezTo>
                    <a:pt x="244" y="559"/>
                    <a:pt x="244" y="559"/>
                    <a:pt x="244" y="559"/>
                  </a:cubicBezTo>
                  <a:cubicBezTo>
                    <a:pt x="238" y="557"/>
                    <a:pt x="238" y="557"/>
                    <a:pt x="238" y="557"/>
                  </a:cubicBezTo>
                  <a:cubicBezTo>
                    <a:pt x="233" y="556"/>
                    <a:pt x="233" y="556"/>
                    <a:pt x="233" y="556"/>
                  </a:cubicBezTo>
                  <a:cubicBezTo>
                    <a:pt x="229" y="556"/>
                    <a:pt x="229" y="556"/>
                    <a:pt x="229" y="556"/>
                  </a:cubicBezTo>
                  <a:cubicBezTo>
                    <a:pt x="225" y="554"/>
                    <a:pt x="225" y="554"/>
                    <a:pt x="225" y="554"/>
                  </a:cubicBezTo>
                  <a:cubicBezTo>
                    <a:pt x="222" y="554"/>
                    <a:pt x="222" y="554"/>
                    <a:pt x="222" y="554"/>
                  </a:cubicBezTo>
                  <a:cubicBezTo>
                    <a:pt x="216" y="552"/>
                    <a:pt x="216" y="552"/>
                    <a:pt x="216" y="552"/>
                  </a:cubicBezTo>
                  <a:cubicBezTo>
                    <a:pt x="213" y="554"/>
                    <a:pt x="213" y="554"/>
                    <a:pt x="213" y="554"/>
                  </a:cubicBezTo>
                  <a:cubicBezTo>
                    <a:pt x="211" y="552"/>
                    <a:pt x="211" y="552"/>
                    <a:pt x="211" y="552"/>
                  </a:cubicBezTo>
                  <a:cubicBezTo>
                    <a:pt x="205" y="548"/>
                    <a:pt x="205" y="548"/>
                    <a:pt x="205" y="548"/>
                  </a:cubicBezTo>
                  <a:cubicBezTo>
                    <a:pt x="202" y="539"/>
                    <a:pt x="202" y="539"/>
                    <a:pt x="202" y="539"/>
                  </a:cubicBezTo>
                  <a:cubicBezTo>
                    <a:pt x="200" y="539"/>
                    <a:pt x="200" y="539"/>
                    <a:pt x="200" y="539"/>
                  </a:cubicBezTo>
                  <a:cubicBezTo>
                    <a:pt x="194" y="545"/>
                    <a:pt x="194" y="545"/>
                    <a:pt x="194" y="545"/>
                  </a:cubicBezTo>
                  <a:cubicBezTo>
                    <a:pt x="191" y="543"/>
                    <a:pt x="191" y="543"/>
                    <a:pt x="191" y="543"/>
                  </a:cubicBezTo>
                  <a:cubicBezTo>
                    <a:pt x="185" y="545"/>
                    <a:pt x="185" y="545"/>
                    <a:pt x="185" y="545"/>
                  </a:cubicBezTo>
                  <a:cubicBezTo>
                    <a:pt x="182" y="543"/>
                    <a:pt x="182" y="543"/>
                    <a:pt x="182" y="543"/>
                  </a:cubicBezTo>
                  <a:cubicBezTo>
                    <a:pt x="178" y="545"/>
                    <a:pt x="178" y="545"/>
                    <a:pt x="178" y="545"/>
                  </a:cubicBezTo>
                  <a:cubicBezTo>
                    <a:pt x="171" y="537"/>
                    <a:pt x="171" y="537"/>
                    <a:pt x="171" y="537"/>
                  </a:cubicBezTo>
                  <a:cubicBezTo>
                    <a:pt x="169" y="532"/>
                    <a:pt x="169" y="532"/>
                    <a:pt x="169" y="532"/>
                  </a:cubicBezTo>
                  <a:cubicBezTo>
                    <a:pt x="169" y="528"/>
                    <a:pt x="169" y="528"/>
                    <a:pt x="169" y="528"/>
                  </a:cubicBezTo>
                  <a:cubicBezTo>
                    <a:pt x="165" y="526"/>
                    <a:pt x="165" y="526"/>
                    <a:pt x="165" y="526"/>
                  </a:cubicBezTo>
                  <a:cubicBezTo>
                    <a:pt x="165" y="523"/>
                    <a:pt x="165" y="523"/>
                    <a:pt x="165" y="523"/>
                  </a:cubicBezTo>
                  <a:cubicBezTo>
                    <a:pt x="162" y="521"/>
                    <a:pt x="162" y="521"/>
                    <a:pt x="162" y="521"/>
                  </a:cubicBezTo>
                  <a:cubicBezTo>
                    <a:pt x="153" y="523"/>
                    <a:pt x="153" y="523"/>
                    <a:pt x="153" y="523"/>
                  </a:cubicBezTo>
                  <a:cubicBezTo>
                    <a:pt x="147" y="515"/>
                    <a:pt x="147" y="515"/>
                    <a:pt x="147" y="515"/>
                  </a:cubicBezTo>
                  <a:cubicBezTo>
                    <a:pt x="149" y="512"/>
                    <a:pt x="149" y="512"/>
                    <a:pt x="149" y="512"/>
                  </a:cubicBezTo>
                  <a:cubicBezTo>
                    <a:pt x="145" y="508"/>
                    <a:pt x="145" y="508"/>
                    <a:pt x="145" y="508"/>
                  </a:cubicBezTo>
                  <a:cubicBezTo>
                    <a:pt x="143" y="501"/>
                    <a:pt x="143" y="501"/>
                    <a:pt x="143" y="501"/>
                  </a:cubicBezTo>
                  <a:cubicBezTo>
                    <a:pt x="138" y="501"/>
                    <a:pt x="138" y="501"/>
                    <a:pt x="138" y="501"/>
                  </a:cubicBezTo>
                  <a:cubicBezTo>
                    <a:pt x="134" y="503"/>
                    <a:pt x="134" y="503"/>
                    <a:pt x="134" y="503"/>
                  </a:cubicBezTo>
                  <a:cubicBezTo>
                    <a:pt x="125" y="503"/>
                    <a:pt x="125" y="503"/>
                    <a:pt x="125" y="503"/>
                  </a:cubicBezTo>
                  <a:cubicBezTo>
                    <a:pt x="118" y="501"/>
                    <a:pt x="118" y="501"/>
                    <a:pt x="118" y="501"/>
                  </a:cubicBezTo>
                  <a:cubicBezTo>
                    <a:pt x="114" y="503"/>
                    <a:pt x="114" y="503"/>
                    <a:pt x="114" y="503"/>
                  </a:cubicBezTo>
                  <a:cubicBezTo>
                    <a:pt x="114" y="506"/>
                    <a:pt x="114" y="506"/>
                    <a:pt x="114" y="506"/>
                  </a:cubicBezTo>
                  <a:cubicBezTo>
                    <a:pt x="111" y="506"/>
                    <a:pt x="111" y="506"/>
                    <a:pt x="111" y="506"/>
                  </a:cubicBezTo>
                  <a:cubicBezTo>
                    <a:pt x="109" y="506"/>
                    <a:pt x="109" y="506"/>
                    <a:pt x="109" y="506"/>
                  </a:cubicBezTo>
                  <a:cubicBezTo>
                    <a:pt x="109" y="503"/>
                    <a:pt x="109" y="503"/>
                    <a:pt x="109" y="503"/>
                  </a:cubicBezTo>
                  <a:cubicBezTo>
                    <a:pt x="103" y="497"/>
                    <a:pt x="103" y="497"/>
                    <a:pt x="103" y="497"/>
                  </a:cubicBezTo>
                  <a:cubicBezTo>
                    <a:pt x="105" y="494"/>
                    <a:pt x="105" y="494"/>
                    <a:pt x="105" y="494"/>
                  </a:cubicBezTo>
                  <a:cubicBezTo>
                    <a:pt x="102" y="488"/>
                    <a:pt x="102" y="488"/>
                    <a:pt x="102" y="488"/>
                  </a:cubicBezTo>
                  <a:cubicBezTo>
                    <a:pt x="102" y="483"/>
                    <a:pt x="102" y="483"/>
                    <a:pt x="102" y="483"/>
                  </a:cubicBezTo>
                  <a:cubicBezTo>
                    <a:pt x="102" y="481"/>
                    <a:pt x="102" y="481"/>
                    <a:pt x="102" y="481"/>
                  </a:cubicBezTo>
                  <a:cubicBezTo>
                    <a:pt x="107" y="485"/>
                    <a:pt x="107" y="485"/>
                    <a:pt x="107" y="485"/>
                  </a:cubicBezTo>
                  <a:cubicBezTo>
                    <a:pt x="114" y="483"/>
                    <a:pt x="114" y="483"/>
                    <a:pt x="114" y="483"/>
                  </a:cubicBezTo>
                  <a:cubicBezTo>
                    <a:pt x="118" y="477"/>
                    <a:pt x="118" y="477"/>
                    <a:pt x="118" y="477"/>
                  </a:cubicBezTo>
                  <a:cubicBezTo>
                    <a:pt x="120" y="475"/>
                    <a:pt x="120" y="475"/>
                    <a:pt x="120" y="475"/>
                  </a:cubicBezTo>
                  <a:cubicBezTo>
                    <a:pt x="116" y="472"/>
                    <a:pt x="116" y="472"/>
                    <a:pt x="116" y="472"/>
                  </a:cubicBezTo>
                  <a:cubicBezTo>
                    <a:pt x="116" y="468"/>
                    <a:pt x="116" y="468"/>
                    <a:pt x="116" y="468"/>
                  </a:cubicBezTo>
                  <a:cubicBezTo>
                    <a:pt x="109" y="463"/>
                    <a:pt x="109" y="463"/>
                    <a:pt x="109" y="463"/>
                  </a:cubicBezTo>
                  <a:cubicBezTo>
                    <a:pt x="103" y="463"/>
                    <a:pt x="103" y="463"/>
                    <a:pt x="103" y="463"/>
                  </a:cubicBezTo>
                  <a:cubicBezTo>
                    <a:pt x="102" y="455"/>
                    <a:pt x="102" y="455"/>
                    <a:pt x="102" y="455"/>
                  </a:cubicBezTo>
                  <a:cubicBezTo>
                    <a:pt x="98" y="454"/>
                    <a:pt x="98" y="454"/>
                    <a:pt x="98" y="454"/>
                  </a:cubicBezTo>
                  <a:cubicBezTo>
                    <a:pt x="94" y="448"/>
                    <a:pt x="94" y="448"/>
                    <a:pt x="94" y="448"/>
                  </a:cubicBezTo>
                  <a:cubicBezTo>
                    <a:pt x="92" y="443"/>
                    <a:pt x="92" y="443"/>
                    <a:pt x="92" y="443"/>
                  </a:cubicBezTo>
                  <a:cubicBezTo>
                    <a:pt x="89" y="439"/>
                    <a:pt x="89" y="439"/>
                    <a:pt x="89" y="439"/>
                  </a:cubicBezTo>
                  <a:cubicBezTo>
                    <a:pt x="89" y="434"/>
                    <a:pt x="89" y="434"/>
                    <a:pt x="89" y="434"/>
                  </a:cubicBezTo>
                  <a:cubicBezTo>
                    <a:pt x="85" y="430"/>
                    <a:pt x="85" y="430"/>
                    <a:pt x="85" y="430"/>
                  </a:cubicBezTo>
                  <a:cubicBezTo>
                    <a:pt x="87" y="424"/>
                    <a:pt x="87" y="424"/>
                    <a:pt x="87" y="424"/>
                  </a:cubicBezTo>
                  <a:cubicBezTo>
                    <a:pt x="85" y="421"/>
                    <a:pt x="85" y="421"/>
                    <a:pt x="85" y="421"/>
                  </a:cubicBezTo>
                  <a:cubicBezTo>
                    <a:pt x="78" y="419"/>
                    <a:pt x="78" y="419"/>
                    <a:pt x="78" y="419"/>
                  </a:cubicBezTo>
                  <a:cubicBezTo>
                    <a:pt x="76" y="419"/>
                    <a:pt x="76" y="419"/>
                    <a:pt x="76" y="419"/>
                  </a:cubicBezTo>
                  <a:cubicBezTo>
                    <a:pt x="74" y="415"/>
                    <a:pt x="74" y="415"/>
                    <a:pt x="74" y="415"/>
                  </a:cubicBezTo>
                  <a:cubicBezTo>
                    <a:pt x="69" y="417"/>
                    <a:pt x="69" y="417"/>
                    <a:pt x="69" y="417"/>
                  </a:cubicBezTo>
                  <a:cubicBezTo>
                    <a:pt x="63" y="421"/>
                    <a:pt x="63" y="421"/>
                    <a:pt x="63" y="421"/>
                  </a:cubicBezTo>
                  <a:cubicBezTo>
                    <a:pt x="61" y="415"/>
                    <a:pt x="61" y="415"/>
                    <a:pt x="61" y="415"/>
                  </a:cubicBezTo>
                  <a:cubicBezTo>
                    <a:pt x="58" y="415"/>
                    <a:pt x="58" y="415"/>
                    <a:pt x="58" y="415"/>
                  </a:cubicBezTo>
                  <a:cubicBezTo>
                    <a:pt x="52" y="417"/>
                    <a:pt x="52" y="417"/>
                    <a:pt x="52" y="417"/>
                  </a:cubicBezTo>
                  <a:cubicBezTo>
                    <a:pt x="49" y="412"/>
                    <a:pt x="49" y="412"/>
                    <a:pt x="49" y="412"/>
                  </a:cubicBezTo>
                  <a:cubicBezTo>
                    <a:pt x="45" y="413"/>
                    <a:pt x="45" y="413"/>
                    <a:pt x="45" y="413"/>
                  </a:cubicBezTo>
                  <a:cubicBezTo>
                    <a:pt x="43" y="412"/>
                    <a:pt x="43" y="412"/>
                    <a:pt x="43" y="412"/>
                  </a:cubicBezTo>
                  <a:cubicBezTo>
                    <a:pt x="41" y="412"/>
                    <a:pt x="41" y="412"/>
                    <a:pt x="41" y="412"/>
                  </a:cubicBezTo>
                  <a:cubicBezTo>
                    <a:pt x="41" y="406"/>
                    <a:pt x="41" y="406"/>
                    <a:pt x="41" y="406"/>
                  </a:cubicBezTo>
                  <a:cubicBezTo>
                    <a:pt x="38" y="404"/>
                    <a:pt x="38" y="404"/>
                    <a:pt x="38" y="404"/>
                  </a:cubicBezTo>
                  <a:cubicBezTo>
                    <a:pt x="36" y="399"/>
                    <a:pt x="36" y="399"/>
                    <a:pt x="36" y="399"/>
                  </a:cubicBezTo>
                  <a:cubicBezTo>
                    <a:pt x="36" y="397"/>
                    <a:pt x="36" y="397"/>
                    <a:pt x="36" y="397"/>
                  </a:cubicBezTo>
                  <a:cubicBezTo>
                    <a:pt x="32" y="393"/>
                    <a:pt x="32" y="393"/>
                    <a:pt x="32" y="393"/>
                  </a:cubicBezTo>
                  <a:cubicBezTo>
                    <a:pt x="34" y="392"/>
                    <a:pt x="34" y="392"/>
                    <a:pt x="34" y="392"/>
                  </a:cubicBezTo>
                  <a:cubicBezTo>
                    <a:pt x="32" y="388"/>
                    <a:pt x="32" y="388"/>
                    <a:pt x="32" y="388"/>
                  </a:cubicBezTo>
                  <a:cubicBezTo>
                    <a:pt x="30" y="386"/>
                    <a:pt x="30" y="386"/>
                    <a:pt x="30" y="386"/>
                  </a:cubicBezTo>
                  <a:cubicBezTo>
                    <a:pt x="32" y="384"/>
                    <a:pt x="32" y="384"/>
                    <a:pt x="32" y="384"/>
                  </a:cubicBezTo>
                  <a:cubicBezTo>
                    <a:pt x="30" y="383"/>
                    <a:pt x="30" y="383"/>
                    <a:pt x="30" y="383"/>
                  </a:cubicBezTo>
                  <a:cubicBezTo>
                    <a:pt x="29" y="381"/>
                    <a:pt x="29" y="381"/>
                    <a:pt x="29" y="381"/>
                  </a:cubicBezTo>
                  <a:cubicBezTo>
                    <a:pt x="30" y="377"/>
                    <a:pt x="30" y="377"/>
                    <a:pt x="30" y="377"/>
                  </a:cubicBezTo>
                  <a:cubicBezTo>
                    <a:pt x="30" y="375"/>
                    <a:pt x="30" y="375"/>
                    <a:pt x="30" y="375"/>
                  </a:cubicBezTo>
                  <a:cubicBezTo>
                    <a:pt x="32" y="372"/>
                    <a:pt x="32" y="372"/>
                    <a:pt x="32" y="372"/>
                  </a:cubicBezTo>
                  <a:cubicBezTo>
                    <a:pt x="32" y="368"/>
                    <a:pt x="32" y="368"/>
                    <a:pt x="32" y="368"/>
                  </a:cubicBezTo>
                  <a:cubicBezTo>
                    <a:pt x="25" y="353"/>
                    <a:pt x="25" y="353"/>
                    <a:pt x="25" y="353"/>
                  </a:cubicBezTo>
                  <a:cubicBezTo>
                    <a:pt x="25" y="341"/>
                    <a:pt x="25" y="341"/>
                    <a:pt x="25" y="341"/>
                  </a:cubicBezTo>
                  <a:cubicBezTo>
                    <a:pt x="29" y="341"/>
                    <a:pt x="29" y="341"/>
                    <a:pt x="29" y="341"/>
                  </a:cubicBezTo>
                  <a:cubicBezTo>
                    <a:pt x="29" y="335"/>
                    <a:pt x="29" y="335"/>
                    <a:pt x="29" y="335"/>
                  </a:cubicBezTo>
                  <a:cubicBezTo>
                    <a:pt x="32" y="332"/>
                    <a:pt x="32" y="332"/>
                    <a:pt x="32" y="332"/>
                  </a:cubicBezTo>
                  <a:cubicBezTo>
                    <a:pt x="32" y="330"/>
                    <a:pt x="32" y="330"/>
                    <a:pt x="32" y="330"/>
                  </a:cubicBezTo>
                  <a:cubicBezTo>
                    <a:pt x="32" y="330"/>
                    <a:pt x="32" y="330"/>
                    <a:pt x="32" y="330"/>
                  </a:cubicBezTo>
                  <a:cubicBezTo>
                    <a:pt x="30" y="328"/>
                    <a:pt x="30" y="328"/>
                    <a:pt x="30" y="328"/>
                  </a:cubicBezTo>
                  <a:cubicBezTo>
                    <a:pt x="30" y="326"/>
                    <a:pt x="30" y="326"/>
                    <a:pt x="30" y="326"/>
                  </a:cubicBezTo>
                  <a:cubicBezTo>
                    <a:pt x="32" y="322"/>
                    <a:pt x="32" y="322"/>
                    <a:pt x="32" y="322"/>
                  </a:cubicBezTo>
                  <a:cubicBezTo>
                    <a:pt x="30" y="321"/>
                    <a:pt x="30" y="321"/>
                    <a:pt x="30" y="321"/>
                  </a:cubicBezTo>
                  <a:cubicBezTo>
                    <a:pt x="30" y="319"/>
                    <a:pt x="30" y="319"/>
                    <a:pt x="30" y="319"/>
                  </a:cubicBezTo>
                  <a:cubicBezTo>
                    <a:pt x="32" y="319"/>
                    <a:pt x="32" y="319"/>
                    <a:pt x="32" y="319"/>
                  </a:cubicBezTo>
                  <a:cubicBezTo>
                    <a:pt x="32" y="321"/>
                    <a:pt x="32" y="321"/>
                    <a:pt x="32" y="321"/>
                  </a:cubicBezTo>
                  <a:cubicBezTo>
                    <a:pt x="36" y="321"/>
                    <a:pt x="36" y="321"/>
                    <a:pt x="36" y="321"/>
                  </a:cubicBezTo>
                  <a:cubicBezTo>
                    <a:pt x="36" y="317"/>
                    <a:pt x="36" y="317"/>
                    <a:pt x="36" y="317"/>
                  </a:cubicBezTo>
                  <a:cubicBezTo>
                    <a:pt x="38" y="315"/>
                    <a:pt x="38" y="315"/>
                    <a:pt x="38" y="315"/>
                  </a:cubicBezTo>
                  <a:cubicBezTo>
                    <a:pt x="41" y="317"/>
                    <a:pt x="41" y="317"/>
                    <a:pt x="41" y="317"/>
                  </a:cubicBezTo>
                  <a:cubicBezTo>
                    <a:pt x="45" y="313"/>
                    <a:pt x="45" y="313"/>
                    <a:pt x="45" y="313"/>
                  </a:cubicBezTo>
                  <a:cubicBezTo>
                    <a:pt x="47" y="311"/>
                    <a:pt x="47" y="311"/>
                    <a:pt x="47" y="311"/>
                  </a:cubicBezTo>
                  <a:cubicBezTo>
                    <a:pt x="49" y="310"/>
                    <a:pt x="49" y="310"/>
                    <a:pt x="49" y="310"/>
                  </a:cubicBezTo>
                  <a:cubicBezTo>
                    <a:pt x="54" y="311"/>
                    <a:pt x="54" y="311"/>
                    <a:pt x="54" y="311"/>
                  </a:cubicBezTo>
                  <a:cubicBezTo>
                    <a:pt x="56" y="310"/>
                    <a:pt x="56" y="310"/>
                    <a:pt x="56" y="310"/>
                  </a:cubicBezTo>
                  <a:cubicBezTo>
                    <a:pt x="52" y="304"/>
                    <a:pt x="52" y="304"/>
                    <a:pt x="52" y="304"/>
                  </a:cubicBezTo>
                  <a:cubicBezTo>
                    <a:pt x="51" y="304"/>
                    <a:pt x="51" y="304"/>
                    <a:pt x="51" y="304"/>
                  </a:cubicBezTo>
                  <a:cubicBezTo>
                    <a:pt x="49" y="306"/>
                    <a:pt x="49" y="306"/>
                    <a:pt x="49" y="306"/>
                  </a:cubicBezTo>
                  <a:cubicBezTo>
                    <a:pt x="45" y="306"/>
                    <a:pt x="45" y="306"/>
                    <a:pt x="45" y="306"/>
                  </a:cubicBezTo>
                  <a:cubicBezTo>
                    <a:pt x="41" y="302"/>
                    <a:pt x="41" y="302"/>
                    <a:pt x="41" y="302"/>
                  </a:cubicBezTo>
                  <a:cubicBezTo>
                    <a:pt x="38" y="302"/>
                    <a:pt x="38" y="302"/>
                    <a:pt x="38" y="302"/>
                  </a:cubicBezTo>
                  <a:cubicBezTo>
                    <a:pt x="34" y="297"/>
                    <a:pt x="34" y="297"/>
                    <a:pt x="34" y="297"/>
                  </a:cubicBezTo>
                  <a:cubicBezTo>
                    <a:pt x="34" y="295"/>
                    <a:pt x="34" y="295"/>
                    <a:pt x="34" y="295"/>
                  </a:cubicBezTo>
                  <a:cubicBezTo>
                    <a:pt x="38" y="299"/>
                    <a:pt x="38" y="299"/>
                    <a:pt x="38" y="299"/>
                  </a:cubicBezTo>
                  <a:cubicBezTo>
                    <a:pt x="38" y="295"/>
                    <a:pt x="38" y="295"/>
                    <a:pt x="38" y="295"/>
                  </a:cubicBezTo>
                  <a:cubicBezTo>
                    <a:pt x="38" y="293"/>
                    <a:pt x="38" y="293"/>
                    <a:pt x="38" y="293"/>
                  </a:cubicBezTo>
                  <a:cubicBezTo>
                    <a:pt x="40" y="291"/>
                    <a:pt x="40" y="291"/>
                    <a:pt x="40" y="291"/>
                  </a:cubicBezTo>
                  <a:cubicBezTo>
                    <a:pt x="36" y="291"/>
                    <a:pt x="36" y="291"/>
                    <a:pt x="36" y="291"/>
                  </a:cubicBezTo>
                  <a:cubicBezTo>
                    <a:pt x="36" y="291"/>
                    <a:pt x="32" y="295"/>
                    <a:pt x="30" y="295"/>
                  </a:cubicBezTo>
                  <a:cubicBezTo>
                    <a:pt x="30" y="295"/>
                    <a:pt x="30" y="295"/>
                    <a:pt x="30" y="295"/>
                  </a:cubicBezTo>
                  <a:cubicBezTo>
                    <a:pt x="30" y="295"/>
                    <a:pt x="30" y="295"/>
                    <a:pt x="30" y="295"/>
                  </a:cubicBezTo>
                  <a:cubicBezTo>
                    <a:pt x="30" y="291"/>
                    <a:pt x="30" y="291"/>
                    <a:pt x="30" y="291"/>
                  </a:cubicBezTo>
                  <a:cubicBezTo>
                    <a:pt x="38" y="282"/>
                    <a:pt x="38" y="282"/>
                    <a:pt x="38" y="282"/>
                  </a:cubicBezTo>
                  <a:cubicBezTo>
                    <a:pt x="41" y="280"/>
                    <a:pt x="41" y="280"/>
                    <a:pt x="41" y="280"/>
                  </a:cubicBezTo>
                  <a:cubicBezTo>
                    <a:pt x="47" y="273"/>
                    <a:pt x="47" y="273"/>
                    <a:pt x="47" y="273"/>
                  </a:cubicBezTo>
                  <a:cubicBezTo>
                    <a:pt x="51" y="266"/>
                    <a:pt x="51" y="266"/>
                    <a:pt x="51" y="266"/>
                  </a:cubicBezTo>
                  <a:cubicBezTo>
                    <a:pt x="54" y="257"/>
                    <a:pt x="54" y="257"/>
                    <a:pt x="54" y="257"/>
                  </a:cubicBezTo>
                  <a:cubicBezTo>
                    <a:pt x="61" y="246"/>
                    <a:pt x="61" y="246"/>
                    <a:pt x="61" y="246"/>
                  </a:cubicBezTo>
                  <a:cubicBezTo>
                    <a:pt x="67" y="233"/>
                    <a:pt x="67" y="233"/>
                    <a:pt x="67" y="233"/>
                  </a:cubicBezTo>
                  <a:cubicBezTo>
                    <a:pt x="65" y="228"/>
                    <a:pt x="65" y="228"/>
                    <a:pt x="65" y="228"/>
                  </a:cubicBezTo>
                  <a:cubicBezTo>
                    <a:pt x="58" y="219"/>
                    <a:pt x="58" y="219"/>
                    <a:pt x="58" y="219"/>
                  </a:cubicBezTo>
                  <a:cubicBezTo>
                    <a:pt x="54" y="219"/>
                    <a:pt x="54" y="219"/>
                    <a:pt x="54" y="219"/>
                  </a:cubicBezTo>
                  <a:cubicBezTo>
                    <a:pt x="45" y="206"/>
                    <a:pt x="45" y="206"/>
                    <a:pt x="45" y="206"/>
                  </a:cubicBezTo>
                  <a:cubicBezTo>
                    <a:pt x="47" y="202"/>
                    <a:pt x="47" y="202"/>
                    <a:pt x="47" y="202"/>
                  </a:cubicBezTo>
                  <a:cubicBezTo>
                    <a:pt x="51" y="197"/>
                    <a:pt x="51" y="197"/>
                    <a:pt x="51" y="197"/>
                  </a:cubicBezTo>
                  <a:cubicBezTo>
                    <a:pt x="51" y="191"/>
                    <a:pt x="51" y="191"/>
                    <a:pt x="51" y="191"/>
                  </a:cubicBezTo>
                  <a:cubicBezTo>
                    <a:pt x="45" y="188"/>
                    <a:pt x="45" y="188"/>
                    <a:pt x="45" y="188"/>
                  </a:cubicBezTo>
                  <a:cubicBezTo>
                    <a:pt x="43" y="184"/>
                    <a:pt x="43" y="184"/>
                    <a:pt x="43" y="184"/>
                  </a:cubicBezTo>
                  <a:cubicBezTo>
                    <a:pt x="43" y="178"/>
                    <a:pt x="43" y="178"/>
                    <a:pt x="43" y="178"/>
                  </a:cubicBezTo>
                  <a:cubicBezTo>
                    <a:pt x="43" y="177"/>
                    <a:pt x="43" y="177"/>
                    <a:pt x="43" y="177"/>
                  </a:cubicBezTo>
                  <a:cubicBezTo>
                    <a:pt x="43" y="173"/>
                    <a:pt x="43" y="173"/>
                    <a:pt x="43" y="173"/>
                  </a:cubicBezTo>
                  <a:cubicBezTo>
                    <a:pt x="38" y="173"/>
                    <a:pt x="38" y="173"/>
                    <a:pt x="38" y="173"/>
                  </a:cubicBezTo>
                  <a:cubicBezTo>
                    <a:pt x="36" y="169"/>
                    <a:pt x="36" y="169"/>
                    <a:pt x="36" y="169"/>
                  </a:cubicBezTo>
                  <a:cubicBezTo>
                    <a:pt x="36" y="164"/>
                    <a:pt x="36" y="164"/>
                    <a:pt x="36" y="164"/>
                  </a:cubicBezTo>
                  <a:cubicBezTo>
                    <a:pt x="38" y="160"/>
                    <a:pt x="38" y="160"/>
                    <a:pt x="38" y="160"/>
                  </a:cubicBezTo>
                  <a:cubicBezTo>
                    <a:pt x="34" y="160"/>
                    <a:pt x="34" y="160"/>
                    <a:pt x="34" y="160"/>
                  </a:cubicBezTo>
                  <a:cubicBezTo>
                    <a:pt x="34" y="157"/>
                    <a:pt x="34" y="157"/>
                    <a:pt x="34" y="157"/>
                  </a:cubicBezTo>
                  <a:cubicBezTo>
                    <a:pt x="36" y="146"/>
                    <a:pt x="36" y="146"/>
                    <a:pt x="36" y="146"/>
                  </a:cubicBezTo>
                  <a:cubicBezTo>
                    <a:pt x="40" y="146"/>
                    <a:pt x="40" y="146"/>
                    <a:pt x="40" y="146"/>
                  </a:cubicBezTo>
                  <a:cubicBezTo>
                    <a:pt x="30" y="127"/>
                    <a:pt x="30" y="127"/>
                    <a:pt x="30" y="127"/>
                  </a:cubicBezTo>
                  <a:cubicBezTo>
                    <a:pt x="23" y="115"/>
                    <a:pt x="23" y="115"/>
                    <a:pt x="23" y="115"/>
                  </a:cubicBezTo>
                  <a:cubicBezTo>
                    <a:pt x="23" y="109"/>
                    <a:pt x="23" y="109"/>
                    <a:pt x="23" y="109"/>
                  </a:cubicBezTo>
                  <a:cubicBezTo>
                    <a:pt x="18" y="106"/>
                    <a:pt x="18" y="106"/>
                    <a:pt x="18" y="106"/>
                  </a:cubicBezTo>
                  <a:cubicBezTo>
                    <a:pt x="21" y="97"/>
                    <a:pt x="21" y="97"/>
                    <a:pt x="21" y="97"/>
                  </a:cubicBezTo>
                  <a:cubicBezTo>
                    <a:pt x="25" y="91"/>
                    <a:pt x="25" y="91"/>
                    <a:pt x="25" y="91"/>
                  </a:cubicBezTo>
                  <a:cubicBezTo>
                    <a:pt x="27" y="86"/>
                    <a:pt x="27" y="86"/>
                    <a:pt x="27" y="86"/>
                  </a:cubicBezTo>
                  <a:cubicBezTo>
                    <a:pt x="25" y="84"/>
                    <a:pt x="25" y="84"/>
                    <a:pt x="25" y="84"/>
                  </a:cubicBezTo>
                  <a:cubicBezTo>
                    <a:pt x="16" y="78"/>
                    <a:pt x="16" y="78"/>
                    <a:pt x="16" y="78"/>
                  </a:cubicBezTo>
                  <a:cubicBezTo>
                    <a:pt x="14" y="76"/>
                    <a:pt x="14" y="76"/>
                    <a:pt x="14" y="76"/>
                  </a:cubicBezTo>
                  <a:cubicBezTo>
                    <a:pt x="12" y="73"/>
                    <a:pt x="12" y="73"/>
                    <a:pt x="12" y="73"/>
                  </a:cubicBezTo>
                  <a:cubicBezTo>
                    <a:pt x="7" y="69"/>
                    <a:pt x="7" y="69"/>
                    <a:pt x="7" y="69"/>
                  </a:cubicBezTo>
                  <a:cubicBezTo>
                    <a:pt x="5" y="69"/>
                    <a:pt x="5" y="69"/>
                    <a:pt x="5" y="69"/>
                  </a:cubicBezTo>
                  <a:cubicBezTo>
                    <a:pt x="3" y="62"/>
                    <a:pt x="3" y="62"/>
                    <a:pt x="3" y="62"/>
                  </a:cubicBezTo>
                  <a:cubicBezTo>
                    <a:pt x="0" y="58"/>
                    <a:pt x="0" y="58"/>
                    <a:pt x="0" y="58"/>
                  </a:cubicBezTo>
                  <a:cubicBezTo>
                    <a:pt x="1" y="53"/>
                    <a:pt x="1" y="53"/>
                    <a:pt x="1" y="53"/>
                  </a:cubicBezTo>
                  <a:cubicBezTo>
                    <a:pt x="1" y="47"/>
                    <a:pt x="1" y="47"/>
                    <a:pt x="1" y="47"/>
                  </a:cubicBezTo>
                  <a:cubicBezTo>
                    <a:pt x="0" y="47"/>
                    <a:pt x="0" y="47"/>
                    <a:pt x="0" y="47"/>
                  </a:cubicBezTo>
                  <a:cubicBezTo>
                    <a:pt x="1" y="46"/>
                    <a:pt x="1" y="46"/>
                    <a:pt x="1" y="46"/>
                  </a:cubicBezTo>
                  <a:cubicBezTo>
                    <a:pt x="7" y="44"/>
                    <a:pt x="7" y="44"/>
                    <a:pt x="7" y="44"/>
                  </a:cubicBezTo>
                  <a:cubicBezTo>
                    <a:pt x="7" y="44"/>
                    <a:pt x="7" y="44"/>
                    <a:pt x="7" y="44"/>
                  </a:cubicBezTo>
                  <a:cubicBezTo>
                    <a:pt x="9" y="42"/>
                    <a:pt x="9" y="42"/>
                    <a:pt x="9" y="42"/>
                  </a:cubicBezTo>
                  <a:cubicBezTo>
                    <a:pt x="9" y="36"/>
                    <a:pt x="9" y="36"/>
                    <a:pt x="9" y="36"/>
                  </a:cubicBezTo>
                  <a:cubicBezTo>
                    <a:pt x="14" y="33"/>
                    <a:pt x="14" y="33"/>
                    <a:pt x="14" y="33"/>
                  </a:cubicBezTo>
                  <a:cubicBezTo>
                    <a:pt x="18" y="31"/>
                    <a:pt x="18" y="31"/>
                    <a:pt x="18" y="31"/>
                  </a:cubicBezTo>
                  <a:cubicBezTo>
                    <a:pt x="20" y="27"/>
                    <a:pt x="20" y="27"/>
                    <a:pt x="20" y="27"/>
                  </a:cubicBezTo>
                  <a:cubicBezTo>
                    <a:pt x="20" y="24"/>
                    <a:pt x="20" y="24"/>
                    <a:pt x="20" y="24"/>
                  </a:cubicBezTo>
                  <a:cubicBezTo>
                    <a:pt x="23" y="24"/>
                    <a:pt x="23" y="24"/>
                    <a:pt x="23" y="24"/>
                  </a:cubicBezTo>
                  <a:cubicBezTo>
                    <a:pt x="27" y="24"/>
                    <a:pt x="27" y="24"/>
                    <a:pt x="27" y="24"/>
                  </a:cubicBezTo>
                  <a:cubicBezTo>
                    <a:pt x="29" y="22"/>
                    <a:pt x="29" y="22"/>
                    <a:pt x="29" y="22"/>
                  </a:cubicBezTo>
                  <a:cubicBezTo>
                    <a:pt x="29" y="18"/>
                    <a:pt x="29" y="18"/>
                    <a:pt x="29" y="18"/>
                  </a:cubicBezTo>
                  <a:cubicBezTo>
                    <a:pt x="29" y="18"/>
                    <a:pt x="29" y="18"/>
                    <a:pt x="29" y="18"/>
                  </a:cubicBezTo>
                  <a:cubicBezTo>
                    <a:pt x="32" y="18"/>
                    <a:pt x="32" y="18"/>
                    <a:pt x="32" y="18"/>
                  </a:cubicBezTo>
                  <a:cubicBezTo>
                    <a:pt x="34" y="20"/>
                    <a:pt x="34" y="20"/>
                    <a:pt x="34" y="20"/>
                  </a:cubicBezTo>
                  <a:cubicBezTo>
                    <a:pt x="34" y="24"/>
                    <a:pt x="34" y="24"/>
                    <a:pt x="34" y="24"/>
                  </a:cubicBezTo>
                  <a:cubicBezTo>
                    <a:pt x="34" y="25"/>
                    <a:pt x="34" y="25"/>
                    <a:pt x="34" y="25"/>
                  </a:cubicBezTo>
                  <a:cubicBezTo>
                    <a:pt x="36" y="22"/>
                    <a:pt x="36" y="22"/>
                    <a:pt x="36" y="22"/>
                  </a:cubicBezTo>
                  <a:cubicBezTo>
                    <a:pt x="36" y="18"/>
                    <a:pt x="36" y="18"/>
                    <a:pt x="36" y="18"/>
                  </a:cubicBezTo>
                  <a:cubicBezTo>
                    <a:pt x="40" y="18"/>
                    <a:pt x="40" y="18"/>
                    <a:pt x="40" y="18"/>
                  </a:cubicBezTo>
                  <a:cubicBezTo>
                    <a:pt x="40" y="18"/>
                    <a:pt x="40" y="18"/>
                    <a:pt x="40" y="18"/>
                  </a:cubicBezTo>
                  <a:cubicBezTo>
                    <a:pt x="38" y="16"/>
                    <a:pt x="38" y="16"/>
                    <a:pt x="38" y="16"/>
                  </a:cubicBezTo>
                  <a:cubicBezTo>
                    <a:pt x="38" y="15"/>
                    <a:pt x="38" y="15"/>
                    <a:pt x="38" y="15"/>
                  </a:cubicBezTo>
                  <a:cubicBezTo>
                    <a:pt x="40" y="15"/>
                    <a:pt x="40" y="15"/>
                    <a:pt x="40" y="15"/>
                  </a:cubicBezTo>
                  <a:cubicBezTo>
                    <a:pt x="41" y="15"/>
                    <a:pt x="41" y="15"/>
                    <a:pt x="41" y="15"/>
                  </a:cubicBezTo>
                  <a:cubicBezTo>
                    <a:pt x="41" y="13"/>
                    <a:pt x="41" y="13"/>
                    <a:pt x="41" y="13"/>
                  </a:cubicBezTo>
                  <a:cubicBezTo>
                    <a:pt x="40" y="13"/>
                    <a:pt x="40" y="13"/>
                    <a:pt x="40" y="13"/>
                  </a:cubicBezTo>
                  <a:cubicBezTo>
                    <a:pt x="40" y="11"/>
                    <a:pt x="40" y="11"/>
                    <a:pt x="40" y="11"/>
                  </a:cubicBezTo>
                  <a:cubicBezTo>
                    <a:pt x="40" y="11"/>
                    <a:pt x="40" y="11"/>
                    <a:pt x="40" y="11"/>
                  </a:cubicBezTo>
                  <a:cubicBezTo>
                    <a:pt x="43" y="11"/>
                    <a:pt x="43" y="11"/>
                    <a:pt x="43" y="11"/>
                  </a:cubicBezTo>
                  <a:cubicBezTo>
                    <a:pt x="47" y="13"/>
                    <a:pt x="47" y="13"/>
                    <a:pt x="47" y="13"/>
                  </a:cubicBezTo>
                  <a:cubicBezTo>
                    <a:pt x="49" y="15"/>
                    <a:pt x="49" y="15"/>
                    <a:pt x="49" y="15"/>
                  </a:cubicBezTo>
                  <a:cubicBezTo>
                    <a:pt x="51" y="16"/>
                    <a:pt x="51" y="16"/>
                    <a:pt x="51" y="16"/>
                  </a:cubicBezTo>
                  <a:cubicBezTo>
                    <a:pt x="52" y="15"/>
                    <a:pt x="52" y="15"/>
                    <a:pt x="52" y="15"/>
                  </a:cubicBezTo>
                  <a:cubicBezTo>
                    <a:pt x="54" y="16"/>
                    <a:pt x="54" y="16"/>
                    <a:pt x="54" y="16"/>
                  </a:cubicBezTo>
                  <a:cubicBezTo>
                    <a:pt x="56" y="16"/>
                    <a:pt x="56" y="16"/>
                    <a:pt x="56" y="16"/>
                  </a:cubicBezTo>
                  <a:cubicBezTo>
                    <a:pt x="58" y="18"/>
                    <a:pt x="58" y="18"/>
                    <a:pt x="58" y="18"/>
                  </a:cubicBezTo>
                  <a:cubicBezTo>
                    <a:pt x="58" y="20"/>
                    <a:pt x="58" y="20"/>
                    <a:pt x="58" y="20"/>
                  </a:cubicBezTo>
                  <a:cubicBezTo>
                    <a:pt x="54" y="22"/>
                    <a:pt x="54" y="22"/>
                    <a:pt x="54" y="22"/>
                  </a:cubicBezTo>
                  <a:cubicBezTo>
                    <a:pt x="52" y="22"/>
                    <a:pt x="52" y="22"/>
                    <a:pt x="52" y="22"/>
                  </a:cubicBezTo>
                  <a:cubicBezTo>
                    <a:pt x="49" y="22"/>
                    <a:pt x="49" y="22"/>
                    <a:pt x="49" y="22"/>
                  </a:cubicBezTo>
                  <a:cubicBezTo>
                    <a:pt x="45" y="20"/>
                    <a:pt x="45" y="20"/>
                    <a:pt x="45" y="20"/>
                  </a:cubicBezTo>
                  <a:cubicBezTo>
                    <a:pt x="45" y="16"/>
                    <a:pt x="45" y="16"/>
                    <a:pt x="45" y="16"/>
                  </a:cubicBezTo>
                  <a:cubicBezTo>
                    <a:pt x="43" y="20"/>
                    <a:pt x="43" y="20"/>
                    <a:pt x="43" y="20"/>
                  </a:cubicBezTo>
                  <a:cubicBezTo>
                    <a:pt x="43" y="24"/>
                    <a:pt x="43" y="24"/>
                    <a:pt x="43" y="24"/>
                  </a:cubicBezTo>
                  <a:cubicBezTo>
                    <a:pt x="43" y="27"/>
                    <a:pt x="43" y="27"/>
                    <a:pt x="43" y="27"/>
                  </a:cubicBezTo>
                  <a:cubicBezTo>
                    <a:pt x="47" y="24"/>
                    <a:pt x="47" y="24"/>
                    <a:pt x="47" y="24"/>
                  </a:cubicBezTo>
                  <a:cubicBezTo>
                    <a:pt x="49" y="25"/>
                    <a:pt x="49" y="25"/>
                    <a:pt x="49" y="25"/>
                  </a:cubicBezTo>
                  <a:cubicBezTo>
                    <a:pt x="49" y="27"/>
                    <a:pt x="49" y="27"/>
                    <a:pt x="49" y="27"/>
                  </a:cubicBezTo>
                  <a:cubicBezTo>
                    <a:pt x="51" y="25"/>
                    <a:pt x="51" y="25"/>
                    <a:pt x="51" y="25"/>
                  </a:cubicBezTo>
                  <a:cubicBezTo>
                    <a:pt x="54" y="27"/>
                    <a:pt x="54" y="27"/>
                    <a:pt x="54" y="27"/>
                  </a:cubicBezTo>
                  <a:cubicBezTo>
                    <a:pt x="54" y="29"/>
                    <a:pt x="54" y="29"/>
                    <a:pt x="54" y="29"/>
                  </a:cubicBezTo>
                  <a:cubicBezTo>
                    <a:pt x="56" y="29"/>
                    <a:pt x="56" y="29"/>
                    <a:pt x="56" y="29"/>
                  </a:cubicBezTo>
                  <a:cubicBezTo>
                    <a:pt x="58" y="27"/>
                    <a:pt x="58" y="27"/>
                    <a:pt x="58" y="27"/>
                  </a:cubicBezTo>
                  <a:cubicBezTo>
                    <a:pt x="58" y="27"/>
                    <a:pt x="58" y="27"/>
                    <a:pt x="58" y="27"/>
                  </a:cubicBezTo>
                  <a:cubicBezTo>
                    <a:pt x="58" y="29"/>
                    <a:pt x="58" y="29"/>
                    <a:pt x="58" y="29"/>
                  </a:cubicBezTo>
                  <a:cubicBezTo>
                    <a:pt x="58" y="31"/>
                    <a:pt x="58" y="31"/>
                    <a:pt x="58" y="31"/>
                  </a:cubicBezTo>
                  <a:cubicBezTo>
                    <a:pt x="60" y="27"/>
                    <a:pt x="60" y="27"/>
                    <a:pt x="60" y="27"/>
                  </a:cubicBezTo>
                  <a:cubicBezTo>
                    <a:pt x="61" y="27"/>
                    <a:pt x="61" y="27"/>
                    <a:pt x="61" y="27"/>
                  </a:cubicBezTo>
                  <a:cubicBezTo>
                    <a:pt x="63" y="27"/>
                    <a:pt x="63" y="27"/>
                    <a:pt x="63" y="27"/>
                  </a:cubicBezTo>
                  <a:cubicBezTo>
                    <a:pt x="63" y="29"/>
                    <a:pt x="63" y="29"/>
                    <a:pt x="63" y="29"/>
                  </a:cubicBezTo>
                  <a:cubicBezTo>
                    <a:pt x="61" y="31"/>
                    <a:pt x="61" y="31"/>
                    <a:pt x="61" y="31"/>
                  </a:cubicBezTo>
                  <a:cubicBezTo>
                    <a:pt x="65" y="31"/>
                    <a:pt x="65" y="31"/>
                    <a:pt x="65" y="31"/>
                  </a:cubicBezTo>
                  <a:cubicBezTo>
                    <a:pt x="65" y="33"/>
                    <a:pt x="65" y="33"/>
                    <a:pt x="65" y="33"/>
                  </a:cubicBezTo>
                  <a:cubicBezTo>
                    <a:pt x="63" y="33"/>
                    <a:pt x="63" y="33"/>
                    <a:pt x="63" y="33"/>
                  </a:cubicBezTo>
                  <a:cubicBezTo>
                    <a:pt x="61" y="36"/>
                    <a:pt x="61" y="36"/>
                    <a:pt x="61" y="36"/>
                  </a:cubicBezTo>
                  <a:cubicBezTo>
                    <a:pt x="65" y="36"/>
                    <a:pt x="65" y="36"/>
                    <a:pt x="65" y="36"/>
                  </a:cubicBezTo>
                  <a:cubicBezTo>
                    <a:pt x="67" y="33"/>
                    <a:pt x="67" y="33"/>
                    <a:pt x="67" y="33"/>
                  </a:cubicBezTo>
                  <a:cubicBezTo>
                    <a:pt x="67" y="29"/>
                    <a:pt x="67" y="29"/>
                    <a:pt x="67" y="29"/>
                  </a:cubicBezTo>
                  <a:cubicBezTo>
                    <a:pt x="69" y="29"/>
                    <a:pt x="69" y="29"/>
                    <a:pt x="69" y="29"/>
                  </a:cubicBezTo>
                  <a:cubicBezTo>
                    <a:pt x="72" y="27"/>
                    <a:pt x="72" y="27"/>
                    <a:pt x="72" y="27"/>
                  </a:cubicBezTo>
                  <a:cubicBezTo>
                    <a:pt x="74" y="29"/>
                    <a:pt x="74" y="29"/>
                    <a:pt x="74" y="29"/>
                  </a:cubicBezTo>
                  <a:cubicBezTo>
                    <a:pt x="74" y="27"/>
                    <a:pt x="74" y="27"/>
                    <a:pt x="74" y="27"/>
                  </a:cubicBezTo>
                  <a:cubicBezTo>
                    <a:pt x="72" y="25"/>
                    <a:pt x="72" y="25"/>
                    <a:pt x="72" y="25"/>
                  </a:cubicBezTo>
                  <a:cubicBezTo>
                    <a:pt x="72" y="25"/>
                    <a:pt x="72" y="25"/>
                    <a:pt x="72" y="25"/>
                  </a:cubicBezTo>
                  <a:cubicBezTo>
                    <a:pt x="76" y="25"/>
                    <a:pt x="76" y="25"/>
                    <a:pt x="76" y="25"/>
                  </a:cubicBezTo>
                  <a:cubicBezTo>
                    <a:pt x="78" y="29"/>
                    <a:pt x="78" y="29"/>
                    <a:pt x="78" y="29"/>
                  </a:cubicBezTo>
                  <a:cubicBezTo>
                    <a:pt x="83" y="29"/>
                    <a:pt x="83" y="29"/>
                    <a:pt x="83" y="29"/>
                  </a:cubicBezTo>
                  <a:cubicBezTo>
                    <a:pt x="87" y="31"/>
                    <a:pt x="87" y="31"/>
                    <a:pt x="87" y="31"/>
                  </a:cubicBezTo>
                  <a:cubicBezTo>
                    <a:pt x="89" y="29"/>
                    <a:pt x="89" y="29"/>
                    <a:pt x="89" y="29"/>
                  </a:cubicBezTo>
                  <a:cubicBezTo>
                    <a:pt x="89" y="27"/>
                    <a:pt x="89" y="27"/>
                    <a:pt x="89" y="27"/>
                  </a:cubicBezTo>
                  <a:cubicBezTo>
                    <a:pt x="92" y="29"/>
                    <a:pt x="92" y="29"/>
                    <a:pt x="92" y="29"/>
                  </a:cubicBezTo>
                  <a:cubicBezTo>
                    <a:pt x="96" y="31"/>
                    <a:pt x="96" y="31"/>
                    <a:pt x="96" y="31"/>
                  </a:cubicBezTo>
                  <a:cubicBezTo>
                    <a:pt x="98" y="29"/>
                    <a:pt x="98" y="29"/>
                    <a:pt x="98" y="29"/>
                  </a:cubicBezTo>
                  <a:cubicBezTo>
                    <a:pt x="102" y="31"/>
                    <a:pt x="102" y="31"/>
                    <a:pt x="102" y="31"/>
                  </a:cubicBezTo>
                  <a:cubicBezTo>
                    <a:pt x="118" y="40"/>
                    <a:pt x="118" y="40"/>
                    <a:pt x="118" y="40"/>
                  </a:cubicBezTo>
                  <a:cubicBezTo>
                    <a:pt x="131" y="47"/>
                    <a:pt x="131" y="47"/>
                    <a:pt x="131" y="47"/>
                  </a:cubicBezTo>
                  <a:cubicBezTo>
                    <a:pt x="132" y="51"/>
                    <a:pt x="132" y="51"/>
                    <a:pt x="132" y="51"/>
                  </a:cubicBezTo>
                  <a:cubicBezTo>
                    <a:pt x="136" y="53"/>
                    <a:pt x="136" y="53"/>
                    <a:pt x="136" y="53"/>
                  </a:cubicBezTo>
                  <a:cubicBezTo>
                    <a:pt x="140" y="58"/>
                    <a:pt x="140" y="58"/>
                    <a:pt x="140" y="58"/>
                  </a:cubicBezTo>
                  <a:cubicBezTo>
                    <a:pt x="143" y="58"/>
                    <a:pt x="143" y="58"/>
                    <a:pt x="143" y="58"/>
                  </a:cubicBezTo>
                  <a:cubicBezTo>
                    <a:pt x="142" y="56"/>
                    <a:pt x="142" y="56"/>
                    <a:pt x="142" y="56"/>
                  </a:cubicBezTo>
                  <a:cubicBezTo>
                    <a:pt x="142" y="55"/>
                    <a:pt x="142" y="55"/>
                    <a:pt x="142" y="55"/>
                  </a:cubicBezTo>
                  <a:cubicBezTo>
                    <a:pt x="143" y="55"/>
                    <a:pt x="143" y="55"/>
                    <a:pt x="143" y="55"/>
                  </a:cubicBezTo>
                  <a:cubicBezTo>
                    <a:pt x="149" y="60"/>
                    <a:pt x="149" y="60"/>
                    <a:pt x="149" y="60"/>
                  </a:cubicBezTo>
                  <a:cubicBezTo>
                    <a:pt x="151" y="60"/>
                    <a:pt x="151" y="60"/>
                    <a:pt x="151" y="60"/>
                  </a:cubicBezTo>
                  <a:cubicBezTo>
                    <a:pt x="156" y="64"/>
                    <a:pt x="156" y="64"/>
                    <a:pt x="156" y="64"/>
                  </a:cubicBezTo>
                  <a:cubicBezTo>
                    <a:pt x="158" y="64"/>
                    <a:pt x="158" y="64"/>
                    <a:pt x="158" y="64"/>
                  </a:cubicBezTo>
                  <a:cubicBezTo>
                    <a:pt x="156" y="58"/>
                    <a:pt x="156" y="58"/>
                    <a:pt x="156" y="58"/>
                  </a:cubicBezTo>
                  <a:cubicBezTo>
                    <a:pt x="154" y="56"/>
                    <a:pt x="154" y="56"/>
                    <a:pt x="154" y="56"/>
                  </a:cubicBezTo>
                  <a:cubicBezTo>
                    <a:pt x="156" y="56"/>
                    <a:pt x="156" y="56"/>
                    <a:pt x="156" y="56"/>
                  </a:cubicBezTo>
                  <a:cubicBezTo>
                    <a:pt x="160" y="60"/>
                    <a:pt x="160" y="60"/>
                    <a:pt x="160" y="60"/>
                  </a:cubicBezTo>
                  <a:cubicBezTo>
                    <a:pt x="160" y="64"/>
                    <a:pt x="160" y="64"/>
                    <a:pt x="160" y="64"/>
                  </a:cubicBezTo>
                  <a:cubicBezTo>
                    <a:pt x="167" y="69"/>
                    <a:pt x="167" y="69"/>
                    <a:pt x="167" y="69"/>
                  </a:cubicBezTo>
                  <a:cubicBezTo>
                    <a:pt x="167" y="71"/>
                    <a:pt x="167" y="71"/>
                    <a:pt x="167" y="71"/>
                  </a:cubicBezTo>
                  <a:cubicBezTo>
                    <a:pt x="171" y="73"/>
                    <a:pt x="171" y="73"/>
                    <a:pt x="171" y="73"/>
                  </a:cubicBezTo>
                  <a:cubicBezTo>
                    <a:pt x="171" y="71"/>
                    <a:pt x="171" y="71"/>
                    <a:pt x="171" y="71"/>
                  </a:cubicBezTo>
                  <a:cubicBezTo>
                    <a:pt x="174" y="73"/>
                    <a:pt x="174" y="73"/>
                    <a:pt x="174" y="73"/>
                  </a:cubicBezTo>
                  <a:cubicBezTo>
                    <a:pt x="178" y="76"/>
                    <a:pt x="178" y="76"/>
                    <a:pt x="178" y="76"/>
                  </a:cubicBezTo>
                  <a:cubicBezTo>
                    <a:pt x="180" y="80"/>
                    <a:pt x="180" y="80"/>
                    <a:pt x="180" y="80"/>
                  </a:cubicBezTo>
                  <a:cubicBezTo>
                    <a:pt x="182" y="82"/>
                    <a:pt x="182" y="82"/>
                    <a:pt x="182" y="82"/>
                  </a:cubicBezTo>
                  <a:cubicBezTo>
                    <a:pt x="183" y="86"/>
                    <a:pt x="183" y="86"/>
                    <a:pt x="183" y="86"/>
                  </a:cubicBezTo>
                  <a:cubicBezTo>
                    <a:pt x="185" y="86"/>
                    <a:pt x="185" y="86"/>
                    <a:pt x="185" y="86"/>
                  </a:cubicBezTo>
                  <a:cubicBezTo>
                    <a:pt x="187" y="87"/>
                    <a:pt x="187" y="87"/>
                    <a:pt x="187" y="87"/>
                  </a:cubicBezTo>
                  <a:cubicBezTo>
                    <a:pt x="187" y="91"/>
                    <a:pt x="187" y="91"/>
                    <a:pt x="187" y="91"/>
                  </a:cubicBezTo>
                  <a:cubicBezTo>
                    <a:pt x="187" y="95"/>
                    <a:pt x="187" y="95"/>
                    <a:pt x="187" y="95"/>
                  </a:cubicBezTo>
                  <a:cubicBezTo>
                    <a:pt x="185" y="100"/>
                    <a:pt x="185" y="100"/>
                    <a:pt x="185" y="100"/>
                  </a:cubicBezTo>
                  <a:cubicBezTo>
                    <a:pt x="185" y="102"/>
                    <a:pt x="185" y="102"/>
                    <a:pt x="185" y="102"/>
                  </a:cubicBezTo>
                  <a:cubicBezTo>
                    <a:pt x="185" y="106"/>
                    <a:pt x="185" y="106"/>
                    <a:pt x="185" y="106"/>
                  </a:cubicBezTo>
                  <a:cubicBezTo>
                    <a:pt x="182" y="109"/>
                    <a:pt x="182" y="109"/>
                    <a:pt x="182" y="109"/>
                  </a:cubicBezTo>
                  <a:cubicBezTo>
                    <a:pt x="180" y="113"/>
                    <a:pt x="180" y="113"/>
                    <a:pt x="180" y="113"/>
                  </a:cubicBezTo>
                  <a:cubicBezTo>
                    <a:pt x="174" y="120"/>
                    <a:pt x="174" y="120"/>
                    <a:pt x="174" y="120"/>
                  </a:cubicBezTo>
                  <a:cubicBezTo>
                    <a:pt x="169" y="124"/>
                    <a:pt x="169" y="124"/>
                    <a:pt x="169" y="124"/>
                  </a:cubicBezTo>
                  <a:cubicBezTo>
                    <a:pt x="163" y="124"/>
                    <a:pt x="163" y="124"/>
                    <a:pt x="163" y="124"/>
                  </a:cubicBezTo>
                  <a:cubicBezTo>
                    <a:pt x="162" y="126"/>
                    <a:pt x="162" y="126"/>
                    <a:pt x="162" y="126"/>
                  </a:cubicBezTo>
                  <a:cubicBezTo>
                    <a:pt x="156" y="126"/>
                    <a:pt x="156" y="126"/>
                    <a:pt x="156" y="126"/>
                  </a:cubicBezTo>
                  <a:cubicBezTo>
                    <a:pt x="154" y="127"/>
                    <a:pt x="154" y="127"/>
                    <a:pt x="154" y="127"/>
                  </a:cubicBezTo>
                  <a:cubicBezTo>
                    <a:pt x="147" y="129"/>
                    <a:pt x="147" y="129"/>
                    <a:pt x="147" y="129"/>
                  </a:cubicBezTo>
                  <a:cubicBezTo>
                    <a:pt x="138" y="127"/>
                    <a:pt x="138" y="127"/>
                    <a:pt x="138" y="127"/>
                  </a:cubicBezTo>
                  <a:cubicBezTo>
                    <a:pt x="131" y="127"/>
                    <a:pt x="131" y="127"/>
                    <a:pt x="131" y="127"/>
                  </a:cubicBezTo>
                  <a:cubicBezTo>
                    <a:pt x="127" y="124"/>
                    <a:pt x="127" y="124"/>
                    <a:pt x="127" y="124"/>
                  </a:cubicBezTo>
                  <a:cubicBezTo>
                    <a:pt x="125" y="126"/>
                    <a:pt x="125" y="126"/>
                    <a:pt x="125" y="126"/>
                  </a:cubicBezTo>
                  <a:cubicBezTo>
                    <a:pt x="122" y="126"/>
                    <a:pt x="122" y="126"/>
                    <a:pt x="122" y="126"/>
                  </a:cubicBezTo>
                  <a:cubicBezTo>
                    <a:pt x="118" y="124"/>
                    <a:pt x="118" y="124"/>
                    <a:pt x="118" y="124"/>
                  </a:cubicBezTo>
                  <a:cubicBezTo>
                    <a:pt x="116" y="124"/>
                    <a:pt x="116" y="124"/>
                    <a:pt x="116" y="124"/>
                  </a:cubicBezTo>
                  <a:cubicBezTo>
                    <a:pt x="114" y="122"/>
                    <a:pt x="114" y="122"/>
                    <a:pt x="114" y="122"/>
                  </a:cubicBezTo>
                  <a:cubicBezTo>
                    <a:pt x="111" y="124"/>
                    <a:pt x="111" y="124"/>
                    <a:pt x="111" y="124"/>
                  </a:cubicBezTo>
                  <a:cubicBezTo>
                    <a:pt x="107" y="120"/>
                    <a:pt x="107" y="120"/>
                    <a:pt x="107" y="120"/>
                  </a:cubicBezTo>
                  <a:cubicBezTo>
                    <a:pt x="107" y="118"/>
                    <a:pt x="107" y="118"/>
                    <a:pt x="107" y="118"/>
                  </a:cubicBezTo>
                  <a:cubicBezTo>
                    <a:pt x="103" y="118"/>
                    <a:pt x="103" y="118"/>
                    <a:pt x="103" y="118"/>
                  </a:cubicBezTo>
                  <a:cubicBezTo>
                    <a:pt x="102" y="118"/>
                    <a:pt x="102" y="118"/>
                    <a:pt x="102" y="118"/>
                  </a:cubicBezTo>
                  <a:cubicBezTo>
                    <a:pt x="102" y="117"/>
                    <a:pt x="102" y="117"/>
                    <a:pt x="102" y="117"/>
                  </a:cubicBezTo>
                  <a:cubicBezTo>
                    <a:pt x="96" y="117"/>
                    <a:pt x="96" y="117"/>
                    <a:pt x="96" y="117"/>
                  </a:cubicBezTo>
                  <a:cubicBezTo>
                    <a:pt x="94" y="118"/>
                    <a:pt x="94" y="118"/>
                    <a:pt x="94" y="118"/>
                  </a:cubicBezTo>
                  <a:cubicBezTo>
                    <a:pt x="92" y="118"/>
                    <a:pt x="92" y="118"/>
                    <a:pt x="92" y="118"/>
                  </a:cubicBezTo>
                  <a:cubicBezTo>
                    <a:pt x="92" y="117"/>
                    <a:pt x="92" y="117"/>
                    <a:pt x="92" y="117"/>
                  </a:cubicBezTo>
                  <a:cubicBezTo>
                    <a:pt x="91" y="115"/>
                    <a:pt x="91" y="115"/>
                    <a:pt x="91" y="115"/>
                  </a:cubicBezTo>
                  <a:cubicBezTo>
                    <a:pt x="92" y="115"/>
                    <a:pt x="92" y="115"/>
                    <a:pt x="92" y="115"/>
                  </a:cubicBezTo>
                  <a:cubicBezTo>
                    <a:pt x="91" y="111"/>
                    <a:pt x="91" y="111"/>
                    <a:pt x="91" y="111"/>
                  </a:cubicBezTo>
                  <a:cubicBezTo>
                    <a:pt x="89" y="113"/>
                    <a:pt x="89" y="113"/>
                    <a:pt x="89" y="113"/>
                  </a:cubicBezTo>
                  <a:cubicBezTo>
                    <a:pt x="83" y="113"/>
                    <a:pt x="83" y="113"/>
                    <a:pt x="83" y="113"/>
                  </a:cubicBezTo>
                  <a:cubicBezTo>
                    <a:pt x="80" y="111"/>
                    <a:pt x="80" y="111"/>
                    <a:pt x="80" y="111"/>
                  </a:cubicBezTo>
                  <a:cubicBezTo>
                    <a:pt x="80" y="111"/>
                    <a:pt x="80" y="111"/>
                    <a:pt x="80" y="111"/>
                  </a:cubicBezTo>
                  <a:cubicBezTo>
                    <a:pt x="78" y="111"/>
                    <a:pt x="78" y="111"/>
                    <a:pt x="78" y="111"/>
                  </a:cubicBezTo>
                  <a:cubicBezTo>
                    <a:pt x="71" y="106"/>
                    <a:pt x="71" y="106"/>
                    <a:pt x="71" y="106"/>
                  </a:cubicBezTo>
                  <a:cubicBezTo>
                    <a:pt x="69" y="102"/>
                    <a:pt x="69" y="102"/>
                    <a:pt x="69" y="102"/>
                  </a:cubicBezTo>
                  <a:cubicBezTo>
                    <a:pt x="65" y="102"/>
                    <a:pt x="65" y="102"/>
                    <a:pt x="65" y="102"/>
                  </a:cubicBezTo>
                  <a:cubicBezTo>
                    <a:pt x="63" y="100"/>
                    <a:pt x="63" y="100"/>
                    <a:pt x="63" y="100"/>
                  </a:cubicBezTo>
                  <a:cubicBezTo>
                    <a:pt x="61" y="100"/>
                    <a:pt x="61" y="100"/>
                    <a:pt x="61" y="100"/>
                  </a:cubicBezTo>
                  <a:cubicBezTo>
                    <a:pt x="60" y="102"/>
                    <a:pt x="60" y="102"/>
                    <a:pt x="60" y="102"/>
                  </a:cubicBezTo>
                  <a:cubicBezTo>
                    <a:pt x="63" y="104"/>
                    <a:pt x="63" y="104"/>
                    <a:pt x="63" y="104"/>
                  </a:cubicBezTo>
                  <a:cubicBezTo>
                    <a:pt x="65" y="109"/>
                    <a:pt x="65" y="109"/>
                    <a:pt x="65" y="109"/>
                  </a:cubicBezTo>
                  <a:cubicBezTo>
                    <a:pt x="69" y="111"/>
                    <a:pt x="69" y="111"/>
                    <a:pt x="69" y="111"/>
                  </a:cubicBezTo>
                  <a:cubicBezTo>
                    <a:pt x="69" y="115"/>
                    <a:pt x="69" y="115"/>
                    <a:pt x="69" y="115"/>
                  </a:cubicBezTo>
                  <a:cubicBezTo>
                    <a:pt x="74" y="115"/>
                    <a:pt x="74" y="115"/>
                    <a:pt x="74" y="115"/>
                  </a:cubicBezTo>
                  <a:cubicBezTo>
                    <a:pt x="76" y="117"/>
                    <a:pt x="76" y="117"/>
                    <a:pt x="76" y="117"/>
                  </a:cubicBezTo>
                  <a:cubicBezTo>
                    <a:pt x="72" y="118"/>
                    <a:pt x="72" y="118"/>
                    <a:pt x="72" y="118"/>
                  </a:cubicBezTo>
                  <a:cubicBezTo>
                    <a:pt x="71" y="120"/>
                    <a:pt x="71" y="120"/>
                    <a:pt x="71" y="120"/>
                  </a:cubicBezTo>
                  <a:cubicBezTo>
                    <a:pt x="72" y="122"/>
                    <a:pt x="72" y="122"/>
                    <a:pt x="72" y="122"/>
                  </a:cubicBezTo>
                  <a:cubicBezTo>
                    <a:pt x="78" y="120"/>
                    <a:pt x="78" y="120"/>
                    <a:pt x="78" y="120"/>
                  </a:cubicBezTo>
                  <a:cubicBezTo>
                    <a:pt x="80" y="118"/>
                    <a:pt x="80" y="118"/>
                    <a:pt x="80" y="118"/>
                  </a:cubicBezTo>
                  <a:cubicBezTo>
                    <a:pt x="81" y="120"/>
                    <a:pt x="81" y="120"/>
                    <a:pt x="81" y="120"/>
                  </a:cubicBezTo>
                  <a:cubicBezTo>
                    <a:pt x="80" y="122"/>
                    <a:pt x="80" y="122"/>
                    <a:pt x="80" y="122"/>
                  </a:cubicBezTo>
                  <a:cubicBezTo>
                    <a:pt x="80" y="122"/>
                    <a:pt x="80" y="122"/>
                    <a:pt x="80" y="122"/>
                  </a:cubicBezTo>
                  <a:cubicBezTo>
                    <a:pt x="83" y="122"/>
                    <a:pt x="83" y="122"/>
                    <a:pt x="83" y="122"/>
                  </a:cubicBezTo>
                  <a:cubicBezTo>
                    <a:pt x="81" y="126"/>
                    <a:pt x="81" y="126"/>
                    <a:pt x="81" y="126"/>
                  </a:cubicBezTo>
                  <a:cubicBezTo>
                    <a:pt x="80" y="126"/>
                    <a:pt x="80" y="126"/>
                    <a:pt x="80" y="126"/>
                  </a:cubicBezTo>
                  <a:cubicBezTo>
                    <a:pt x="78" y="127"/>
                    <a:pt x="78" y="127"/>
                    <a:pt x="78" y="127"/>
                  </a:cubicBezTo>
                  <a:cubicBezTo>
                    <a:pt x="81" y="127"/>
                    <a:pt x="81" y="127"/>
                    <a:pt x="81" y="127"/>
                  </a:cubicBezTo>
                  <a:cubicBezTo>
                    <a:pt x="83" y="127"/>
                    <a:pt x="83" y="127"/>
                    <a:pt x="83" y="127"/>
                  </a:cubicBezTo>
                  <a:cubicBezTo>
                    <a:pt x="85" y="127"/>
                    <a:pt x="85" y="127"/>
                    <a:pt x="85" y="127"/>
                  </a:cubicBezTo>
                  <a:cubicBezTo>
                    <a:pt x="87" y="129"/>
                    <a:pt x="87" y="129"/>
                    <a:pt x="87" y="129"/>
                  </a:cubicBezTo>
                  <a:cubicBezTo>
                    <a:pt x="89" y="127"/>
                    <a:pt x="89" y="127"/>
                    <a:pt x="89" y="127"/>
                  </a:cubicBezTo>
                  <a:cubicBezTo>
                    <a:pt x="98" y="131"/>
                    <a:pt x="98" y="131"/>
                    <a:pt x="98" y="131"/>
                  </a:cubicBezTo>
                  <a:cubicBezTo>
                    <a:pt x="102" y="137"/>
                    <a:pt x="102" y="137"/>
                    <a:pt x="102" y="137"/>
                  </a:cubicBezTo>
                  <a:cubicBezTo>
                    <a:pt x="103" y="137"/>
                    <a:pt x="103" y="137"/>
                    <a:pt x="103" y="137"/>
                  </a:cubicBezTo>
                  <a:cubicBezTo>
                    <a:pt x="102" y="138"/>
                    <a:pt x="102" y="138"/>
                    <a:pt x="102" y="138"/>
                  </a:cubicBezTo>
                  <a:cubicBezTo>
                    <a:pt x="102" y="140"/>
                    <a:pt x="102" y="140"/>
                    <a:pt x="102" y="140"/>
                  </a:cubicBezTo>
                  <a:cubicBezTo>
                    <a:pt x="103" y="142"/>
                    <a:pt x="103" y="142"/>
                    <a:pt x="103" y="142"/>
                  </a:cubicBezTo>
                  <a:cubicBezTo>
                    <a:pt x="103" y="144"/>
                    <a:pt x="103" y="144"/>
                    <a:pt x="103" y="144"/>
                  </a:cubicBezTo>
                  <a:cubicBezTo>
                    <a:pt x="102" y="149"/>
                    <a:pt x="102" y="149"/>
                    <a:pt x="102" y="149"/>
                  </a:cubicBezTo>
                  <a:cubicBezTo>
                    <a:pt x="100" y="151"/>
                    <a:pt x="100" y="151"/>
                    <a:pt x="100" y="151"/>
                  </a:cubicBezTo>
                  <a:cubicBezTo>
                    <a:pt x="100" y="155"/>
                    <a:pt x="100" y="155"/>
                    <a:pt x="100" y="155"/>
                  </a:cubicBezTo>
                  <a:cubicBezTo>
                    <a:pt x="102" y="155"/>
                    <a:pt x="102" y="155"/>
                    <a:pt x="102" y="155"/>
                  </a:cubicBezTo>
                  <a:cubicBezTo>
                    <a:pt x="102" y="158"/>
                    <a:pt x="102" y="158"/>
                    <a:pt x="102" y="158"/>
                  </a:cubicBezTo>
                  <a:cubicBezTo>
                    <a:pt x="107" y="164"/>
                    <a:pt x="107" y="164"/>
                    <a:pt x="107" y="164"/>
                  </a:cubicBezTo>
                  <a:cubicBezTo>
                    <a:pt x="107" y="166"/>
                    <a:pt x="107" y="166"/>
                    <a:pt x="107" y="166"/>
                  </a:cubicBezTo>
                  <a:cubicBezTo>
                    <a:pt x="111" y="169"/>
                    <a:pt x="111" y="169"/>
                    <a:pt x="111" y="169"/>
                  </a:cubicBezTo>
                  <a:cubicBezTo>
                    <a:pt x="111" y="171"/>
                    <a:pt x="111" y="171"/>
                    <a:pt x="111" y="171"/>
                  </a:cubicBezTo>
                  <a:cubicBezTo>
                    <a:pt x="111" y="177"/>
                    <a:pt x="111" y="177"/>
                    <a:pt x="111" y="177"/>
                  </a:cubicBezTo>
                  <a:cubicBezTo>
                    <a:pt x="109" y="178"/>
                    <a:pt x="109" y="178"/>
                    <a:pt x="109" y="178"/>
                  </a:cubicBezTo>
                  <a:cubicBezTo>
                    <a:pt x="111" y="180"/>
                    <a:pt x="111" y="180"/>
                    <a:pt x="111" y="180"/>
                  </a:cubicBezTo>
                  <a:cubicBezTo>
                    <a:pt x="112" y="184"/>
                    <a:pt x="112" y="184"/>
                    <a:pt x="112" y="184"/>
                  </a:cubicBezTo>
                  <a:cubicBezTo>
                    <a:pt x="120" y="186"/>
                    <a:pt x="120" y="186"/>
                    <a:pt x="120" y="186"/>
                  </a:cubicBezTo>
                  <a:cubicBezTo>
                    <a:pt x="122" y="182"/>
                    <a:pt x="122" y="182"/>
                    <a:pt x="122" y="182"/>
                  </a:cubicBezTo>
                  <a:cubicBezTo>
                    <a:pt x="123" y="184"/>
                    <a:pt x="123" y="184"/>
                    <a:pt x="123" y="184"/>
                  </a:cubicBezTo>
                  <a:cubicBezTo>
                    <a:pt x="125" y="186"/>
                    <a:pt x="125" y="186"/>
                    <a:pt x="125" y="186"/>
                  </a:cubicBezTo>
                  <a:cubicBezTo>
                    <a:pt x="129" y="188"/>
                    <a:pt x="129" y="188"/>
                    <a:pt x="129" y="188"/>
                  </a:cubicBezTo>
                  <a:cubicBezTo>
                    <a:pt x="129" y="193"/>
                    <a:pt x="129" y="193"/>
                    <a:pt x="129" y="193"/>
                  </a:cubicBezTo>
                  <a:cubicBezTo>
                    <a:pt x="131" y="193"/>
                    <a:pt x="131" y="193"/>
                    <a:pt x="131" y="193"/>
                  </a:cubicBezTo>
                  <a:cubicBezTo>
                    <a:pt x="136" y="193"/>
                    <a:pt x="136" y="193"/>
                    <a:pt x="136" y="193"/>
                  </a:cubicBezTo>
                  <a:cubicBezTo>
                    <a:pt x="138" y="195"/>
                    <a:pt x="138" y="195"/>
                    <a:pt x="138" y="195"/>
                  </a:cubicBezTo>
                  <a:cubicBezTo>
                    <a:pt x="143" y="197"/>
                    <a:pt x="143" y="197"/>
                    <a:pt x="143" y="197"/>
                  </a:cubicBezTo>
                  <a:cubicBezTo>
                    <a:pt x="147" y="199"/>
                    <a:pt x="147" y="199"/>
                    <a:pt x="147" y="199"/>
                  </a:cubicBezTo>
                  <a:cubicBezTo>
                    <a:pt x="149" y="199"/>
                    <a:pt x="149" y="199"/>
                    <a:pt x="149" y="199"/>
                  </a:cubicBezTo>
                  <a:cubicBezTo>
                    <a:pt x="153" y="195"/>
                    <a:pt x="153" y="195"/>
                    <a:pt x="153" y="195"/>
                  </a:cubicBezTo>
                  <a:cubicBezTo>
                    <a:pt x="154" y="195"/>
                    <a:pt x="154" y="195"/>
                    <a:pt x="154" y="195"/>
                  </a:cubicBezTo>
                  <a:cubicBezTo>
                    <a:pt x="158" y="193"/>
                    <a:pt x="158" y="193"/>
                    <a:pt x="158" y="193"/>
                  </a:cubicBezTo>
                  <a:cubicBezTo>
                    <a:pt x="158" y="188"/>
                    <a:pt x="158" y="188"/>
                    <a:pt x="158" y="188"/>
                  </a:cubicBezTo>
                  <a:cubicBezTo>
                    <a:pt x="154" y="186"/>
                    <a:pt x="154" y="186"/>
                    <a:pt x="154" y="186"/>
                  </a:cubicBezTo>
                  <a:cubicBezTo>
                    <a:pt x="156" y="184"/>
                    <a:pt x="156" y="184"/>
                    <a:pt x="156" y="184"/>
                  </a:cubicBezTo>
                  <a:cubicBezTo>
                    <a:pt x="156" y="182"/>
                    <a:pt x="156" y="182"/>
                    <a:pt x="156" y="182"/>
                  </a:cubicBezTo>
                  <a:cubicBezTo>
                    <a:pt x="153" y="182"/>
                    <a:pt x="153" y="182"/>
                    <a:pt x="153" y="182"/>
                  </a:cubicBezTo>
                  <a:cubicBezTo>
                    <a:pt x="151" y="178"/>
                    <a:pt x="151" y="178"/>
                    <a:pt x="151" y="178"/>
                  </a:cubicBezTo>
                  <a:cubicBezTo>
                    <a:pt x="149" y="180"/>
                    <a:pt x="149" y="180"/>
                    <a:pt x="149" y="180"/>
                  </a:cubicBezTo>
                  <a:cubicBezTo>
                    <a:pt x="147" y="180"/>
                    <a:pt x="147" y="180"/>
                    <a:pt x="147" y="180"/>
                  </a:cubicBezTo>
                  <a:cubicBezTo>
                    <a:pt x="143" y="182"/>
                    <a:pt x="143" y="182"/>
                    <a:pt x="143" y="182"/>
                  </a:cubicBezTo>
                  <a:cubicBezTo>
                    <a:pt x="140" y="180"/>
                    <a:pt x="140" y="180"/>
                    <a:pt x="140" y="180"/>
                  </a:cubicBezTo>
                  <a:cubicBezTo>
                    <a:pt x="136" y="177"/>
                    <a:pt x="136" y="177"/>
                    <a:pt x="136" y="177"/>
                  </a:cubicBezTo>
                  <a:cubicBezTo>
                    <a:pt x="132" y="173"/>
                    <a:pt x="132" y="173"/>
                    <a:pt x="132" y="173"/>
                  </a:cubicBezTo>
                  <a:cubicBezTo>
                    <a:pt x="131" y="169"/>
                    <a:pt x="131" y="169"/>
                    <a:pt x="131" y="169"/>
                  </a:cubicBezTo>
                  <a:cubicBezTo>
                    <a:pt x="129" y="166"/>
                    <a:pt x="129" y="166"/>
                    <a:pt x="129" y="166"/>
                  </a:cubicBezTo>
                  <a:cubicBezTo>
                    <a:pt x="132" y="166"/>
                    <a:pt x="132" y="166"/>
                    <a:pt x="132" y="166"/>
                  </a:cubicBezTo>
                  <a:cubicBezTo>
                    <a:pt x="134" y="164"/>
                    <a:pt x="134" y="164"/>
                    <a:pt x="134" y="164"/>
                  </a:cubicBezTo>
                  <a:cubicBezTo>
                    <a:pt x="132" y="162"/>
                    <a:pt x="132" y="162"/>
                    <a:pt x="132" y="162"/>
                  </a:cubicBezTo>
                  <a:cubicBezTo>
                    <a:pt x="134" y="160"/>
                    <a:pt x="134" y="160"/>
                    <a:pt x="134" y="160"/>
                  </a:cubicBezTo>
                  <a:cubicBezTo>
                    <a:pt x="132" y="157"/>
                    <a:pt x="132" y="157"/>
                    <a:pt x="132" y="157"/>
                  </a:cubicBezTo>
                  <a:cubicBezTo>
                    <a:pt x="132" y="155"/>
                    <a:pt x="132" y="155"/>
                    <a:pt x="132" y="155"/>
                  </a:cubicBezTo>
                  <a:cubicBezTo>
                    <a:pt x="138" y="155"/>
                    <a:pt x="138" y="155"/>
                    <a:pt x="138" y="155"/>
                  </a:cubicBezTo>
                  <a:cubicBezTo>
                    <a:pt x="142" y="157"/>
                    <a:pt x="142" y="157"/>
                    <a:pt x="142" y="157"/>
                  </a:cubicBezTo>
                  <a:cubicBezTo>
                    <a:pt x="145" y="158"/>
                    <a:pt x="145" y="158"/>
                    <a:pt x="145" y="158"/>
                  </a:cubicBezTo>
                  <a:cubicBezTo>
                    <a:pt x="149" y="162"/>
                    <a:pt x="149" y="162"/>
                    <a:pt x="149" y="162"/>
                  </a:cubicBezTo>
                  <a:cubicBezTo>
                    <a:pt x="151" y="164"/>
                    <a:pt x="151" y="164"/>
                    <a:pt x="151" y="164"/>
                  </a:cubicBezTo>
                  <a:cubicBezTo>
                    <a:pt x="158" y="166"/>
                    <a:pt x="158" y="166"/>
                    <a:pt x="158" y="166"/>
                  </a:cubicBezTo>
                  <a:cubicBezTo>
                    <a:pt x="158" y="168"/>
                    <a:pt x="158" y="168"/>
                    <a:pt x="158" y="168"/>
                  </a:cubicBezTo>
                  <a:cubicBezTo>
                    <a:pt x="162" y="168"/>
                    <a:pt x="162" y="168"/>
                    <a:pt x="162" y="168"/>
                  </a:cubicBezTo>
                  <a:cubicBezTo>
                    <a:pt x="173" y="173"/>
                    <a:pt x="173" y="173"/>
                    <a:pt x="173" y="173"/>
                  </a:cubicBezTo>
                  <a:cubicBezTo>
                    <a:pt x="178" y="177"/>
                    <a:pt x="178" y="177"/>
                    <a:pt x="178" y="177"/>
                  </a:cubicBezTo>
                  <a:cubicBezTo>
                    <a:pt x="180" y="175"/>
                    <a:pt x="180" y="175"/>
                    <a:pt x="180" y="175"/>
                  </a:cubicBezTo>
                  <a:cubicBezTo>
                    <a:pt x="183" y="171"/>
                    <a:pt x="183" y="171"/>
                    <a:pt x="183" y="171"/>
                  </a:cubicBezTo>
                  <a:cubicBezTo>
                    <a:pt x="182" y="168"/>
                    <a:pt x="182" y="168"/>
                    <a:pt x="182" y="168"/>
                  </a:cubicBezTo>
                  <a:cubicBezTo>
                    <a:pt x="185" y="168"/>
                    <a:pt x="185" y="168"/>
                    <a:pt x="185" y="168"/>
                  </a:cubicBezTo>
                  <a:cubicBezTo>
                    <a:pt x="187" y="166"/>
                    <a:pt x="187" y="166"/>
                    <a:pt x="187" y="166"/>
                  </a:cubicBezTo>
                  <a:cubicBezTo>
                    <a:pt x="183" y="158"/>
                    <a:pt x="183" y="158"/>
                    <a:pt x="183" y="158"/>
                  </a:cubicBezTo>
                  <a:cubicBezTo>
                    <a:pt x="176" y="151"/>
                    <a:pt x="176" y="151"/>
                    <a:pt x="176" y="151"/>
                  </a:cubicBezTo>
                  <a:cubicBezTo>
                    <a:pt x="174" y="146"/>
                    <a:pt x="174" y="146"/>
                    <a:pt x="174" y="146"/>
                  </a:cubicBezTo>
                  <a:cubicBezTo>
                    <a:pt x="174" y="142"/>
                    <a:pt x="174" y="142"/>
                    <a:pt x="174" y="142"/>
                  </a:cubicBezTo>
                  <a:cubicBezTo>
                    <a:pt x="178" y="138"/>
                    <a:pt x="178" y="138"/>
                    <a:pt x="178" y="138"/>
                  </a:cubicBezTo>
                  <a:cubicBezTo>
                    <a:pt x="183" y="133"/>
                    <a:pt x="183" y="133"/>
                    <a:pt x="183" y="133"/>
                  </a:cubicBezTo>
                  <a:cubicBezTo>
                    <a:pt x="183" y="129"/>
                    <a:pt x="183" y="129"/>
                    <a:pt x="183" y="129"/>
                  </a:cubicBezTo>
                  <a:cubicBezTo>
                    <a:pt x="187" y="126"/>
                    <a:pt x="187" y="126"/>
                    <a:pt x="187" y="126"/>
                  </a:cubicBezTo>
                  <a:cubicBezTo>
                    <a:pt x="191" y="126"/>
                    <a:pt x="191" y="126"/>
                    <a:pt x="191" y="126"/>
                  </a:cubicBezTo>
                  <a:cubicBezTo>
                    <a:pt x="196" y="120"/>
                    <a:pt x="196" y="120"/>
                    <a:pt x="196" y="120"/>
                  </a:cubicBezTo>
                  <a:cubicBezTo>
                    <a:pt x="200" y="113"/>
                    <a:pt x="200" y="113"/>
                    <a:pt x="200" y="113"/>
                  </a:cubicBezTo>
                  <a:cubicBezTo>
                    <a:pt x="202" y="111"/>
                    <a:pt x="202" y="111"/>
                    <a:pt x="202" y="111"/>
                  </a:cubicBezTo>
                  <a:cubicBezTo>
                    <a:pt x="207" y="111"/>
                    <a:pt x="207" y="111"/>
                    <a:pt x="207" y="111"/>
                  </a:cubicBezTo>
                  <a:cubicBezTo>
                    <a:pt x="211" y="115"/>
                    <a:pt x="211" y="115"/>
                    <a:pt x="211" y="115"/>
                  </a:cubicBezTo>
                  <a:cubicBezTo>
                    <a:pt x="214" y="113"/>
                    <a:pt x="214" y="113"/>
                    <a:pt x="214" y="113"/>
                  </a:cubicBezTo>
                  <a:cubicBezTo>
                    <a:pt x="220" y="115"/>
                    <a:pt x="220" y="115"/>
                    <a:pt x="220" y="115"/>
                  </a:cubicBezTo>
                  <a:cubicBezTo>
                    <a:pt x="222" y="117"/>
                    <a:pt x="222" y="117"/>
                    <a:pt x="222" y="117"/>
                  </a:cubicBezTo>
                  <a:cubicBezTo>
                    <a:pt x="222" y="120"/>
                    <a:pt x="222" y="120"/>
                    <a:pt x="222" y="120"/>
                  </a:cubicBezTo>
                  <a:cubicBezTo>
                    <a:pt x="225" y="117"/>
                    <a:pt x="225" y="117"/>
                    <a:pt x="225" y="117"/>
                  </a:cubicBezTo>
                  <a:cubicBezTo>
                    <a:pt x="231" y="120"/>
                    <a:pt x="231" y="120"/>
                    <a:pt x="231" y="120"/>
                  </a:cubicBezTo>
                  <a:cubicBezTo>
                    <a:pt x="231" y="124"/>
                    <a:pt x="231" y="124"/>
                    <a:pt x="231" y="124"/>
                  </a:cubicBezTo>
                  <a:cubicBezTo>
                    <a:pt x="234" y="126"/>
                    <a:pt x="234" y="126"/>
                    <a:pt x="234" y="126"/>
                  </a:cubicBezTo>
                  <a:cubicBezTo>
                    <a:pt x="233" y="120"/>
                    <a:pt x="233" y="120"/>
                    <a:pt x="233" y="120"/>
                  </a:cubicBezTo>
                  <a:cubicBezTo>
                    <a:pt x="231" y="115"/>
                    <a:pt x="231" y="115"/>
                    <a:pt x="231" y="115"/>
                  </a:cubicBezTo>
                  <a:cubicBezTo>
                    <a:pt x="233" y="113"/>
                    <a:pt x="233" y="113"/>
                    <a:pt x="233" y="113"/>
                  </a:cubicBezTo>
                  <a:cubicBezTo>
                    <a:pt x="233" y="106"/>
                    <a:pt x="233" y="106"/>
                    <a:pt x="233" y="106"/>
                  </a:cubicBezTo>
                  <a:cubicBezTo>
                    <a:pt x="233" y="102"/>
                    <a:pt x="233" y="102"/>
                    <a:pt x="233" y="102"/>
                  </a:cubicBezTo>
                  <a:cubicBezTo>
                    <a:pt x="233" y="102"/>
                    <a:pt x="233" y="102"/>
                    <a:pt x="233" y="102"/>
                  </a:cubicBezTo>
                  <a:cubicBezTo>
                    <a:pt x="231" y="100"/>
                    <a:pt x="231" y="100"/>
                    <a:pt x="231" y="100"/>
                  </a:cubicBezTo>
                  <a:cubicBezTo>
                    <a:pt x="233" y="98"/>
                    <a:pt x="233" y="98"/>
                    <a:pt x="233" y="98"/>
                  </a:cubicBezTo>
                  <a:cubicBezTo>
                    <a:pt x="231" y="95"/>
                    <a:pt x="231" y="95"/>
                    <a:pt x="231" y="95"/>
                  </a:cubicBezTo>
                  <a:cubicBezTo>
                    <a:pt x="233" y="95"/>
                    <a:pt x="233" y="95"/>
                    <a:pt x="233" y="95"/>
                  </a:cubicBezTo>
                  <a:cubicBezTo>
                    <a:pt x="229" y="91"/>
                    <a:pt x="229" y="91"/>
                    <a:pt x="229" y="91"/>
                  </a:cubicBezTo>
                  <a:cubicBezTo>
                    <a:pt x="225" y="89"/>
                    <a:pt x="225" y="89"/>
                    <a:pt x="225" y="89"/>
                  </a:cubicBezTo>
                  <a:cubicBezTo>
                    <a:pt x="222" y="89"/>
                    <a:pt x="222" y="89"/>
                    <a:pt x="222" y="89"/>
                  </a:cubicBezTo>
                  <a:cubicBezTo>
                    <a:pt x="220" y="86"/>
                    <a:pt x="220" y="86"/>
                    <a:pt x="220" y="86"/>
                  </a:cubicBezTo>
                  <a:cubicBezTo>
                    <a:pt x="222" y="80"/>
                    <a:pt x="222" y="80"/>
                    <a:pt x="222" y="80"/>
                  </a:cubicBezTo>
                  <a:cubicBezTo>
                    <a:pt x="222" y="73"/>
                    <a:pt x="222" y="73"/>
                    <a:pt x="222" y="73"/>
                  </a:cubicBezTo>
                  <a:cubicBezTo>
                    <a:pt x="222" y="71"/>
                    <a:pt x="222" y="71"/>
                    <a:pt x="222" y="71"/>
                  </a:cubicBezTo>
                  <a:cubicBezTo>
                    <a:pt x="222" y="69"/>
                    <a:pt x="222" y="69"/>
                    <a:pt x="222" y="69"/>
                  </a:cubicBezTo>
                  <a:cubicBezTo>
                    <a:pt x="222" y="66"/>
                    <a:pt x="222" y="66"/>
                    <a:pt x="222" y="66"/>
                  </a:cubicBezTo>
                  <a:cubicBezTo>
                    <a:pt x="224" y="66"/>
                    <a:pt x="224" y="66"/>
                    <a:pt x="224" y="66"/>
                  </a:cubicBezTo>
                  <a:cubicBezTo>
                    <a:pt x="222" y="62"/>
                    <a:pt x="222" y="62"/>
                    <a:pt x="222" y="62"/>
                  </a:cubicBezTo>
                  <a:cubicBezTo>
                    <a:pt x="222" y="58"/>
                    <a:pt x="222" y="58"/>
                    <a:pt x="222" y="58"/>
                  </a:cubicBezTo>
                  <a:cubicBezTo>
                    <a:pt x="218" y="51"/>
                    <a:pt x="218" y="51"/>
                    <a:pt x="218" y="51"/>
                  </a:cubicBezTo>
                  <a:cubicBezTo>
                    <a:pt x="213" y="47"/>
                    <a:pt x="213" y="47"/>
                    <a:pt x="213" y="47"/>
                  </a:cubicBezTo>
                  <a:cubicBezTo>
                    <a:pt x="205" y="40"/>
                    <a:pt x="205" y="40"/>
                    <a:pt x="205" y="40"/>
                  </a:cubicBezTo>
                  <a:cubicBezTo>
                    <a:pt x="205" y="38"/>
                    <a:pt x="205" y="38"/>
                    <a:pt x="205" y="38"/>
                  </a:cubicBezTo>
                  <a:cubicBezTo>
                    <a:pt x="209" y="38"/>
                    <a:pt x="209" y="38"/>
                    <a:pt x="209" y="38"/>
                  </a:cubicBezTo>
                  <a:cubicBezTo>
                    <a:pt x="216" y="44"/>
                    <a:pt x="216" y="44"/>
                    <a:pt x="216" y="44"/>
                  </a:cubicBezTo>
                  <a:cubicBezTo>
                    <a:pt x="220" y="44"/>
                    <a:pt x="220" y="44"/>
                    <a:pt x="220" y="44"/>
                  </a:cubicBezTo>
                  <a:cubicBezTo>
                    <a:pt x="224" y="42"/>
                    <a:pt x="224" y="42"/>
                    <a:pt x="224" y="42"/>
                  </a:cubicBezTo>
                  <a:cubicBezTo>
                    <a:pt x="229" y="42"/>
                    <a:pt x="229" y="42"/>
                    <a:pt x="229" y="42"/>
                  </a:cubicBezTo>
                  <a:cubicBezTo>
                    <a:pt x="238" y="42"/>
                    <a:pt x="238" y="42"/>
                    <a:pt x="238" y="42"/>
                  </a:cubicBezTo>
                  <a:cubicBezTo>
                    <a:pt x="244" y="46"/>
                    <a:pt x="244" y="46"/>
                    <a:pt x="244" y="46"/>
                  </a:cubicBezTo>
                  <a:cubicBezTo>
                    <a:pt x="242" y="49"/>
                    <a:pt x="242" y="49"/>
                    <a:pt x="242" y="49"/>
                  </a:cubicBezTo>
                  <a:cubicBezTo>
                    <a:pt x="245" y="53"/>
                    <a:pt x="245" y="53"/>
                    <a:pt x="245" y="53"/>
                  </a:cubicBezTo>
                  <a:cubicBezTo>
                    <a:pt x="251" y="53"/>
                    <a:pt x="251" y="53"/>
                    <a:pt x="251" y="53"/>
                  </a:cubicBezTo>
                  <a:cubicBezTo>
                    <a:pt x="251" y="56"/>
                    <a:pt x="251" y="56"/>
                    <a:pt x="251" y="56"/>
                  </a:cubicBezTo>
                  <a:cubicBezTo>
                    <a:pt x="256" y="62"/>
                    <a:pt x="256" y="62"/>
                    <a:pt x="256" y="62"/>
                  </a:cubicBezTo>
                  <a:cubicBezTo>
                    <a:pt x="255" y="64"/>
                    <a:pt x="255" y="64"/>
                    <a:pt x="255" y="64"/>
                  </a:cubicBezTo>
                  <a:cubicBezTo>
                    <a:pt x="249" y="64"/>
                    <a:pt x="249" y="64"/>
                    <a:pt x="249" y="64"/>
                  </a:cubicBezTo>
                  <a:cubicBezTo>
                    <a:pt x="247" y="67"/>
                    <a:pt x="247" y="67"/>
                    <a:pt x="247" y="67"/>
                  </a:cubicBezTo>
                  <a:cubicBezTo>
                    <a:pt x="242" y="67"/>
                    <a:pt x="242" y="67"/>
                    <a:pt x="242" y="67"/>
                  </a:cubicBezTo>
                  <a:cubicBezTo>
                    <a:pt x="240" y="69"/>
                    <a:pt x="240" y="69"/>
                    <a:pt x="240" y="69"/>
                  </a:cubicBezTo>
                  <a:cubicBezTo>
                    <a:pt x="240" y="71"/>
                    <a:pt x="240" y="71"/>
                    <a:pt x="240" y="71"/>
                  </a:cubicBezTo>
                  <a:cubicBezTo>
                    <a:pt x="240" y="73"/>
                    <a:pt x="240" y="73"/>
                    <a:pt x="240" y="73"/>
                  </a:cubicBezTo>
                  <a:cubicBezTo>
                    <a:pt x="238" y="73"/>
                    <a:pt x="238" y="73"/>
                    <a:pt x="238" y="73"/>
                  </a:cubicBezTo>
                  <a:cubicBezTo>
                    <a:pt x="236" y="75"/>
                    <a:pt x="236" y="75"/>
                    <a:pt x="236" y="75"/>
                  </a:cubicBezTo>
                  <a:cubicBezTo>
                    <a:pt x="236" y="78"/>
                    <a:pt x="236" y="78"/>
                    <a:pt x="236" y="78"/>
                  </a:cubicBezTo>
                  <a:cubicBezTo>
                    <a:pt x="238" y="80"/>
                    <a:pt x="238" y="80"/>
                    <a:pt x="238" y="80"/>
                  </a:cubicBezTo>
                  <a:cubicBezTo>
                    <a:pt x="245" y="86"/>
                    <a:pt x="245" y="86"/>
                    <a:pt x="245" y="86"/>
                  </a:cubicBezTo>
                  <a:cubicBezTo>
                    <a:pt x="253" y="95"/>
                    <a:pt x="253" y="95"/>
                    <a:pt x="253" y="95"/>
                  </a:cubicBezTo>
                  <a:cubicBezTo>
                    <a:pt x="256" y="95"/>
                    <a:pt x="256" y="95"/>
                    <a:pt x="256" y="95"/>
                  </a:cubicBezTo>
                  <a:cubicBezTo>
                    <a:pt x="260" y="93"/>
                    <a:pt x="260" y="93"/>
                    <a:pt x="260" y="93"/>
                  </a:cubicBezTo>
                  <a:cubicBezTo>
                    <a:pt x="262" y="97"/>
                    <a:pt x="262" y="97"/>
                    <a:pt x="262" y="97"/>
                  </a:cubicBezTo>
                  <a:cubicBezTo>
                    <a:pt x="264" y="95"/>
                    <a:pt x="264" y="95"/>
                    <a:pt x="264" y="95"/>
                  </a:cubicBezTo>
                  <a:cubicBezTo>
                    <a:pt x="267" y="95"/>
                    <a:pt x="267" y="95"/>
                    <a:pt x="267" y="95"/>
                  </a:cubicBezTo>
                  <a:cubicBezTo>
                    <a:pt x="269" y="93"/>
                    <a:pt x="269" y="93"/>
                    <a:pt x="269" y="93"/>
                  </a:cubicBezTo>
                  <a:cubicBezTo>
                    <a:pt x="275" y="89"/>
                    <a:pt x="275" y="89"/>
                    <a:pt x="275" y="89"/>
                  </a:cubicBezTo>
                  <a:cubicBezTo>
                    <a:pt x="276" y="86"/>
                    <a:pt x="276" y="86"/>
                    <a:pt x="276" y="86"/>
                  </a:cubicBezTo>
                  <a:cubicBezTo>
                    <a:pt x="275" y="80"/>
                    <a:pt x="275" y="80"/>
                    <a:pt x="275" y="80"/>
                  </a:cubicBezTo>
                  <a:cubicBezTo>
                    <a:pt x="276" y="76"/>
                    <a:pt x="276" y="76"/>
                    <a:pt x="276" y="76"/>
                  </a:cubicBezTo>
                  <a:cubicBezTo>
                    <a:pt x="276" y="73"/>
                    <a:pt x="276" y="73"/>
                    <a:pt x="276" y="73"/>
                  </a:cubicBezTo>
                  <a:cubicBezTo>
                    <a:pt x="275" y="71"/>
                    <a:pt x="275" y="71"/>
                    <a:pt x="275" y="71"/>
                  </a:cubicBezTo>
                  <a:cubicBezTo>
                    <a:pt x="276" y="69"/>
                    <a:pt x="276" y="69"/>
                    <a:pt x="276" y="69"/>
                  </a:cubicBezTo>
                  <a:cubicBezTo>
                    <a:pt x="285" y="67"/>
                    <a:pt x="285" y="67"/>
                    <a:pt x="285" y="67"/>
                  </a:cubicBezTo>
                  <a:cubicBezTo>
                    <a:pt x="287" y="66"/>
                    <a:pt x="287" y="66"/>
                    <a:pt x="287" y="66"/>
                  </a:cubicBezTo>
                  <a:cubicBezTo>
                    <a:pt x="293" y="67"/>
                    <a:pt x="293" y="67"/>
                    <a:pt x="293" y="67"/>
                  </a:cubicBezTo>
                  <a:cubicBezTo>
                    <a:pt x="291" y="66"/>
                    <a:pt x="291" y="66"/>
                    <a:pt x="291" y="66"/>
                  </a:cubicBezTo>
                  <a:cubicBezTo>
                    <a:pt x="287" y="62"/>
                    <a:pt x="287" y="62"/>
                    <a:pt x="287" y="62"/>
                  </a:cubicBezTo>
                  <a:cubicBezTo>
                    <a:pt x="285" y="58"/>
                    <a:pt x="285" y="58"/>
                    <a:pt x="285" y="58"/>
                  </a:cubicBezTo>
                  <a:cubicBezTo>
                    <a:pt x="287" y="58"/>
                    <a:pt x="287" y="58"/>
                    <a:pt x="287" y="58"/>
                  </a:cubicBezTo>
                  <a:cubicBezTo>
                    <a:pt x="289" y="60"/>
                    <a:pt x="289" y="60"/>
                    <a:pt x="289" y="60"/>
                  </a:cubicBezTo>
                  <a:cubicBezTo>
                    <a:pt x="293" y="60"/>
                    <a:pt x="293" y="60"/>
                    <a:pt x="293" y="60"/>
                  </a:cubicBezTo>
                  <a:cubicBezTo>
                    <a:pt x="298" y="51"/>
                    <a:pt x="298" y="51"/>
                    <a:pt x="298" y="51"/>
                  </a:cubicBezTo>
                  <a:cubicBezTo>
                    <a:pt x="300" y="51"/>
                    <a:pt x="300" y="51"/>
                    <a:pt x="300" y="51"/>
                  </a:cubicBezTo>
                  <a:cubicBezTo>
                    <a:pt x="307" y="42"/>
                    <a:pt x="307" y="42"/>
                    <a:pt x="307" y="42"/>
                  </a:cubicBezTo>
                  <a:cubicBezTo>
                    <a:pt x="307" y="40"/>
                    <a:pt x="307" y="40"/>
                    <a:pt x="307" y="40"/>
                  </a:cubicBezTo>
                  <a:cubicBezTo>
                    <a:pt x="309" y="40"/>
                    <a:pt x="309" y="40"/>
                    <a:pt x="309" y="40"/>
                  </a:cubicBezTo>
                  <a:cubicBezTo>
                    <a:pt x="313" y="40"/>
                    <a:pt x="313" y="40"/>
                    <a:pt x="313" y="40"/>
                  </a:cubicBezTo>
                  <a:cubicBezTo>
                    <a:pt x="318" y="38"/>
                    <a:pt x="318" y="38"/>
                    <a:pt x="318" y="38"/>
                  </a:cubicBezTo>
                  <a:cubicBezTo>
                    <a:pt x="318" y="36"/>
                    <a:pt x="318" y="36"/>
                    <a:pt x="318" y="36"/>
                  </a:cubicBezTo>
                  <a:cubicBezTo>
                    <a:pt x="326" y="33"/>
                    <a:pt x="326" y="33"/>
                    <a:pt x="326" y="33"/>
                  </a:cubicBezTo>
                  <a:cubicBezTo>
                    <a:pt x="326" y="36"/>
                    <a:pt x="326" y="36"/>
                    <a:pt x="326" y="36"/>
                  </a:cubicBezTo>
                  <a:cubicBezTo>
                    <a:pt x="327" y="36"/>
                    <a:pt x="327" y="36"/>
                    <a:pt x="327" y="36"/>
                  </a:cubicBezTo>
                  <a:cubicBezTo>
                    <a:pt x="327" y="38"/>
                    <a:pt x="327" y="38"/>
                    <a:pt x="327" y="38"/>
                  </a:cubicBezTo>
                  <a:cubicBezTo>
                    <a:pt x="327" y="42"/>
                    <a:pt x="327" y="42"/>
                    <a:pt x="327" y="42"/>
                  </a:cubicBezTo>
                  <a:cubicBezTo>
                    <a:pt x="329" y="42"/>
                    <a:pt x="329" y="42"/>
                    <a:pt x="329" y="42"/>
                  </a:cubicBezTo>
                  <a:cubicBezTo>
                    <a:pt x="333" y="38"/>
                    <a:pt x="333" y="38"/>
                    <a:pt x="333" y="38"/>
                  </a:cubicBezTo>
                  <a:cubicBezTo>
                    <a:pt x="333" y="36"/>
                    <a:pt x="333" y="36"/>
                    <a:pt x="333" y="36"/>
                  </a:cubicBezTo>
                  <a:cubicBezTo>
                    <a:pt x="331" y="35"/>
                    <a:pt x="331" y="35"/>
                    <a:pt x="331" y="35"/>
                  </a:cubicBezTo>
                  <a:cubicBezTo>
                    <a:pt x="329" y="33"/>
                    <a:pt x="329" y="33"/>
                    <a:pt x="329" y="33"/>
                  </a:cubicBezTo>
                  <a:cubicBezTo>
                    <a:pt x="329" y="31"/>
                    <a:pt x="329" y="31"/>
                    <a:pt x="329" y="31"/>
                  </a:cubicBezTo>
                  <a:cubicBezTo>
                    <a:pt x="335" y="25"/>
                    <a:pt x="335" y="25"/>
                    <a:pt x="335" y="25"/>
                  </a:cubicBezTo>
                  <a:cubicBezTo>
                    <a:pt x="336" y="24"/>
                    <a:pt x="336" y="24"/>
                    <a:pt x="336" y="24"/>
                  </a:cubicBezTo>
                  <a:cubicBezTo>
                    <a:pt x="336" y="27"/>
                    <a:pt x="336" y="27"/>
                    <a:pt x="336" y="27"/>
                  </a:cubicBezTo>
                  <a:cubicBezTo>
                    <a:pt x="335" y="27"/>
                    <a:pt x="335" y="27"/>
                    <a:pt x="335" y="27"/>
                  </a:cubicBezTo>
                  <a:cubicBezTo>
                    <a:pt x="335" y="29"/>
                    <a:pt x="335" y="29"/>
                    <a:pt x="335" y="29"/>
                  </a:cubicBezTo>
                  <a:cubicBezTo>
                    <a:pt x="336" y="33"/>
                    <a:pt x="336" y="33"/>
                    <a:pt x="336" y="33"/>
                  </a:cubicBezTo>
                  <a:cubicBezTo>
                    <a:pt x="340" y="33"/>
                    <a:pt x="340" y="33"/>
                    <a:pt x="340" y="33"/>
                  </a:cubicBezTo>
                  <a:cubicBezTo>
                    <a:pt x="342" y="29"/>
                    <a:pt x="342" y="29"/>
                    <a:pt x="342" y="29"/>
                  </a:cubicBezTo>
                  <a:cubicBezTo>
                    <a:pt x="340" y="27"/>
                    <a:pt x="340" y="27"/>
                    <a:pt x="340" y="27"/>
                  </a:cubicBezTo>
                  <a:cubicBezTo>
                    <a:pt x="338" y="24"/>
                    <a:pt x="338" y="24"/>
                    <a:pt x="338" y="24"/>
                  </a:cubicBezTo>
                  <a:cubicBezTo>
                    <a:pt x="338" y="22"/>
                    <a:pt x="338" y="22"/>
                    <a:pt x="338" y="22"/>
                  </a:cubicBezTo>
                  <a:cubicBezTo>
                    <a:pt x="340" y="20"/>
                    <a:pt x="340" y="20"/>
                    <a:pt x="340" y="20"/>
                  </a:cubicBezTo>
                  <a:cubicBezTo>
                    <a:pt x="349" y="16"/>
                    <a:pt x="349" y="16"/>
                    <a:pt x="349" y="16"/>
                  </a:cubicBezTo>
                  <a:cubicBezTo>
                    <a:pt x="355" y="16"/>
                    <a:pt x="355" y="16"/>
                    <a:pt x="355" y="16"/>
                  </a:cubicBezTo>
                  <a:cubicBezTo>
                    <a:pt x="357" y="16"/>
                    <a:pt x="357" y="16"/>
                    <a:pt x="357" y="16"/>
                  </a:cubicBezTo>
                  <a:cubicBezTo>
                    <a:pt x="353" y="18"/>
                    <a:pt x="353" y="18"/>
                    <a:pt x="353" y="18"/>
                  </a:cubicBezTo>
                  <a:cubicBezTo>
                    <a:pt x="351" y="18"/>
                    <a:pt x="351" y="18"/>
                    <a:pt x="351" y="18"/>
                  </a:cubicBezTo>
                  <a:cubicBezTo>
                    <a:pt x="344" y="22"/>
                    <a:pt x="344" y="22"/>
                    <a:pt x="344" y="22"/>
                  </a:cubicBezTo>
                  <a:cubicBezTo>
                    <a:pt x="346" y="24"/>
                    <a:pt x="346" y="24"/>
                    <a:pt x="346" y="24"/>
                  </a:cubicBezTo>
                  <a:cubicBezTo>
                    <a:pt x="347" y="24"/>
                    <a:pt x="347" y="24"/>
                    <a:pt x="347" y="24"/>
                  </a:cubicBezTo>
                  <a:cubicBezTo>
                    <a:pt x="349" y="24"/>
                    <a:pt x="349" y="24"/>
                    <a:pt x="349" y="24"/>
                  </a:cubicBezTo>
                  <a:cubicBezTo>
                    <a:pt x="353" y="27"/>
                    <a:pt x="353" y="27"/>
                    <a:pt x="353" y="27"/>
                  </a:cubicBezTo>
                  <a:cubicBezTo>
                    <a:pt x="351" y="27"/>
                    <a:pt x="351" y="27"/>
                    <a:pt x="351" y="27"/>
                  </a:cubicBezTo>
                  <a:cubicBezTo>
                    <a:pt x="351" y="29"/>
                    <a:pt x="351" y="29"/>
                    <a:pt x="351" y="29"/>
                  </a:cubicBezTo>
                  <a:cubicBezTo>
                    <a:pt x="353" y="33"/>
                    <a:pt x="353" y="33"/>
                    <a:pt x="353" y="33"/>
                  </a:cubicBezTo>
                  <a:cubicBezTo>
                    <a:pt x="351" y="35"/>
                    <a:pt x="351" y="35"/>
                    <a:pt x="351" y="35"/>
                  </a:cubicBezTo>
                  <a:cubicBezTo>
                    <a:pt x="347" y="35"/>
                    <a:pt x="347" y="35"/>
                    <a:pt x="347" y="35"/>
                  </a:cubicBezTo>
                  <a:cubicBezTo>
                    <a:pt x="344" y="38"/>
                    <a:pt x="344" y="38"/>
                    <a:pt x="344" y="38"/>
                  </a:cubicBezTo>
                  <a:cubicBezTo>
                    <a:pt x="346" y="42"/>
                    <a:pt x="346" y="42"/>
                    <a:pt x="346" y="42"/>
                  </a:cubicBezTo>
                  <a:cubicBezTo>
                    <a:pt x="347" y="42"/>
                    <a:pt x="347" y="42"/>
                    <a:pt x="347" y="42"/>
                  </a:cubicBezTo>
                  <a:cubicBezTo>
                    <a:pt x="349" y="42"/>
                    <a:pt x="349" y="42"/>
                    <a:pt x="349" y="42"/>
                  </a:cubicBezTo>
                  <a:cubicBezTo>
                    <a:pt x="353" y="42"/>
                    <a:pt x="353" y="42"/>
                    <a:pt x="353" y="42"/>
                  </a:cubicBezTo>
                  <a:cubicBezTo>
                    <a:pt x="355" y="40"/>
                    <a:pt x="355" y="40"/>
                    <a:pt x="355" y="40"/>
                  </a:cubicBezTo>
                  <a:cubicBezTo>
                    <a:pt x="358" y="42"/>
                    <a:pt x="358" y="42"/>
                    <a:pt x="358" y="42"/>
                  </a:cubicBezTo>
                  <a:cubicBezTo>
                    <a:pt x="358" y="46"/>
                    <a:pt x="358" y="46"/>
                    <a:pt x="358" y="46"/>
                  </a:cubicBezTo>
                  <a:cubicBezTo>
                    <a:pt x="360" y="42"/>
                    <a:pt x="360" y="42"/>
                    <a:pt x="360" y="42"/>
                  </a:cubicBezTo>
                  <a:cubicBezTo>
                    <a:pt x="364" y="36"/>
                    <a:pt x="364" y="36"/>
                    <a:pt x="364" y="36"/>
                  </a:cubicBezTo>
                  <a:cubicBezTo>
                    <a:pt x="366" y="36"/>
                    <a:pt x="366" y="36"/>
                    <a:pt x="366" y="36"/>
                  </a:cubicBezTo>
                  <a:cubicBezTo>
                    <a:pt x="367" y="40"/>
                    <a:pt x="367" y="40"/>
                    <a:pt x="367" y="40"/>
                  </a:cubicBezTo>
                  <a:cubicBezTo>
                    <a:pt x="369" y="42"/>
                    <a:pt x="369" y="42"/>
                    <a:pt x="369" y="42"/>
                  </a:cubicBezTo>
                  <a:cubicBezTo>
                    <a:pt x="371" y="40"/>
                    <a:pt x="371" y="40"/>
                    <a:pt x="371" y="40"/>
                  </a:cubicBezTo>
                  <a:cubicBezTo>
                    <a:pt x="369" y="38"/>
                    <a:pt x="369" y="38"/>
                    <a:pt x="369" y="38"/>
                  </a:cubicBezTo>
                  <a:cubicBezTo>
                    <a:pt x="371" y="36"/>
                    <a:pt x="371" y="36"/>
                    <a:pt x="371" y="36"/>
                  </a:cubicBezTo>
                  <a:cubicBezTo>
                    <a:pt x="367" y="35"/>
                    <a:pt x="367" y="35"/>
                    <a:pt x="367" y="35"/>
                  </a:cubicBezTo>
                  <a:cubicBezTo>
                    <a:pt x="367" y="33"/>
                    <a:pt x="367" y="33"/>
                    <a:pt x="367" y="33"/>
                  </a:cubicBezTo>
                  <a:cubicBezTo>
                    <a:pt x="371" y="29"/>
                    <a:pt x="371" y="29"/>
                    <a:pt x="371" y="29"/>
                  </a:cubicBezTo>
                  <a:cubicBezTo>
                    <a:pt x="375" y="29"/>
                    <a:pt x="375" y="29"/>
                    <a:pt x="375" y="29"/>
                  </a:cubicBezTo>
                  <a:cubicBezTo>
                    <a:pt x="375" y="27"/>
                    <a:pt x="375" y="27"/>
                    <a:pt x="375" y="27"/>
                  </a:cubicBezTo>
                  <a:cubicBezTo>
                    <a:pt x="380" y="24"/>
                    <a:pt x="380" y="24"/>
                    <a:pt x="380" y="24"/>
                  </a:cubicBezTo>
                  <a:cubicBezTo>
                    <a:pt x="382" y="25"/>
                    <a:pt x="382" y="25"/>
                    <a:pt x="382" y="25"/>
                  </a:cubicBezTo>
                  <a:cubicBezTo>
                    <a:pt x="384" y="25"/>
                    <a:pt x="384" y="25"/>
                    <a:pt x="384" y="25"/>
                  </a:cubicBezTo>
                  <a:cubicBezTo>
                    <a:pt x="386" y="25"/>
                    <a:pt x="386" y="25"/>
                    <a:pt x="386" y="25"/>
                  </a:cubicBezTo>
                  <a:cubicBezTo>
                    <a:pt x="389" y="25"/>
                    <a:pt x="389" y="25"/>
                    <a:pt x="389" y="25"/>
                  </a:cubicBezTo>
                  <a:cubicBezTo>
                    <a:pt x="397" y="25"/>
                    <a:pt x="397" y="25"/>
                    <a:pt x="397" y="25"/>
                  </a:cubicBezTo>
                  <a:cubicBezTo>
                    <a:pt x="398" y="24"/>
                    <a:pt x="398" y="24"/>
                    <a:pt x="398" y="24"/>
                  </a:cubicBezTo>
                  <a:cubicBezTo>
                    <a:pt x="398" y="22"/>
                    <a:pt x="398" y="22"/>
                    <a:pt x="398" y="22"/>
                  </a:cubicBezTo>
                  <a:cubicBezTo>
                    <a:pt x="400" y="20"/>
                    <a:pt x="400" y="20"/>
                    <a:pt x="400" y="20"/>
                  </a:cubicBezTo>
                  <a:cubicBezTo>
                    <a:pt x="404" y="20"/>
                    <a:pt x="404" y="20"/>
                    <a:pt x="404" y="20"/>
                  </a:cubicBezTo>
                  <a:cubicBezTo>
                    <a:pt x="406" y="18"/>
                    <a:pt x="406" y="18"/>
                    <a:pt x="406" y="18"/>
                  </a:cubicBezTo>
                  <a:cubicBezTo>
                    <a:pt x="408" y="15"/>
                    <a:pt x="408" y="15"/>
                    <a:pt x="408" y="15"/>
                  </a:cubicBezTo>
                  <a:cubicBezTo>
                    <a:pt x="411" y="15"/>
                    <a:pt x="411" y="15"/>
                    <a:pt x="411" y="15"/>
                  </a:cubicBezTo>
                  <a:cubicBezTo>
                    <a:pt x="415" y="9"/>
                    <a:pt x="415" y="9"/>
                    <a:pt x="415" y="9"/>
                  </a:cubicBezTo>
                  <a:cubicBezTo>
                    <a:pt x="417" y="9"/>
                    <a:pt x="417" y="9"/>
                    <a:pt x="417" y="9"/>
                  </a:cubicBezTo>
                  <a:moveTo>
                    <a:pt x="120" y="164"/>
                  </a:moveTo>
                  <a:cubicBezTo>
                    <a:pt x="118" y="160"/>
                    <a:pt x="118" y="160"/>
                    <a:pt x="118" y="160"/>
                  </a:cubicBezTo>
                  <a:cubicBezTo>
                    <a:pt x="120" y="158"/>
                    <a:pt x="120" y="158"/>
                    <a:pt x="120" y="158"/>
                  </a:cubicBezTo>
                  <a:cubicBezTo>
                    <a:pt x="120" y="157"/>
                    <a:pt x="120" y="157"/>
                    <a:pt x="120" y="157"/>
                  </a:cubicBezTo>
                  <a:cubicBezTo>
                    <a:pt x="116" y="157"/>
                    <a:pt x="116" y="157"/>
                    <a:pt x="116" y="157"/>
                  </a:cubicBezTo>
                  <a:cubicBezTo>
                    <a:pt x="114" y="158"/>
                    <a:pt x="114" y="158"/>
                    <a:pt x="114" y="158"/>
                  </a:cubicBezTo>
                  <a:cubicBezTo>
                    <a:pt x="114" y="160"/>
                    <a:pt x="114" y="160"/>
                    <a:pt x="114" y="160"/>
                  </a:cubicBezTo>
                  <a:cubicBezTo>
                    <a:pt x="118" y="164"/>
                    <a:pt x="118" y="164"/>
                    <a:pt x="118" y="164"/>
                  </a:cubicBezTo>
                  <a:cubicBezTo>
                    <a:pt x="118" y="166"/>
                    <a:pt x="118" y="166"/>
                    <a:pt x="118" y="166"/>
                  </a:cubicBezTo>
                  <a:cubicBezTo>
                    <a:pt x="120" y="166"/>
                    <a:pt x="120" y="166"/>
                    <a:pt x="120" y="166"/>
                  </a:cubicBezTo>
                  <a:cubicBezTo>
                    <a:pt x="120" y="164"/>
                    <a:pt x="120" y="164"/>
                    <a:pt x="120" y="164"/>
                  </a:cubicBezTo>
                  <a:close/>
                  <a:moveTo>
                    <a:pt x="209" y="107"/>
                  </a:moveTo>
                  <a:cubicBezTo>
                    <a:pt x="211" y="106"/>
                    <a:pt x="211" y="106"/>
                    <a:pt x="211" y="106"/>
                  </a:cubicBezTo>
                  <a:cubicBezTo>
                    <a:pt x="211" y="104"/>
                    <a:pt x="211" y="104"/>
                    <a:pt x="211" y="104"/>
                  </a:cubicBezTo>
                  <a:cubicBezTo>
                    <a:pt x="209" y="102"/>
                    <a:pt x="209" y="102"/>
                    <a:pt x="209" y="102"/>
                  </a:cubicBezTo>
                  <a:cubicBezTo>
                    <a:pt x="207" y="102"/>
                    <a:pt x="207" y="102"/>
                    <a:pt x="207" y="102"/>
                  </a:cubicBezTo>
                  <a:cubicBezTo>
                    <a:pt x="207" y="104"/>
                    <a:pt x="207" y="104"/>
                    <a:pt x="207" y="104"/>
                  </a:cubicBezTo>
                  <a:cubicBezTo>
                    <a:pt x="209" y="107"/>
                    <a:pt x="209" y="107"/>
                    <a:pt x="209" y="107"/>
                  </a:cubicBezTo>
                  <a:close/>
                  <a:moveTo>
                    <a:pt x="278" y="31"/>
                  </a:moveTo>
                  <a:cubicBezTo>
                    <a:pt x="282" y="31"/>
                    <a:pt x="282" y="31"/>
                    <a:pt x="282" y="31"/>
                  </a:cubicBezTo>
                  <a:cubicBezTo>
                    <a:pt x="285" y="27"/>
                    <a:pt x="285" y="27"/>
                    <a:pt x="285" y="27"/>
                  </a:cubicBezTo>
                  <a:cubicBezTo>
                    <a:pt x="289" y="24"/>
                    <a:pt x="289" y="24"/>
                    <a:pt x="289" y="24"/>
                  </a:cubicBezTo>
                  <a:cubicBezTo>
                    <a:pt x="289" y="18"/>
                    <a:pt x="289" y="18"/>
                    <a:pt x="289" y="18"/>
                  </a:cubicBezTo>
                  <a:cubicBezTo>
                    <a:pt x="291" y="16"/>
                    <a:pt x="291" y="16"/>
                    <a:pt x="291" y="16"/>
                  </a:cubicBezTo>
                  <a:cubicBezTo>
                    <a:pt x="293" y="18"/>
                    <a:pt x="293" y="18"/>
                    <a:pt x="293" y="18"/>
                  </a:cubicBezTo>
                  <a:cubicBezTo>
                    <a:pt x="291" y="24"/>
                    <a:pt x="291" y="24"/>
                    <a:pt x="291" y="24"/>
                  </a:cubicBezTo>
                  <a:cubicBezTo>
                    <a:pt x="295" y="18"/>
                    <a:pt x="295" y="18"/>
                    <a:pt x="295" y="18"/>
                  </a:cubicBezTo>
                  <a:cubicBezTo>
                    <a:pt x="295" y="15"/>
                    <a:pt x="295" y="15"/>
                    <a:pt x="295" y="15"/>
                  </a:cubicBezTo>
                  <a:cubicBezTo>
                    <a:pt x="291" y="11"/>
                    <a:pt x="291" y="11"/>
                    <a:pt x="291" y="11"/>
                  </a:cubicBezTo>
                  <a:cubicBezTo>
                    <a:pt x="278" y="5"/>
                    <a:pt x="278" y="5"/>
                    <a:pt x="278" y="5"/>
                  </a:cubicBezTo>
                  <a:cubicBezTo>
                    <a:pt x="273" y="5"/>
                    <a:pt x="273" y="5"/>
                    <a:pt x="273" y="5"/>
                  </a:cubicBezTo>
                  <a:cubicBezTo>
                    <a:pt x="269" y="7"/>
                    <a:pt x="269" y="7"/>
                    <a:pt x="269" y="7"/>
                  </a:cubicBezTo>
                  <a:cubicBezTo>
                    <a:pt x="267" y="15"/>
                    <a:pt x="267" y="15"/>
                    <a:pt x="267" y="15"/>
                  </a:cubicBezTo>
                  <a:cubicBezTo>
                    <a:pt x="267" y="24"/>
                    <a:pt x="267" y="24"/>
                    <a:pt x="267" y="24"/>
                  </a:cubicBezTo>
                  <a:cubicBezTo>
                    <a:pt x="269" y="27"/>
                    <a:pt x="269" y="27"/>
                    <a:pt x="269" y="27"/>
                  </a:cubicBezTo>
                  <a:cubicBezTo>
                    <a:pt x="271" y="31"/>
                    <a:pt x="271" y="31"/>
                    <a:pt x="271" y="31"/>
                  </a:cubicBezTo>
                  <a:cubicBezTo>
                    <a:pt x="271" y="31"/>
                    <a:pt x="271" y="31"/>
                    <a:pt x="271" y="31"/>
                  </a:cubicBezTo>
                  <a:cubicBezTo>
                    <a:pt x="275" y="31"/>
                    <a:pt x="275" y="31"/>
                    <a:pt x="275" y="31"/>
                  </a:cubicBezTo>
                  <a:cubicBezTo>
                    <a:pt x="273" y="35"/>
                    <a:pt x="273" y="35"/>
                    <a:pt x="273" y="35"/>
                  </a:cubicBezTo>
                  <a:cubicBezTo>
                    <a:pt x="276" y="35"/>
                    <a:pt x="276" y="35"/>
                    <a:pt x="276" y="35"/>
                  </a:cubicBezTo>
                  <a:cubicBezTo>
                    <a:pt x="278" y="31"/>
                    <a:pt x="278" y="31"/>
                    <a:pt x="278" y="31"/>
                  </a:cubicBezTo>
                  <a:close/>
                  <a:moveTo>
                    <a:pt x="309" y="38"/>
                  </a:moveTo>
                  <a:cubicBezTo>
                    <a:pt x="311" y="38"/>
                    <a:pt x="311" y="38"/>
                    <a:pt x="311" y="38"/>
                  </a:cubicBezTo>
                  <a:cubicBezTo>
                    <a:pt x="311" y="36"/>
                    <a:pt x="311" y="36"/>
                    <a:pt x="311" y="36"/>
                  </a:cubicBezTo>
                  <a:cubicBezTo>
                    <a:pt x="315" y="36"/>
                    <a:pt x="315" y="36"/>
                    <a:pt x="315" y="36"/>
                  </a:cubicBezTo>
                  <a:cubicBezTo>
                    <a:pt x="316" y="35"/>
                    <a:pt x="316" y="35"/>
                    <a:pt x="316" y="35"/>
                  </a:cubicBezTo>
                  <a:cubicBezTo>
                    <a:pt x="313" y="35"/>
                    <a:pt x="313" y="35"/>
                    <a:pt x="313" y="35"/>
                  </a:cubicBezTo>
                  <a:cubicBezTo>
                    <a:pt x="309" y="36"/>
                    <a:pt x="309" y="36"/>
                    <a:pt x="309" y="36"/>
                  </a:cubicBezTo>
                  <a:cubicBezTo>
                    <a:pt x="309" y="38"/>
                    <a:pt x="309" y="38"/>
                    <a:pt x="309" y="38"/>
                  </a:cubicBezTo>
                  <a:close/>
                  <a:moveTo>
                    <a:pt x="358" y="36"/>
                  </a:moveTo>
                  <a:cubicBezTo>
                    <a:pt x="360" y="38"/>
                    <a:pt x="360" y="38"/>
                    <a:pt x="360" y="38"/>
                  </a:cubicBezTo>
                  <a:cubicBezTo>
                    <a:pt x="362" y="35"/>
                    <a:pt x="362" y="35"/>
                    <a:pt x="362" y="35"/>
                  </a:cubicBezTo>
                  <a:cubicBezTo>
                    <a:pt x="362" y="33"/>
                    <a:pt x="362" y="33"/>
                    <a:pt x="362" y="33"/>
                  </a:cubicBezTo>
                  <a:cubicBezTo>
                    <a:pt x="360" y="33"/>
                    <a:pt x="360" y="33"/>
                    <a:pt x="360" y="33"/>
                  </a:cubicBezTo>
                  <a:cubicBezTo>
                    <a:pt x="358" y="36"/>
                    <a:pt x="358" y="36"/>
                    <a:pt x="358" y="36"/>
                  </a:cubicBezTo>
                  <a:cubicBezTo>
                    <a:pt x="358" y="36"/>
                    <a:pt x="358" y="36"/>
                    <a:pt x="358" y="36"/>
                  </a:cubicBezTo>
                  <a:close/>
                  <a:moveTo>
                    <a:pt x="353" y="38"/>
                  </a:moveTo>
                  <a:cubicBezTo>
                    <a:pt x="355" y="38"/>
                    <a:pt x="355" y="38"/>
                    <a:pt x="355" y="38"/>
                  </a:cubicBezTo>
                  <a:cubicBezTo>
                    <a:pt x="357" y="36"/>
                    <a:pt x="357" y="36"/>
                    <a:pt x="357" y="36"/>
                  </a:cubicBezTo>
                  <a:cubicBezTo>
                    <a:pt x="355" y="35"/>
                    <a:pt x="355" y="35"/>
                    <a:pt x="355" y="35"/>
                  </a:cubicBezTo>
                  <a:cubicBezTo>
                    <a:pt x="353" y="35"/>
                    <a:pt x="353" y="35"/>
                    <a:pt x="353" y="35"/>
                  </a:cubicBezTo>
                  <a:cubicBezTo>
                    <a:pt x="353" y="38"/>
                    <a:pt x="353" y="38"/>
                    <a:pt x="353" y="38"/>
                  </a:cubicBezTo>
                  <a:close/>
                  <a:moveTo>
                    <a:pt x="393" y="20"/>
                  </a:moveTo>
                  <a:cubicBezTo>
                    <a:pt x="395" y="22"/>
                    <a:pt x="395" y="22"/>
                    <a:pt x="395" y="22"/>
                  </a:cubicBezTo>
                  <a:cubicBezTo>
                    <a:pt x="397" y="20"/>
                    <a:pt x="397" y="20"/>
                    <a:pt x="397" y="20"/>
                  </a:cubicBezTo>
                  <a:cubicBezTo>
                    <a:pt x="402" y="18"/>
                    <a:pt x="402" y="18"/>
                    <a:pt x="402" y="18"/>
                  </a:cubicBezTo>
                  <a:cubicBezTo>
                    <a:pt x="402" y="16"/>
                    <a:pt x="402" y="16"/>
                    <a:pt x="402" y="16"/>
                  </a:cubicBezTo>
                  <a:cubicBezTo>
                    <a:pt x="400" y="16"/>
                    <a:pt x="400" y="16"/>
                    <a:pt x="400" y="16"/>
                  </a:cubicBezTo>
                  <a:cubicBezTo>
                    <a:pt x="395" y="18"/>
                    <a:pt x="395" y="18"/>
                    <a:pt x="395" y="18"/>
                  </a:cubicBezTo>
                  <a:cubicBezTo>
                    <a:pt x="393" y="20"/>
                    <a:pt x="393" y="20"/>
                    <a:pt x="393" y="20"/>
                  </a:cubicBezTo>
                  <a:close/>
                  <a:moveTo>
                    <a:pt x="377" y="16"/>
                  </a:moveTo>
                  <a:cubicBezTo>
                    <a:pt x="378" y="18"/>
                    <a:pt x="378" y="18"/>
                    <a:pt x="378" y="18"/>
                  </a:cubicBezTo>
                  <a:cubicBezTo>
                    <a:pt x="380" y="18"/>
                    <a:pt x="380" y="18"/>
                    <a:pt x="380" y="18"/>
                  </a:cubicBezTo>
                  <a:cubicBezTo>
                    <a:pt x="380" y="16"/>
                    <a:pt x="380" y="16"/>
                    <a:pt x="380" y="16"/>
                  </a:cubicBezTo>
                  <a:cubicBezTo>
                    <a:pt x="378" y="16"/>
                    <a:pt x="378" y="16"/>
                    <a:pt x="378" y="16"/>
                  </a:cubicBezTo>
                  <a:cubicBezTo>
                    <a:pt x="377" y="16"/>
                    <a:pt x="377" y="16"/>
                    <a:pt x="377" y="16"/>
                  </a:cubicBezTo>
                  <a:close/>
                  <a:moveTo>
                    <a:pt x="366" y="16"/>
                  </a:moveTo>
                  <a:cubicBezTo>
                    <a:pt x="369" y="16"/>
                    <a:pt x="369" y="16"/>
                    <a:pt x="369" y="16"/>
                  </a:cubicBezTo>
                  <a:cubicBezTo>
                    <a:pt x="369" y="18"/>
                    <a:pt x="369" y="18"/>
                    <a:pt x="369" y="18"/>
                  </a:cubicBezTo>
                  <a:cubicBezTo>
                    <a:pt x="373" y="20"/>
                    <a:pt x="373" y="20"/>
                    <a:pt x="373" y="20"/>
                  </a:cubicBezTo>
                  <a:cubicBezTo>
                    <a:pt x="371" y="16"/>
                    <a:pt x="371" y="16"/>
                    <a:pt x="371" y="16"/>
                  </a:cubicBezTo>
                  <a:cubicBezTo>
                    <a:pt x="369" y="15"/>
                    <a:pt x="369" y="15"/>
                    <a:pt x="369" y="15"/>
                  </a:cubicBezTo>
                  <a:cubicBezTo>
                    <a:pt x="366" y="16"/>
                    <a:pt x="366" y="16"/>
                    <a:pt x="366" y="16"/>
                  </a:cubicBezTo>
                  <a:close/>
                  <a:moveTo>
                    <a:pt x="360" y="16"/>
                  </a:moveTo>
                  <a:cubicBezTo>
                    <a:pt x="362" y="18"/>
                    <a:pt x="362" y="18"/>
                    <a:pt x="362" y="18"/>
                  </a:cubicBezTo>
                  <a:cubicBezTo>
                    <a:pt x="364" y="18"/>
                    <a:pt x="364" y="18"/>
                    <a:pt x="364" y="18"/>
                  </a:cubicBezTo>
                  <a:cubicBezTo>
                    <a:pt x="366" y="16"/>
                    <a:pt x="366" y="16"/>
                    <a:pt x="366" y="16"/>
                  </a:cubicBezTo>
                  <a:cubicBezTo>
                    <a:pt x="364" y="15"/>
                    <a:pt x="364" y="15"/>
                    <a:pt x="364" y="15"/>
                  </a:cubicBezTo>
                  <a:cubicBezTo>
                    <a:pt x="360" y="16"/>
                    <a:pt x="360" y="16"/>
                    <a:pt x="360" y="16"/>
                  </a:cubicBezTo>
                  <a:close/>
                  <a:moveTo>
                    <a:pt x="418" y="0"/>
                  </a:moveTo>
                  <a:cubicBezTo>
                    <a:pt x="418" y="0"/>
                    <a:pt x="418" y="0"/>
                    <a:pt x="418" y="0"/>
                  </a:cubicBezTo>
                  <a:moveTo>
                    <a:pt x="34" y="302"/>
                  </a:moveTo>
                  <a:cubicBezTo>
                    <a:pt x="34" y="304"/>
                    <a:pt x="34" y="304"/>
                    <a:pt x="34" y="304"/>
                  </a:cubicBezTo>
                  <a:cubicBezTo>
                    <a:pt x="36" y="306"/>
                    <a:pt x="36" y="306"/>
                    <a:pt x="36" y="306"/>
                  </a:cubicBezTo>
                  <a:cubicBezTo>
                    <a:pt x="38" y="304"/>
                    <a:pt x="38" y="304"/>
                    <a:pt x="38" y="304"/>
                  </a:cubicBezTo>
                  <a:cubicBezTo>
                    <a:pt x="34" y="302"/>
                    <a:pt x="34" y="302"/>
                    <a:pt x="34" y="302"/>
                  </a:cubicBezTo>
                  <a:cubicBezTo>
                    <a:pt x="34" y="302"/>
                    <a:pt x="34" y="302"/>
                    <a:pt x="34" y="302"/>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172" name="Freeform 12"/>
            <p:cNvSpPr>
              <a:spLocks noEditPoints="1"/>
            </p:cNvSpPr>
            <p:nvPr/>
          </p:nvSpPr>
          <p:spPr bwMode="gray">
            <a:xfrm>
              <a:off x="2640" y="1101"/>
              <a:ext cx="347" cy="270"/>
            </a:xfrm>
            <a:custGeom>
              <a:avLst/>
              <a:gdLst>
                <a:gd name="T0" fmla="*/ 9102966 w 109"/>
                <a:gd name="T1" fmla="*/ 8562002 h 85"/>
                <a:gd name="T2" fmla="*/ 9304674 w 109"/>
                <a:gd name="T3" fmla="*/ 7938521 h 85"/>
                <a:gd name="T4" fmla="*/ 8565781 w 109"/>
                <a:gd name="T5" fmla="*/ 7938521 h 85"/>
                <a:gd name="T6" fmla="*/ 8565781 w 109"/>
                <a:gd name="T7" fmla="*/ 8362866 h 85"/>
                <a:gd name="T8" fmla="*/ 11015117 w 109"/>
                <a:gd name="T9" fmla="*/ 7014946 h 85"/>
                <a:gd name="T10" fmla="*/ 11015117 w 109"/>
                <a:gd name="T11" fmla="*/ 6052536 h 85"/>
                <a:gd name="T12" fmla="*/ 7383106 w 109"/>
                <a:gd name="T13" fmla="*/ 5338491 h 85"/>
                <a:gd name="T14" fmla="*/ 6213239 w 109"/>
                <a:gd name="T15" fmla="*/ 6777521 h 85"/>
                <a:gd name="T16" fmla="*/ 5242113 w 109"/>
                <a:gd name="T17" fmla="*/ 6290873 h 85"/>
                <a:gd name="T18" fmla="*/ 5444147 w 109"/>
                <a:gd name="T19" fmla="*/ 5338491 h 85"/>
                <a:gd name="T20" fmla="*/ 5782268 w 109"/>
                <a:gd name="T21" fmla="*/ 5338491 h 85"/>
                <a:gd name="T22" fmla="*/ 6415272 w 109"/>
                <a:gd name="T23" fmla="*/ 5338491 h 85"/>
                <a:gd name="T24" fmla="*/ 6750382 w 109"/>
                <a:gd name="T25" fmla="*/ 4509661 h 85"/>
                <a:gd name="T26" fmla="*/ 7151256 w 109"/>
                <a:gd name="T27" fmla="*/ 5658060 h 85"/>
                <a:gd name="T28" fmla="*/ 7151256 w 109"/>
                <a:gd name="T29" fmla="*/ 6486858 h 85"/>
                <a:gd name="T30" fmla="*/ 6518280 w 109"/>
                <a:gd name="T31" fmla="*/ 7214174 h 85"/>
                <a:gd name="T32" fmla="*/ 7151256 w 109"/>
                <a:gd name="T33" fmla="*/ 7014946 h 85"/>
                <a:gd name="T34" fmla="*/ 5444147 w 109"/>
                <a:gd name="T35" fmla="*/ 7214174 h 85"/>
                <a:gd name="T36" fmla="*/ 6213239 w 109"/>
                <a:gd name="T37" fmla="*/ 7214174 h 85"/>
                <a:gd name="T38" fmla="*/ 6415272 w 109"/>
                <a:gd name="T39" fmla="*/ 7732879 h 85"/>
                <a:gd name="T40" fmla="*/ 6213239 w 109"/>
                <a:gd name="T41" fmla="*/ 7938521 h 85"/>
                <a:gd name="T42" fmla="*/ 5242113 w 109"/>
                <a:gd name="T43" fmla="*/ 7638395 h 85"/>
                <a:gd name="T44" fmla="*/ 4062692 w 109"/>
                <a:gd name="T45" fmla="*/ 5338491 h 85"/>
                <a:gd name="T46" fmla="*/ 4261431 w 109"/>
                <a:gd name="T47" fmla="*/ 5338491 h 85"/>
                <a:gd name="T48" fmla="*/ 4261431 w 109"/>
                <a:gd name="T49" fmla="*/ 7443439 h 85"/>
                <a:gd name="T50" fmla="*/ 4503121 w 109"/>
                <a:gd name="T51" fmla="*/ 7638395 h 85"/>
                <a:gd name="T52" fmla="*/ 4599845 w 109"/>
                <a:gd name="T53" fmla="*/ 6581634 h 85"/>
                <a:gd name="T54" fmla="*/ 4261431 w 109"/>
                <a:gd name="T55" fmla="*/ 5857196 h 85"/>
                <a:gd name="T56" fmla="*/ 3860951 w 109"/>
                <a:gd name="T57" fmla="*/ 7214174 h 85"/>
                <a:gd name="T58" fmla="*/ 2889440 w 109"/>
                <a:gd name="T59" fmla="*/ 6290873 h 85"/>
                <a:gd name="T60" fmla="*/ 5043273 w 109"/>
                <a:gd name="T61" fmla="*/ 1151537 h 85"/>
                <a:gd name="T62" fmla="*/ 1169966 w 109"/>
                <a:gd name="T63" fmla="*/ 2600961 h 85"/>
                <a:gd name="T64" fmla="*/ 1276177 w 109"/>
                <a:gd name="T65" fmla="*/ 2829035 h 85"/>
                <a:gd name="T66" fmla="*/ 1169966 w 109"/>
                <a:gd name="T67" fmla="*/ 2404680 h 85"/>
                <a:gd name="T68" fmla="*/ 2449336 w 109"/>
                <a:gd name="T69" fmla="*/ 2208409 h 85"/>
                <a:gd name="T70" fmla="*/ 3628748 w 109"/>
                <a:gd name="T71" fmla="*/ 2104977 h 85"/>
                <a:gd name="T72" fmla="*/ 3860951 w 109"/>
                <a:gd name="T73" fmla="*/ 529089 h 85"/>
                <a:gd name="T74" fmla="*/ 3091566 w 109"/>
                <a:gd name="T75" fmla="*/ 724057 h 85"/>
                <a:gd name="T76" fmla="*/ 2150537 w 109"/>
                <a:gd name="T77" fmla="*/ 1680636 h 85"/>
                <a:gd name="T78" fmla="*/ 738992 w 109"/>
                <a:gd name="T79" fmla="*/ 2104977 h 85"/>
                <a:gd name="T80" fmla="*/ 738992 w 109"/>
                <a:gd name="T81" fmla="*/ 2829035 h 85"/>
                <a:gd name="T82" fmla="*/ 2690692 w 109"/>
                <a:gd name="T83" fmla="*/ 7214174 h 85"/>
                <a:gd name="T84" fmla="*/ 2449336 w 109"/>
                <a:gd name="T85" fmla="*/ 6486858 h 85"/>
                <a:gd name="T86" fmla="*/ 3091566 w 109"/>
                <a:gd name="T87" fmla="*/ 5429995 h 85"/>
                <a:gd name="T88" fmla="*/ 3860951 w 109"/>
                <a:gd name="T89" fmla="*/ 5142179 h 85"/>
                <a:gd name="T90" fmla="*/ 4062692 w 109"/>
                <a:gd name="T91" fmla="*/ 3980572 h 85"/>
                <a:gd name="T92" fmla="*/ 4798717 w 109"/>
                <a:gd name="T93" fmla="*/ 4176852 h 85"/>
                <a:gd name="T94" fmla="*/ 3860951 w 109"/>
                <a:gd name="T95" fmla="*/ 3556319 h 85"/>
                <a:gd name="T96" fmla="*/ 3430009 w 109"/>
                <a:gd name="T97" fmla="*/ 2829035 h 85"/>
                <a:gd name="T98" fmla="*/ 2352571 w 109"/>
                <a:gd name="T99" fmla="*/ 2404680 h 85"/>
                <a:gd name="T100" fmla="*/ 2150537 w 109"/>
                <a:gd name="T101" fmla="*/ 3028161 h 85"/>
                <a:gd name="T102" fmla="*/ 1909184 w 109"/>
                <a:gd name="T103" fmla="*/ 3358022 h 85"/>
                <a:gd name="T104" fmla="*/ 1710121 w 109"/>
                <a:gd name="T105" fmla="*/ 2600961 h 85"/>
                <a:gd name="T106" fmla="*/ 971126 w 109"/>
                <a:gd name="T107" fmla="*/ 3358022 h 85"/>
                <a:gd name="T108" fmla="*/ 537185 w 109"/>
                <a:gd name="T109" fmla="*/ 3752628 h 85"/>
                <a:gd name="T110" fmla="*/ 338446 w 109"/>
                <a:gd name="T111" fmla="*/ 4509661 h 85"/>
                <a:gd name="T112" fmla="*/ 198841 w 109"/>
                <a:gd name="T113" fmla="*/ 5429995 h 85"/>
                <a:gd name="T114" fmla="*/ 971126 w 109"/>
                <a:gd name="T115" fmla="*/ 6290873 h 85"/>
                <a:gd name="T116" fmla="*/ 1507378 w 109"/>
                <a:gd name="T117" fmla="*/ 7214174 h 85"/>
                <a:gd name="T118" fmla="*/ 2690692 w 109"/>
                <a:gd name="T119" fmla="*/ 7443439 h 8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9" h="85">
                  <a:moveTo>
                    <a:pt x="78" y="83"/>
                  </a:moveTo>
                  <a:cubicBezTo>
                    <a:pt x="80" y="83"/>
                    <a:pt x="80" y="83"/>
                    <a:pt x="80" y="83"/>
                  </a:cubicBezTo>
                  <a:cubicBezTo>
                    <a:pt x="83" y="85"/>
                    <a:pt x="83" y="85"/>
                    <a:pt x="83" y="85"/>
                  </a:cubicBezTo>
                  <a:cubicBezTo>
                    <a:pt x="85" y="82"/>
                    <a:pt x="85" y="82"/>
                    <a:pt x="85" y="82"/>
                  </a:cubicBezTo>
                  <a:cubicBezTo>
                    <a:pt x="87" y="83"/>
                    <a:pt x="87" y="83"/>
                    <a:pt x="87" y="83"/>
                  </a:cubicBezTo>
                  <a:cubicBezTo>
                    <a:pt x="87" y="82"/>
                    <a:pt x="87" y="82"/>
                    <a:pt x="87" y="82"/>
                  </a:cubicBezTo>
                  <a:cubicBezTo>
                    <a:pt x="85" y="78"/>
                    <a:pt x="85" y="78"/>
                    <a:pt x="85" y="78"/>
                  </a:cubicBezTo>
                  <a:cubicBezTo>
                    <a:pt x="87" y="76"/>
                    <a:pt x="87" y="76"/>
                    <a:pt x="87" y="76"/>
                  </a:cubicBezTo>
                  <a:cubicBezTo>
                    <a:pt x="83" y="74"/>
                    <a:pt x="83" y="74"/>
                    <a:pt x="83" y="74"/>
                  </a:cubicBezTo>
                  <a:cubicBezTo>
                    <a:pt x="83" y="76"/>
                    <a:pt x="83" y="76"/>
                    <a:pt x="83" y="76"/>
                  </a:cubicBezTo>
                  <a:cubicBezTo>
                    <a:pt x="81" y="74"/>
                    <a:pt x="81" y="74"/>
                    <a:pt x="81" y="74"/>
                  </a:cubicBezTo>
                  <a:cubicBezTo>
                    <a:pt x="80" y="76"/>
                    <a:pt x="80" y="76"/>
                    <a:pt x="80" y="76"/>
                  </a:cubicBezTo>
                  <a:cubicBezTo>
                    <a:pt x="80" y="78"/>
                    <a:pt x="80" y="78"/>
                    <a:pt x="80" y="78"/>
                  </a:cubicBezTo>
                  <a:cubicBezTo>
                    <a:pt x="81" y="78"/>
                    <a:pt x="81" y="78"/>
                    <a:pt x="81" y="78"/>
                  </a:cubicBezTo>
                  <a:cubicBezTo>
                    <a:pt x="81" y="80"/>
                    <a:pt x="81" y="80"/>
                    <a:pt x="81" y="80"/>
                  </a:cubicBezTo>
                  <a:cubicBezTo>
                    <a:pt x="80" y="80"/>
                    <a:pt x="80" y="80"/>
                    <a:pt x="80" y="80"/>
                  </a:cubicBezTo>
                  <a:cubicBezTo>
                    <a:pt x="78" y="83"/>
                    <a:pt x="78" y="83"/>
                    <a:pt x="78" y="83"/>
                  </a:cubicBezTo>
                  <a:close/>
                  <a:moveTo>
                    <a:pt x="103" y="58"/>
                  </a:moveTo>
                  <a:cubicBezTo>
                    <a:pt x="101" y="63"/>
                    <a:pt x="101" y="63"/>
                    <a:pt x="101" y="63"/>
                  </a:cubicBezTo>
                  <a:cubicBezTo>
                    <a:pt x="103" y="67"/>
                    <a:pt x="103" y="67"/>
                    <a:pt x="103" y="67"/>
                  </a:cubicBezTo>
                  <a:cubicBezTo>
                    <a:pt x="109" y="69"/>
                    <a:pt x="109" y="69"/>
                    <a:pt x="109" y="69"/>
                  </a:cubicBezTo>
                  <a:cubicBezTo>
                    <a:pt x="109" y="65"/>
                    <a:pt x="109" y="65"/>
                    <a:pt x="109" y="65"/>
                  </a:cubicBezTo>
                  <a:cubicBezTo>
                    <a:pt x="105" y="62"/>
                    <a:pt x="105" y="62"/>
                    <a:pt x="105" y="62"/>
                  </a:cubicBezTo>
                  <a:cubicBezTo>
                    <a:pt x="103" y="58"/>
                    <a:pt x="103" y="58"/>
                    <a:pt x="103" y="58"/>
                  </a:cubicBezTo>
                  <a:close/>
                  <a:moveTo>
                    <a:pt x="69" y="51"/>
                  </a:moveTo>
                  <a:cubicBezTo>
                    <a:pt x="69" y="54"/>
                    <a:pt x="69" y="54"/>
                    <a:pt x="69" y="54"/>
                  </a:cubicBezTo>
                  <a:cubicBezTo>
                    <a:pt x="71" y="56"/>
                    <a:pt x="71" y="56"/>
                    <a:pt x="71" y="56"/>
                  </a:cubicBezTo>
                  <a:cubicBezTo>
                    <a:pt x="69" y="51"/>
                    <a:pt x="69" y="51"/>
                    <a:pt x="69" y="51"/>
                  </a:cubicBezTo>
                  <a:close/>
                  <a:moveTo>
                    <a:pt x="61" y="69"/>
                  </a:moveTo>
                  <a:cubicBezTo>
                    <a:pt x="58" y="69"/>
                    <a:pt x="58" y="69"/>
                    <a:pt x="58" y="69"/>
                  </a:cubicBezTo>
                  <a:cubicBezTo>
                    <a:pt x="56" y="67"/>
                    <a:pt x="56" y="67"/>
                    <a:pt x="56" y="67"/>
                  </a:cubicBezTo>
                  <a:cubicBezTo>
                    <a:pt x="58" y="65"/>
                    <a:pt x="58" y="65"/>
                    <a:pt x="58" y="65"/>
                  </a:cubicBezTo>
                  <a:cubicBezTo>
                    <a:pt x="58" y="63"/>
                    <a:pt x="58" y="63"/>
                    <a:pt x="58" y="63"/>
                  </a:cubicBezTo>
                  <a:cubicBezTo>
                    <a:pt x="54" y="62"/>
                    <a:pt x="54" y="62"/>
                    <a:pt x="54" y="62"/>
                  </a:cubicBezTo>
                  <a:cubicBezTo>
                    <a:pt x="52" y="62"/>
                    <a:pt x="52" y="62"/>
                    <a:pt x="52" y="62"/>
                  </a:cubicBezTo>
                  <a:cubicBezTo>
                    <a:pt x="49" y="60"/>
                    <a:pt x="49" y="60"/>
                    <a:pt x="49" y="60"/>
                  </a:cubicBezTo>
                  <a:cubicBezTo>
                    <a:pt x="51" y="56"/>
                    <a:pt x="51" y="56"/>
                    <a:pt x="51" y="56"/>
                  </a:cubicBezTo>
                  <a:cubicBezTo>
                    <a:pt x="49" y="54"/>
                    <a:pt x="49" y="54"/>
                    <a:pt x="49" y="54"/>
                  </a:cubicBezTo>
                  <a:cubicBezTo>
                    <a:pt x="49" y="51"/>
                    <a:pt x="49" y="51"/>
                    <a:pt x="49" y="51"/>
                  </a:cubicBezTo>
                  <a:cubicBezTo>
                    <a:pt x="51" y="51"/>
                    <a:pt x="51" y="51"/>
                    <a:pt x="51" y="51"/>
                  </a:cubicBezTo>
                  <a:cubicBezTo>
                    <a:pt x="51" y="49"/>
                    <a:pt x="51" y="49"/>
                    <a:pt x="51" y="49"/>
                  </a:cubicBezTo>
                  <a:cubicBezTo>
                    <a:pt x="52" y="47"/>
                    <a:pt x="52" y="47"/>
                    <a:pt x="52" y="47"/>
                  </a:cubicBezTo>
                  <a:cubicBezTo>
                    <a:pt x="54" y="49"/>
                    <a:pt x="54" y="49"/>
                    <a:pt x="54" y="49"/>
                  </a:cubicBezTo>
                  <a:cubicBezTo>
                    <a:pt x="54" y="51"/>
                    <a:pt x="54" y="51"/>
                    <a:pt x="54" y="51"/>
                  </a:cubicBezTo>
                  <a:cubicBezTo>
                    <a:pt x="58" y="52"/>
                    <a:pt x="58" y="52"/>
                    <a:pt x="58" y="52"/>
                  </a:cubicBezTo>
                  <a:cubicBezTo>
                    <a:pt x="58" y="52"/>
                    <a:pt x="58" y="52"/>
                    <a:pt x="58" y="52"/>
                  </a:cubicBezTo>
                  <a:cubicBezTo>
                    <a:pt x="60" y="52"/>
                    <a:pt x="60" y="52"/>
                    <a:pt x="60" y="52"/>
                  </a:cubicBezTo>
                  <a:cubicBezTo>
                    <a:pt x="60" y="51"/>
                    <a:pt x="60" y="51"/>
                    <a:pt x="60" y="51"/>
                  </a:cubicBezTo>
                  <a:cubicBezTo>
                    <a:pt x="58" y="49"/>
                    <a:pt x="58" y="49"/>
                    <a:pt x="58" y="49"/>
                  </a:cubicBezTo>
                  <a:cubicBezTo>
                    <a:pt x="56" y="47"/>
                    <a:pt x="56" y="47"/>
                    <a:pt x="56" y="47"/>
                  </a:cubicBezTo>
                  <a:cubicBezTo>
                    <a:pt x="58" y="43"/>
                    <a:pt x="58" y="43"/>
                    <a:pt x="58" y="43"/>
                  </a:cubicBezTo>
                  <a:cubicBezTo>
                    <a:pt x="63" y="43"/>
                    <a:pt x="63" y="43"/>
                    <a:pt x="63" y="43"/>
                  </a:cubicBezTo>
                  <a:cubicBezTo>
                    <a:pt x="67" y="43"/>
                    <a:pt x="67" y="43"/>
                    <a:pt x="67" y="43"/>
                  </a:cubicBezTo>
                  <a:cubicBezTo>
                    <a:pt x="67" y="45"/>
                    <a:pt x="67" y="45"/>
                    <a:pt x="67" y="45"/>
                  </a:cubicBezTo>
                  <a:cubicBezTo>
                    <a:pt x="69" y="49"/>
                    <a:pt x="69" y="49"/>
                    <a:pt x="69" y="49"/>
                  </a:cubicBezTo>
                  <a:cubicBezTo>
                    <a:pt x="67" y="54"/>
                    <a:pt x="67" y="54"/>
                    <a:pt x="67" y="54"/>
                  </a:cubicBezTo>
                  <a:cubicBezTo>
                    <a:pt x="63" y="56"/>
                    <a:pt x="63" y="56"/>
                    <a:pt x="63" y="56"/>
                  </a:cubicBezTo>
                  <a:cubicBezTo>
                    <a:pt x="63" y="56"/>
                    <a:pt x="63" y="56"/>
                    <a:pt x="63" y="56"/>
                  </a:cubicBezTo>
                  <a:cubicBezTo>
                    <a:pt x="67" y="58"/>
                    <a:pt x="67" y="58"/>
                    <a:pt x="67" y="58"/>
                  </a:cubicBezTo>
                  <a:cubicBezTo>
                    <a:pt x="67" y="62"/>
                    <a:pt x="67" y="62"/>
                    <a:pt x="67" y="62"/>
                  </a:cubicBezTo>
                  <a:cubicBezTo>
                    <a:pt x="65" y="62"/>
                    <a:pt x="65" y="62"/>
                    <a:pt x="65" y="62"/>
                  </a:cubicBezTo>
                  <a:cubicBezTo>
                    <a:pt x="61" y="63"/>
                    <a:pt x="61" y="63"/>
                    <a:pt x="61" y="63"/>
                  </a:cubicBezTo>
                  <a:cubicBezTo>
                    <a:pt x="61" y="67"/>
                    <a:pt x="61" y="67"/>
                    <a:pt x="61" y="67"/>
                  </a:cubicBezTo>
                  <a:cubicBezTo>
                    <a:pt x="61" y="69"/>
                    <a:pt x="61" y="69"/>
                    <a:pt x="61" y="69"/>
                  </a:cubicBezTo>
                  <a:close/>
                  <a:moveTo>
                    <a:pt x="63" y="69"/>
                  </a:moveTo>
                  <a:cubicBezTo>
                    <a:pt x="63" y="71"/>
                    <a:pt x="63" y="71"/>
                    <a:pt x="63" y="71"/>
                  </a:cubicBezTo>
                  <a:cubicBezTo>
                    <a:pt x="65" y="69"/>
                    <a:pt x="65" y="69"/>
                    <a:pt x="65" y="69"/>
                  </a:cubicBezTo>
                  <a:cubicBezTo>
                    <a:pt x="67" y="67"/>
                    <a:pt x="67" y="67"/>
                    <a:pt x="67" y="67"/>
                  </a:cubicBezTo>
                  <a:cubicBezTo>
                    <a:pt x="67" y="65"/>
                    <a:pt x="67" y="65"/>
                    <a:pt x="67" y="65"/>
                  </a:cubicBezTo>
                  <a:cubicBezTo>
                    <a:pt x="63" y="67"/>
                    <a:pt x="63" y="67"/>
                    <a:pt x="63" y="67"/>
                  </a:cubicBezTo>
                  <a:cubicBezTo>
                    <a:pt x="63" y="69"/>
                    <a:pt x="63" y="69"/>
                    <a:pt x="63" y="69"/>
                  </a:cubicBezTo>
                  <a:close/>
                  <a:moveTo>
                    <a:pt x="51" y="69"/>
                  </a:moveTo>
                  <a:cubicBezTo>
                    <a:pt x="52" y="73"/>
                    <a:pt x="52" y="73"/>
                    <a:pt x="52" y="73"/>
                  </a:cubicBezTo>
                  <a:cubicBezTo>
                    <a:pt x="56" y="73"/>
                    <a:pt x="56" y="73"/>
                    <a:pt x="56" y="73"/>
                  </a:cubicBezTo>
                  <a:cubicBezTo>
                    <a:pt x="56" y="73"/>
                    <a:pt x="56" y="73"/>
                    <a:pt x="56" y="73"/>
                  </a:cubicBezTo>
                  <a:cubicBezTo>
                    <a:pt x="58" y="69"/>
                    <a:pt x="58" y="69"/>
                    <a:pt x="58" y="69"/>
                  </a:cubicBezTo>
                  <a:cubicBezTo>
                    <a:pt x="61" y="71"/>
                    <a:pt x="61" y="71"/>
                    <a:pt x="61" y="71"/>
                  </a:cubicBezTo>
                  <a:cubicBezTo>
                    <a:pt x="61" y="69"/>
                    <a:pt x="61" y="69"/>
                    <a:pt x="61" y="69"/>
                  </a:cubicBezTo>
                  <a:cubicBezTo>
                    <a:pt x="61" y="73"/>
                    <a:pt x="61" y="73"/>
                    <a:pt x="61" y="73"/>
                  </a:cubicBezTo>
                  <a:cubicBezTo>
                    <a:pt x="60" y="74"/>
                    <a:pt x="60" y="74"/>
                    <a:pt x="60" y="74"/>
                  </a:cubicBezTo>
                  <a:cubicBezTo>
                    <a:pt x="60" y="78"/>
                    <a:pt x="60" y="78"/>
                    <a:pt x="60" y="78"/>
                  </a:cubicBezTo>
                  <a:cubicBezTo>
                    <a:pt x="60" y="78"/>
                    <a:pt x="60" y="78"/>
                    <a:pt x="60" y="78"/>
                  </a:cubicBezTo>
                  <a:cubicBezTo>
                    <a:pt x="60" y="74"/>
                    <a:pt x="60" y="74"/>
                    <a:pt x="60" y="74"/>
                  </a:cubicBezTo>
                  <a:cubicBezTo>
                    <a:pt x="58" y="76"/>
                    <a:pt x="58" y="76"/>
                    <a:pt x="58" y="76"/>
                  </a:cubicBezTo>
                  <a:cubicBezTo>
                    <a:pt x="52" y="76"/>
                    <a:pt x="52" y="76"/>
                    <a:pt x="52" y="76"/>
                  </a:cubicBezTo>
                  <a:cubicBezTo>
                    <a:pt x="47" y="76"/>
                    <a:pt x="47" y="76"/>
                    <a:pt x="47" y="76"/>
                  </a:cubicBezTo>
                  <a:cubicBezTo>
                    <a:pt x="47" y="73"/>
                    <a:pt x="47" y="73"/>
                    <a:pt x="47" y="73"/>
                  </a:cubicBezTo>
                  <a:cubicBezTo>
                    <a:pt x="49" y="73"/>
                    <a:pt x="49" y="73"/>
                    <a:pt x="49" y="73"/>
                  </a:cubicBezTo>
                  <a:cubicBezTo>
                    <a:pt x="47" y="71"/>
                    <a:pt x="47" y="71"/>
                    <a:pt x="47" y="71"/>
                  </a:cubicBezTo>
                  <a:cubicBezTo>
                    <a:pt x="49" y="69"/>
                    <a:pt x="49" y="69"/>
                    <a:pt x="49" y="69"/>
                  </a:cubicBezTo>
                  <a:cubicBezTo>
                    <a:pt x="51" y="69"/>
                    <a:pt x="51" y="69"/>
                    <a:pt x="51" y="69"/>
                  </a:cubicBezTo>
                  <a:close/>
                  <a:moveTo>
                    <a:pt x="38" y="51"/>
                  </a:moveTo>
                  <a:cubicBezTo>
                    <a:pt x="40" y="49"/>
                    <a:pt x="40" y="49"/>
                    <a:pt x="40" y="49"/>
                  </a:cubicBezTo>
                  <a:cubicBezTo>
                    <a:pt x="40" y="43"/>
                    <a:pt x="40" y="43"/>
                    <a:pt x="40" y="43"/>
                  </a:cubicBezTo>
                  <a:cubicBezTo>
                    <a:pt x="42" y="49"/>
                    <a:pt x="42" y="49"/>
                    <a:pt x="42" y="49"/>
                  </a:cubicBezTo>
                  <a:cubicBezTo>
                    <a:pt x="40" y="51"/>
                    <a:pt x="40" y="51"/>
                    <a:pt x="40" y="51"/>
                  </a:cubicBezTo>
                  <a:cubicBezTo>
                    <a:pt x="38" y="51"/>
                    <a:pt x="38" y="51"/>
                    <a:pt x="38" y="51"/>
                  </a:cubicBezTo>
                  <a:close/>
                  <a:moveTo>
                    <a:pt x="36" y="69"/>
                  </a:moveTo>
                  <a:cubicBezTo>
                    <a:pt x="38" y="73"/>
                    <a:pt x="38" y="73"/>
                    <a:pt x="38" y="73"/>
                  </a:cubicBezTo>
                  <a:cubicBezTo>
                    <a:pt x="40" y="71"/>
                    <a:pt x="40" y="71"/>
                    <a:pt x="40" y="71"/>
                  </a:cubicBezTo>
                  <a:cubicBezTo>
                    <a:pt x="36" y="69"/>
                    <a:pt x="36" y="69"/>
                    <a:pt x="36" y="69"/>
                  </a:cubicBezTo>
                  <a:close/>
                  <a:moveTo>
                    <a:pt x="43" y="63"/>
                  </a:moveTo>
                  <a:cubicBezTo>
                    <a:pt x="43" y="69"/>
                    <a:pt x="43" y="69"/>
                    <a:pt x="43" y="69"/>
                  </a:cubicBezTo>
                  <a:cubicBezTo>
                    <a:pt x="42" y="73"/>
                    <a:pt x="42" y="73"/>
                    <a:pt x="42" y="73"/>
                  </a:cubicBezTo>
                  <a:cubicBezTo>
                    <a:pt x="42" y="73"/>
                    <a:pt x="42" y="73"/>
                    <a:pt x="42" y="73"/>
                  </a:cubicBezTo>
                  <a:cubicBezTo>
                    <a:pt x="43" y="71"/>
                    <a:pt x="43" y="71"/>
                    <a:pt x="43" y="71"/>
                  </a:cubicBezTo>
                  <a:cubicBezTo>
                    <a:pt x="45" y="67"/>
                    <a:pt x="45" y="67"/>
                    <a:pt x="45" y="67"/>
                  </a:cubicBezTo>
                  <a:cubicBezTo>
                    <a:pt x="43" y="63"/>
                    <a:pt x="43" y="63"/>
                    <a:pt x="43" y="63"/>
                  </a:cubicBezTo>
                  <a:close/>
                  <a:moveTo>
                    <a:pt x="29" y="56"/>
                  </a:moveTo>
                  <a:cubicBezTo>
                    <a:pt x="32" y="54"/>
                    <a:pt x="32" y="54"/>
                    <a:pt x="32" y="54"/>
                  </a:cubicBezTo>
                  <a:cubicBezTo>
                    <a:pt x="36" y="56"/>
                    <a:pt x="36" y="56"/>
                    <a:pt x="36" y="56"/>
                  </a:cubicBezTo>
                  <a:cubicBezTo>
                    <a:pt x="40" y="56"/>
                    <a:pt x="40" y="56"/>
                    <a:pt x="40" y="56"/>
                  </a:cubicBezTo>
                  <a:cubicBezTo>
                    <a:pt x="42" y="62"/>
                    <a:pt x="42" y="62"/>
                    <a:pt x="42" y="62"/>
                  </a:cubicBezTo>
                  <a:cubicBezTo>
                    <a:pt x="42" y="63"/>
                    <a:pt x="42" y="63"/>
                    <a:pt x="42" y="63"/>
                  </a:cubicBezTo>
                  <a:cubicBezTo>
                    <a:pt x="40" y="67"/>
                    <a:pt x="40" y="67"/>
                    <a:pt x="40" y="67"/>
                  </a:cubicBezTo>
                  <a:cubicBezTo>
                    <a:pt x="36" y="69"/>
                    <a:pt x="36" y="69"/>
                    <a:pt x="36" y="69"/>
                  </a:cubicBezTo>
                  <a:cubicBezTo>
                    <a:pt x="34" y="67"/>
                    <a:pt x="34" y="67"/>
                    <a:pt x="34" y="67"/>
                  </a:cubicBezTo>
                  <a:cubicBezTo>
                    <a:pt x="32" y="67"/>
                    <a:pt x="32" y="67"/>
                    <a:pt x="32" y="67"/>
                  </a:cubicBezTo>
                  <a:cubicBezTo>
                    <a:pt x="29" y="63"/>
                    <a:pt x="29" y="63"/>
                    <a:pt x="29" y="63"/>
                  </a:cubicBezTo>
                  <a:cubicBezTo>
                    <a:pt x="27" y="60"/>
                    <a:pt x="27" y="60"/>
                    <a:pt x="27" y="60"/>
                  </a:cubicBezTo>
                  <a:cubicBezTo>
                    <a:pt x="29" y="56"/>
                    <a:pt x="29" y="56"/>
                    <a:pt x="29" y="56"/>
                  </a:cubicBezTo>
                  <a:close/>
                  <a:moveTo>
                    <a:pt x="42" y="12"/>
                  </a:moveTo>
                  <a:cubicBezTo>
                    <a:pt x="43" y="11"/>
                    <a:pt x="43" y="11"/>
                    <a:pt x="43" y="11"/>
                  </a:cubicBezTo>
                  <a:cubicBezTo>
                    <a:pt x="47" y="11"/>
                    <a:pt x="47" y="11"/>
                    <a:pt x="47" y="11"/>
                  </a:cubicBezTo>
                  <a:cubicBezTo>
                    <a:pt x="45" y="12"/>
                    <a:pt x="45" y="12"/>
                    <a:pt x="45" y="12"/>
                  </a:cubicBezTo>
                  <a:cubicBezTo>
                    <a:pt x="42" y="12"/>
                    <a:pt x="42" y="12"/>
                    <a:pt x="42" y="12"/>
                  </a:cubicBezTo>
                  <a:close/>
                  <a:moveTo>
                    <a:pt x="11" y="29"/>
                  </a:moveTo>
                  <a:cubicBezTo>
                    <a:pt x="11" y="25"/>
                    <a:pt x="11" y="25"/>
                    <a:pt x="11" y="25"/>
                  </a:cubicBezTo>
                  <a:cubicBezTo>
                    <a:pt x="14" y="23"/>
                    <a:pt x="14" y="23"/>
                    <a:pt x="14" y="23"/>
                  </a:cubicBezTo>
                  <a:cubicBezTo>
                    <a:pt x="16" y="21"/>
                    <a:pt x="16" y="21"/>
                    <a:pt x="16" y="21"/>
                  </a:cubicBezTo>
                  <a:cubicBezTo>
                    <a:pt x="16" y="25"/>
                    <a:pt x="16" y="25"/>
                    <a:pt x="16" y="25"/>
                  </a:cubicBezTo>
                  <a:cubicBezTo>
                    <a:pt x="12" y="27"/>
                    <a:pt x="12" y="27"/>
                    <a:pt x="12" y="27"/>
                  </a:cubicBezTo>
                  <a:cubicBezTo>
                    <a:pt x="11" y="29"/>
                    <a:pt x="11" y="29"/>
                    <a:pt x="11" y="29"/>
                  </a:cubicBezTo>
                  <a:close/>
                  <a:moveTo>
                    <a:pt x="11" y="31"/>
                  </a:moveTo>
                  <a:cubicBezTo>
                    <a:pt x="9" y="25"/>
                    <a:pt x="9" y="25"/>
                    <a:pt x="9" y="25"/>
                  </a:cubicBezTo>
                  <a:cubicBezTo>
                    <a:pt x="11" y="23"/>
                    <a:pt x="11" y="23"/>
                    <a:pt x="11" y="23"/>
                  </a:cubicBezTo>
                  <a:cubicBezTo>
                    <a:pt x="16" y="20"/>
                    <a:pt x="16" y="20"/>
                    <a:pt x="16" y="20"/>
                  </a:cubicBezTo>
                  <a:cubicBezTo>
                    <a:pt x="16" y="20"/>
                    <a:pt x="16" y="20"/>
                    <a:pt x="16" y="20"/>
                  </a:cubicBezTo>
                  <a:cubicBezTo>
                    <a:pt x="20" y="20"/>
                    <a:pt x="20" y="20"/>
                    <a:pt x="20" y="20"/>
                  </a:cubicBezTo>
                  <a:cubicBezTo>
                    <a:pt x="23" y="21"/>
                    <a:pt x="23" y="21"/>
                    <a:pt x="23" y="21"/>
                  </a:cubicBezTo>
                  <a:cubicBezTo>
                    <a:pt x="25" y="20"/>
                    <a:pt x="25" y="20"/>
                    <a:pt x="25" y="20"/>
                  </a:cubicBezTo>
                  <a:cubicBezTo>
                    <a:pt x="29" y="20"/>
                    <a:pt x="29" y="20"/>
                    <a:pt x="29" y="20"/>
                  </a:cubicBezTo>
                  <a:cubicBezTo>
                    <a:pt x="32" y="21"/>
                    <a:pt x="32" y="21"/>
                    <a:pt x="32" y="21"/>
                  </a:cubicBezTo>
                  <a:cubicBezTo>
                    <a:pt x="34" y="20"/>
                    <a:pt x="34" y="20"/>
                    <a:pt x="34" y="20"/>
                  </a:cubicBezTo>
                  <a:cubicBezTo>
                    <a:pt x="36" y="14"/>
                    <a:pt x="36" y="14"/>
                    <a:pt x="36" y="14"/>
                  </a:cubicBezTo>
                  <a:cubicBezTo>
                    <a:pt x="36" y="11"/>
                    <a:pt x="36" y="11"/>
                    <a:pt x="36" y="11"/>
                  </a:cubicBezTo>
                  <a:cubicBezTo>
                    <a:pt x="36" y="9"/>
                    <a:pt x="36" y="9"/>
                    <a:pt x="36" y="9"/>
                  </a:cubicBezTo>
                  <a:cubicBezTo>
                    <a:pt x="36" y="5"/>
                    <a:pt x="36" y="5"/>
                    <a:pt x="36" y="5"/>
                  </a:cubicBezTo>
                  <a:cubicBezTo>
                    <a:pt x="38" y="1"/>
                    <a:pt x="38" y="1"/>
                    <a:pt x="38" y="1"/>
                  </a:cubicBezTo>
                  <a:cubicBezTo>
                    <a:pt x="38" y="0"/>
                    <a:pt x="38" y="0"/>
                    <a:pt x="38" y="0"/>
                  </a:cubicBezTo>
                  <a:cubicBezTo>
                    <a:pt x="34" y="5"/>
                    <a:pt x="34" y="5"/>
                    <a:pt x="34" y="5"/>
                  </a:cubicBezTo>
                  <a:cubicBezTo>
                    <a:pt x="29" y="7"/>
                    <a:pt x="29" y="7"/>
                    <a:pt x="29" y="7"/>
                  </a:cubicBezTo>
                  <a:cubicBezTo>
                    <a:pt x="25" y="7"/>
                    <a:pt x="25" y="7"/>
                    <a:pt x="25" y="7"/>
                  </a:cubicBezTo>
                  <a:cubicBezTo>
                    <a:pt x="23" y="11"/>
                    <a:pt x="23" y="11"/>
                    <a:pt x="23" y="11"/>
                  </a:cubicBezTo>
                  <a:cubicBezTo>
                    <a:pt x="22" y="14"/>
                    <a:pt x="22" y="14"/>
                    <a:pt x="22" y="14"/>
                  </a:cubicBezTo>
                  <a:cubicBezTo>
                    <a:pt x="20" y="16"/>
                    <a:pt x="20" y="16"/>
                    <a:pt x="20" y="16"/>
                  </a:cubicBezTo>
                  <a:cubicBezTo>
                    <a:pt x="14" y="16"/>
                    <a:pt x="14" y="16"/>
                    <a:pt x="14" y="16"/>
                  </a:cubicBezTo>
                  <a:cubicBezTo>
                    <a:pt x="11" y="20"/>
                    <a:pt x="11" y="20"/>
                    <a:pt x="11" y="20"/>
                  </a:cubicBezTo>
                  <a:cubicBezTo>
                    <a:pt x="9" y="20"/>
                    <a:pt x="9" y="20"/>
                    <a:pt x="9" y="20"/>
                  </a:cubicBezTo>
                  <a:cubicBezTo>
                    <a:pt x="7" y="20"/>
                    <a:pt x="7" y="20"/>
                    <a:pt x="7" y="20"/>
                  </a:cubicBezTo>
                  <a:cubicBezTo>
                    <a:pt x="5" y="23"/>
                    <a:pt x="5" y="23"/>
                    <a:pt x="5" y="23"/>
                  </a:cubicBezTo>
                  <a:cubicBezTo>
                    <a:pt x="3" y="25"/>
                    <a:pt x="3" y="25"/>
                    <a:pt x="3" y="25"/>
                  </a:cubicBezTo>
                  <a:cubicBezTo>
                    <a:pt x="5" y="27"/>
                    <a:pt x="5" y="27"/>
                    <a:pt x="5" y="27"/>
                  </a:cubicBezTo>
                  <a:cubicBezTo>
                    <a:pt x="7" y="27"/>
                    <a:pt x="7" y="27"/>
                    <a:pt x="7" y="27"/>
                  </a:cubicBezTo>
                  <a:cubicBezTo>
                    <a:pt x="11" y="31"/>
                    <a:pt x="11" y="31"/>
                    <a:pt x="11" y="31"/>
                  </a:cubicBezTo>
                  <a:close/>
                  <a:moveTo>
                    <a:pt x="25" y="71"/>
                  </a:moveTo>
                  <a:cubicBezTo>
                    <a:pt x="25" y="71"/>
                    <a:pt x="25" y="71"/>
                    <a:pt x="25" y="71"/>
                  </a:cubicBezTo>
                  <a:cubicBezTo>
                    <a:pt x="25" y="69"/>
                    <a:pt x="25" y="69"/>
                    <a:pt x="25" y="69"/>
                  </a:cubicBezTo>
                  <a:cubicBezTo>
                    <a:pt x="23" y="67"/>
                    <a:pt x="23" y="67"/>
                    <a:pt x="23" y="67"/>
                  </a:cubicBezTo>
                  <a:cubicBezTo>
                    <a:pt x="22" y="67"/>
                    <a:pt x="22" y="67"/>
                    <a:pt x="22" y="67"/>
                  </a:cubicBezTo>
                  <a:cubicBezTo>
                    <a:pt x="22" y="63"/>
                    <a:pt x="22" y="63"/>
                    <a:pt x="22" y="63"/>
                  </a:cubicBezTo>
                  <a:cubicBezTo>
                    <a:pt x="23" y="62"/>
                    <a:pt x="23" y="62"/>
                    <a:pt x="23" y="62"/>
                  </a:cubicBezTo>
                  <a:cubicBezTo>
                    <a:pt x="25" y="60"/>
                    <a:pt x="25" y="60"/>
                    <a:pt x="25" y="60"/>
                  </a:cubicBezTo>
                  <a:cubicBezTo>
                    <a:pt x="23" y="60"/>
                    <a:pt x="23" y="60"/>
                    <a:pt x="23" y="60"/>
                  </a:cubicBezTo>
                  <a:cubicBezTo>
                    <a:pt x="23" y="56"/>
                    <a:pt x="23" y="56"/>
                    <a:pt x="23" y="56"/>
                  </a:cubicBezTo>
                  <a:cubicBezTo>
                    <a:pt x="29" y="52"/>
                    <a:pt x="29" y="52"/>
                    <a:pt x="29" y="52"/>
                  </a:cubicBezTo>
                  <a:cubicBezTo>
                    <a:pt x="29" y="52"/>
                    <a:pt x="29" y="52"/>
                    <a:pt x="29" y="52"/>
                  </a:cubicBezTo>
                  <a:cubicBezTo>
                    <a:pt x="31" y="49"/>
                    <a:pt x="31" y="49"/>
                    <a:pt x="31" y="49"/>
                  </a:cubicBezTo>
                  <a:cubicBezTo>
                    <a:pt x="32" y="51"/>
                    <a:pt x="32" y="51"/>
                    <a:pt x="32" y="51"/>
                  </a:cubicBezTo>
                  <a:cubicBezTo>
                    <a:pt x="36" y="49"/>
                    <a:pt x="36" y="49"/>
                    <a:pt x="36" y="49"/>
                  </a:cubicBezTo>
                  <a:cubicBezTo>
                    <a:pt x="36" y="43"/>
                    <a:pt x="36" y="43"/>
                    <a:pt x="36" y="43"/>
                  </a:cubicBezTo>
                  <a:cubicBezTo>
                    <a:pt x="34" y="42"/>
                    <a:pt x="34" y="42"/>
                    <a:pt x="34" y="42"/>
                  </a:cubicBezTo>
                  <a:cubicBezTo>
                    <a:pt x="36" y="40"/>
                    <a:pt x="36" y="40"/>
                    <a:pt x="36" y="40"/>
                  </a:cubicBezTo>
                  <a:cubicBezTo>
                    <a:pt x="38" y="38"/>
                    <a:pt x="38" y="38"/>
                    <a:pt x="38" y="38"/>
                  </a:cubicBezTo>
                  <a:cubicBezTo>
                    <a:pt x="42" y="42"/>
                    <a:pt x="42" y="42"/>
                    <a:pt x="42" y="42"/>
                  </a:cubicBezTo>
                  <a:cubicBezTo>
                    <a:pt x="42" y="40"/>
                    <a:pt x="42" y="40"/>
                    <a:pt x="42" y="40"/>
                  </a:cubicBezTo>
                  <a:cubicBezTo>
                    <a:pt x="43" y="40"/>
                    <a:pt x="43" y="40"/>
                    <a:pt x="43" y="40"/>
                  </a:cubicBezTo>
                  <a:cubicBezTo>
                    <a:pt x="45" y="40"/>
                    <a:pt x="45" y="40"/>
                    <a:pt x="45" y="40"/>
                  </a:cubicBezTo>
                  <a:cubicBezTo>
                    <a:pt x="45" y="36"/>
                    <a:pt x="45" y="36"/>
                    <a:pt x="45" y="36"/>
                  </a:cubicBezTo>
                  <a:cubicBezTo>
                    <a:pt x="43" y="32"/>
                    <a:pt x="43" y="32"/>
                    <a:pt x="43" y="32"/>
                  </a:cubicBezTo>
                  <a:cubicBezTo>
                    <a:pt x="42" y="34"/>
                    <a:pt x="42" y="34"/>
                    <a:pt x="42" y="34"/>
                  </a:cubicBezTo>
                  <a:cubicBezTo>
                    <a:pt x="36" y="34"/>
                    <a:pt x="36" y="34"/>
                    <a:pt x="36" y="34"/>
                  </a:cubicBezTo>
                  <a:cubicBezTo>
                    <a:pt x="34" y="32"/>
                    <a:pt x="34" y="32"/>
                    <a:pt x="34" y="32"/>
                  </a:cubicBezTo>
                  <a:cubicBezTo>
                    <a:pt x="32" y="29"/>
                    <a:pt x="32" y="29"/>
                    <a:pt x="32" y="29"/>
                  </a:cubicBezTo>
                  <a:cubicBezTo>
                    <a:pt x="31" y="29"/>
                    <a:pt x="31" y="29"/>
                    <a:pt x="31" y="29"/>
                  </a:cubicBezTo>
                  <a:cubicBezTo>
                    <a:pt x="32" y="27"/>
                    <a:pt x="32" y="27"/>
                    <a:pt x="32" y="27"/>
                  </a:cubicBezTo>
                  <a:cubicBezTo>
                    <a:pt x="32" y="23"/>
                    <a:pt x="32" y="23"/>
                    <a:pt x="32" y="23"/>
                  </a:cubicBezTo>
                  <a:cubicBezTo>
                    <a:pt x="29" y="21"/>
                    <a:pt x="29" y="21"/>
                    <a:pt x="29" y="21"/>
                  </a:cubicBezTo>
                  <a:cubicBezTo>
                    <a:pt x="25" y="21"/>
                    <a:pt x="25" y="21"/>
                    <a:pt x="25" y="21"/>
                  </a:cubicBezTo>
                  <a:cubicBezTo>
                    <a:pt x="22" y="23"/>
                    <a:pt x="22" y="23"/>
                    <a:pt x="22" y="23"/>
                  </a:cubicBezTo>
                  <a:cubicBezTo>
                    <a:pt x="20" y="21"/>
                    <a:pt x="20" y="21"/>
                    <a:pt x="20" y="21"/>
                  </a:cubicBezTo>
                  <a:cubicBezTo>
                    <a:pt x="18" y="23"/>
                    <a:pt x="18" y="23"/>
                    <a:pt x="18" y="23"/>
                  </a:cubicBezTo>
                  <a:cubicBezTo>
                    <a:pt x="22" y="27"/>
                    <a:pt x="22" y="27"/>
                    <a:pt x="22" y="27"/>
                  </a:cubicBezTo>
                  <a:cubicBezTo>
                    <a:pt x="20" y="29"/>
                    <a:pt x="20" y="29"/>
                    <a:pt x="20" y="29"/>
                  </a:cubicBezTo>
                  <a:cubicBezTo>
                    <a:pt x="23" y="32"/>
                    <a:pt x="23" y="32"/>
                    <a:pt x="23" y="32"/>
                  </a:cubicBezTo>
                  <a:cubicBezTo>
                    <a:pt x="23" y="32"/>
                    <a:pt x="23" y="32"/>
                    <a:pt x="23" y="32"/>
                  </a:cubicBezTo>
                  <a:cubicBezTo>
                    <a:pt x="20" y="32"/>
                    <a:pt x="20" y="32"/>
                    <a:pt x="20" y="32"/>
                  </a:cubicBezTo>
                  <a:cubicBezTo>
                    <a:pt x="18" y="32"/>
                    <a:pt x="18" y="32"/>
                    <a:pt x="18" y="32"/>
                  </a:cubicBezTo>
                  <a:cubicBezTo>
                    <a:pt x="16" y="31"/>
                    <a:pt x="16" y="31"/>
                    <a:pt x="16" y="31"/>
                  </a:cubicBezTo>
                  <a:cubicBezTo>
                    <a:pt x="18" y="29"/>
                    <a:pt x="18" y="29"/>
                    <a:pt x="18" y="29"/>
                  </a:cubicBezTo>
                  <a:cubicBezTo>
                    <a:pt x="16" y="25"/>
                    <a:pt x="16" y="25"/>
                    <a:pt x="16" y="25"/>
                  </a:cubicBezTo>
                  <a:cubicBezTo>
                    <a:pt x="16" y="25"/>
                    <a:pt x="16" y="25"/>
                    <a:pt x="16" y="25"/>
                  </a:cubicBezTo>
                  <a:cubicBezTo>
                    <a:pt x="12" y="31"/>
                    <a:pt x="12" y="31"/>
                    <a:pt x="12" y="31"/>
                  </a:cubicBezTo>
                  <a:cubicBezTo>
                    <a:pt x="14" y="32"/>
                    <a:pt x="14" y="32"/>
                    <a:pt x="14" y="32"/>
                  </a:cubicBezTo>
                  <a:cubicBezTo>
                    <a:pt x="11" y="34"/>
                    <a:pt x="11" y="34"/>
                    <a:pt x="11" y="34"/>
                  </a:cubicBezTo>
                  <a:cubicBezTo>
                    <a:pt x="9" y="32"/>
                    <a:pt x="9" y="32"/>
                    <a:pt x="9" y="32"/>
                  </a:cubicBezTo>
                  <a:cubicBezTo>
                    <a:pt x="7" y="32"/>
                    <a:pt x="7" y="32"/>
                    <a:pt x="7" y="32"/>
                  </a:cubicBezTo>
                  <a:cubicBezTo>
                    <a:pt x="5" y="31"/>
                    <a:pt x="5" y="31"/>
                    <a:pt x="5" y="31"/>
                  </a:cubicBezTo>
                  <a:cubicBezTo>
                    <a:pt x="2" y="34"/>
                    <a:pt x="2" y="34"/>
                    <a:pt x="2" y="34"/>
                  </a:cubicBezTo>
                  <a:cubicBezTo>
                    <a:pt x="5" y="36"/>
                    <a:pt x="5" y="36"/>
                    <a:pt x="5" y="36"/>
                  </a:cubicBezTo>
                  <a:cubicBezTo>
                    <a:pt x="5" y="40"/>
                    <a:pt x="5" y="40"/>
                    <a:pt x="5" y="40"/>
                  </a:cubicBezTo>
                  <a:cubicBezTo>
                    <a:pt x="3" y="38"/>
                    <a:pt x="3" y="38"/>
                    <a:pt x="3" y="38"/>
                  </a:cubicBezTo>
                  <a:cubicBezTo>
                    <a:pt x="2" y="38"/>
                    <a:pt x="2" y="38"/>
                    <a:pt x="2" y="38"/>
                  </a:cubicBezTo>
                  <a:cubicBezTo>
                    <a:pt x="3" y="43"/>
                    <a:pt x="3" y="43"/>
                    <a:pt x="3" y="43"/>
                  </a:cubicBezTo>
                  <a:cubicBezTo>
                    <a:pt x="5" y="43"/>
                    <a:pt x="5" y="43"/>
                    <a:pt x="5" y="43"/>
                  </a:cubicBezTo>
                  <a:cubicBezTo>
                    <a:pt x="5" y="47"/>
                    <a:pt x="5" y="47"/>
                    <a:pt x="5" y="47"/>
                  </a:cubicBezTo>
                  <a:cubicBezTo>
                    <a:pt x="7" y="49"/>
                    <a:pt x="7" y="49"/>
                    <a:pt x="7" y="49"/>
                  </a:cubicBezTo>
                  <a:cubicBezTo>
                    <a:pt x="2" y="52"/>
                    <a:pt x="2" y="52"/>
                    <a:pt x="2" y="52"/>
                  </a:cubicBezTo>
                  <a:cubicBezTo>
                    <a:pt x="0" y="56"/>
                    <a:pt x="0" y="56"/>
                    <a:pt x="0" y="56"/>
                  </a:cubicBezTo>
                  <a:cubicBezTo>
                    <a:pt x="2" y="58"/>
                    <a:pt x="2" y="58"/>
                    <a:pt x="2" y="58"/>
                  </a:cubicBezTo>
                  <a:cubicBezTo>
                    <a:pt x="5" y="56"/>
                    <a:pt x="5" y="56"/>
                    <a:pt x="5" y="56"/>
                  </a:cubicBezTo>
                  <a:cubicBezTo>
                    <a:pt x="9" y="60"/>
                    <a:pt x="9" y="60"/>
                    <a:pt x="9" y="60"/>
                  </a:cubicBezTo>
                  <a:cubicBezTo>
                    <a:pt x="11" y="65"/>
                    <a:pt x="11" y="65"/>
                    <a:pt x="11" y="65"/>
                  </a:cubicBezTo>
                  <a:cubicBezTo>
                    <a:pt x="9" y="67"/>
                    <a:pt x="9" y="67"/>
                    <a:pt x="9" y="67"/>
                  </a:cubicBezTo>
                  <a:cubicBezTo>
                    <a:pt x="9" y="69"/>
                    <a:pt x="9" y="69"/>
                    <a:pt x="9" y="69"/>
                  </a:cubicBezTo>
                  <a:cubicBezTo>
                    <a:pt x="14" y="69"/>
                    <a:pt x="14" y="69"/>
                    <a:pt x="14" y="69"/>
                  </a:cubicBezTo>
                  <a:cubicBezTo>
                    <a:pt x="20" y="71"/>
                    <a:pt x="20" y="71"/>
                    <a:pt x="20" y="71"/>
                  </a:cubicBezTo>
                  <a:cubicBezTo>
                    <a:pt x="22" y="71"/>
                    <a:pt x="22" y="71"/>
                    <a:pt x="22" y="71"/>
                  </a:cubicBezTo>
                  <a:cubicBezTo>
                    <a:pt x="25" y="71"/>
                    <a:pt x="25" y="71"/>
                    <a:pt x="25" y="71"/>
                  </a:cubicBezTo>
                  <a:cubicBezTo>
                    <a:pt x="25" y="71"/>
                    <a:pt x="25" y="71"/>
                    <a:pt x="25" y="71"/>
                  </a:cubicBezTo>
                  <a:close/>
                </a:path>
              </a:pathLst>
            </a:custGeom>
            <a:solidFill>
              <a:schemeClr val="bg1"/>
            </a:solidFill>
            <a:ln w="6350">
              <a:solidFill>
                <a:schemeClr val="accent2"/>
              </a:solidFill>
              <a:round/>
              <a:headEnd/>
              <a:tailEnd/>
            </a:ln>
          </p:spPr>
          <p:txBody>
            <a:bodyPr/>
            <a:lstStyle/>
            <a:p>
              <a:endParaRPr lang="de-DE"/>
            </a:p>
          </p:txBody>
        </p:sp>
        <p:sp>
          <p:nvSpPr>
            <p:cNvPr id="173" name="Freeform 13"/>
            <p:cNvSpPr>
              <a:spLocks noEditPoints="1"/>
            </p:cNvSpPr>
            <p:nvPr/>
          </p:nvSpPr>
          <p:spPr bwMode="gray">
            <a:xfrm>
              <a:off x="2462" y="-195"/>
              <a:ext cx="1120" cy="1283"/>
            </a:xfrm>
            <a:custGeom>
              <a:avLst/>
              <a:gdLst>
                <a:gd name="T0" fmla="*/ 35928601 w 352"/>
                <a:gd name="T1" fmla="*/ 5446622 h 403"/>
                <a:gd name="T2" fmla="*/ 37103306 w 352"/>
                <a:gd name="T3" fmla="*/ 2890459 h 403"/>
                <a:gd name="T4" fmla="*/ 34362879 w 352"/>
                <a:gd name="T5" fmla="*/ 1909591 h 403"/>
                <a:gd name="T6" fmla="*/ 32861446 w 352"/>
                <a:gd name="T7" fmla="*/ 1909591 h 403"/>
                <a:gd name="T8" fmla="*/ 31682560 w 352"/>
                <a:gd name="T9" fmla="*/ 0 h 403"/>
                <a:gd name="T10" fmla="*/ 30517270 w 352"/>
                <a:gd name="T11" fmla="*/ 2691562 h 403"/>
                <a:gd name="T12" fmla="*/ 28176416 w 352"/>
                <a:gd name="T13" fmla="*/ 3861741 h 403"/>
                <a:gd name="T14" fmla="*/ 27006939 w 352"/>
                <a:gd name="T15" fmla="*/ 1382730 h 403"/>
                <a:gd name="T16" fmla="*/ 26073215 w 352"/>
                <a:gd name="T17" fmla="*/ 4505412 h 403"/>
                <a:gd name="T18" fmla="*/ 23732036 w 352"/>
                <a:gd name="T19" fmla="*/ 4906046 h 403"/>
                <a:gd name="T20" fmla="*/ 21388185 w 352"/>
                <a:gd name="T21" fmla="*/ 7152792 h 403"/>
                <a:gd name="T22" fmla="*/ 20420931 w 352"/>
                <a:gd name="T23" fmla="*/ 8031535 h 403"/>
                <a:gd name="T24" fmla="*/ 18383037 w 352"/>
                <a:gd name="T25" fmla="*/ 8031535 h 403"/>
                <a:gd name="T26" fmla="*/ 16482073 w 352"/>
                <a:gd name="T27" fmla="*/ 10477567 h 403"/>
                <a:gd name="T28" fmla="*/ 16283833 w 352"/>
                <a:gd name="T29" fmla="*/ 11661397 h 403"/>
                <a:gd name="T30" fmla="*/ 14569736 w 352"/>
                <a:gd name="T31" fmla="*/ 13033768 h 403"/>
                <a:gd name="T32" fmla="*/ 14770939 w 352"/>
                <a:gd name="T33" fmla="*/ 14647393 h 403"/>
                <a:gd name="T34" fmla="*/ 12869942 w 352"/>
                <a:gd name="T35" fmla="*/ 16799637 h 403"/>
                <a:gd name="T36" fmla="*/ 12668737 w 352"/>
                <a:gd name="T37" fmla="*/ 18276972 h 403"/>
                <a:gd name="T38" fmla="*/ 11797033 w 352"/>
                <a:gd name="T39" fmla="*/ 20630939 h 403"/>
                <a:gd name="T40" fmla="*/ 9895136 w 352"/>
                <a:gd name="T41" fmla="*/ 23216312 h 403"/>
                <a:gd name="T42" fmla="*/ 7554282 w 352"/>
                <a:gd name="T43" fmla="*/ 26106732 h 403"/>
                <a:gd name="T44" fmla="*/ 10327883 w 352"/>
                <a:gd name="T45" fmla="*/ 25865344 h 403"/>
                <a:gd name="T46" fmla="*/ 6817539 w 352"/>
                <a:gd name="T47" fmla="*/ 26941720 h 403"/>
                <a:gd name="T48" fmla="*/ 5850298 w 352"/>
                <a:gd name="T49" fmla="*/ 28662901 h 403"/>
                <a:gd name="T50" fmla="*/ 4242751 w 352"/>
                <a:gd name="T51" fmla="*/ 29093964 h 403"/>
                <a:gd name="T52" fmla="*/ 3509402 w 352"/>
                <a:gd name="T53" fmla="*/ 30604561 h 403"/>
                <a:gd name="T54" fmla="*/ 631047 w 352"/>
                <a:gd name="T55" fmla="*/ 31002613 h 403"/>
                <a:gd name="T56" fmla="*/ 1165258 w 352"/>
                <a:gd name="T57" fmla="*/ 32955663 h 403"/>
                <a:gd name="T58" fmla="*/ 2879580 w 352"/>
                <a:gd name="T59" fmla="*/ 33601331 h 403"/>
                <a:gd name="T60" fmla="*/ 3509402 w 352"/>
                <a:gd name="T61" fmla="*/ 34340450 h 403"/>
                <a:gd name="T62" fmla="*/ 966929 w 352"/>
                <a:gd name="T63" fmla="*/ 35308771 h 403"/>
                <a:gd name="T64" fmla="*/ 3509402 w 352"/>
                <a:gd name="T65" fmla="*/ 35849093 h 403"/>
                <a:gd name="T66" fmla="*/ 1608444 w 352"/>
                <a:gd name="T67" fmla="*/ 38401056 h 403"/>
                <a:gd name="T68" fmla="*/ 2773604 w 352"/>
                <a:gd name="T69" fmla="*/ 40310647 h 403"/>
                <a:gd name="T70" fmla="*/ 4473366 w 352"/>
                <a:gd name="T71" fmla="*/ 43108529 h 403"/>
                <a:gd name="T72" fmla="*/ 7752195 w 352"/>
                <a:gd name="T73" fmla="*/ 40015949 h 403"/>
                <a:gd name="T74" fmla="*/ 9359608 w 352"/>
                <a:gd name="T75" fmla="*/ 38835280 h 403"/>
                <a:gd name="T76" fmla="*/ 11704773 w 352"/>
                <a:gd name="T77" fmla="*/ 40111779 h 403"/>
                <a:gd name="T78" fmla="*/ 11704773 w 352"/>
                <a:gd name="T79" fmla="*/ 30369428 h 403"/>
                <a:gd name="T80" fmla="*/ 14141177 w 352"/>
                <a:gd name="T81" fmla="*/ 18171966 h 403"/>
                <a:gd name="T82" fmla="*/ 18815777 w 352"/>
                <a:gd name="T83" fmla="*/ 11322914 h 403"/>
                <a:gd name="T84" fmla="*/ 22123987 w 352"/>
                <a:gd name="T85" fmla="*/ 8336756 h 403"/>
                <a:gd name="T86" fmla="*/ 28509425 w 352"/>
                <a:gd name="T87" fmla="*/ 9202131 h 403"/>
                <a:gd name="T88" fmla="*/ 32861446 w 352"/>
                <a:gd name="T89" fmla="*/ 4262658 h 403"/>
                <a:gd name="T90" fmla="*/ 1366464 w 352"/>
                <a:gd name="T91" fmla="*/ 37221329 h 403"/>
                <a:gd name="T92" fmla="*/ 631047 w 352"/>
                <a:gd name="T93" fmla="*/ 36482204 h 403"/>
                <a:gd name="T94" fmla="*/ 1805459 w 352"/>
                <a:gd name="T95" fmla="*/ 30604561 h 403"/>
                <a:gd name="T96" fmla="*/ 6586936 w 352"/>
                <a:gd name="T97" fmla="*/ 26541087 h 403"/>
                <a:gd name="T98" fmla="*/ 10862094 w 352"/>
                <a:gd name="T99" fmla="*/ 20124087 h 403"/>
                <a:gd name="T100" fmla="*/ 11502254 w 352"/>
                <a:gd name="T101" fmla="*/ 13473920 h 403"/>
                <a:gd name="T102" fmla="*/ 13834036 w 352"/>
                <a:gd name="T103" fmla="*/ 10384704 h 403"/>
                <a:gd name="T104" fmla="*/ 15012922 w 352"/>
                <a:gd name="T105" fmla="*/ 8969835 h 403"/>
                <a:gd name="T106" fmla="*/ 14770939 w 352"/>
                <a:gd name="T107" fmla="*/ 9941248 h 403"/>
                <a:gd name="T108" fmla="*/ 18383037 w 352"/>
                <a:gd name="T109" fmla="*/ 7152792 h 403"/>
                <a:gd name="T110" fmla="*/ 18383037 w 352"/>
                <a:gd name="T111" fmla="*/ 7152792 h 403"/>
                <a:gd name="T112" fmla="*/ 20420931 w 352"/>
                <a:gd name="T113" fmla="*/ 5446622 h 403"/>
                <a:gd name="T114" fmla="*/ 21156641 w 352"/>
                <a:gd name="T115" fmla="*/ 4262658 h 403"/>
                <a:gd name="T116" fmla="*/ 25841677 w 352"/>
                <a:gd name="T117" fmla="*/ 2691562 h 403"/>
                <a:gd name="T118" fmla="*/ 25841677 w 352"/>
                <a:gd name="T119" fmla="*/ 1909591 h 403"/>
                <a:gd name="T120" fmla="*/ 29351111 w 352"/>
                <a:gd name="T121" fmla="*/ 537383 h 40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2" h="403">
                  <a:moveTo>
                    <a:pt x="327" y="73"/>
                  </a:moveTo>
                  <a:cubicBezTo>
                    <a:pt x="329" y="71"/>
                    <a:pt x="329" y="71"/>
                    <a:pt x="329" y="71"/>
                  </a:cubicBezTo>
                  <a:cubicBezTo>
                    <a:pt x="329" y="66"/>
                    <a:pt x="329" y="66"/>
                    <a:pt x="329" y="66"/>
                  </a:cubicBezTo>
                  <a:cubicBezTo>
                    <a:pt x="334" y="62"/>
                    <a:pt x="334" y="62"/>
                    <a:pt x="334" y="62"/>
                  </a:cubicBezTo>
                  <a:cubicBezTo>
                    <a:pt x="338" y="60"/>
                    <a:pt x="338" y="60"/>
                    <a:pt x="338" y="60"/>
                  </a:cubicBezTo>
                  <a:cubicBezTo>
                    <a:pt x="340" y="56"/>
                    <a:pt x="340" y="56"/>
                    <a:pt x="340" y="56"/>
                  </a:cubicBezTo>
                  <a:cubicBezTo>
                    <a:pt x="340" y="53"/>
                    <a:pt x="340" y="53"/>
                    <a:pt x="340" y="53"/>
                  </a:cubicBezTo>
                  <a:cubicBezTo>
                    <a:pt x="343" y="53"/>
                    <a:pt x="343" y="53"/>
                    <a:pt x="343" y="53"/>
                  </a:cubicBezTo>
                  <a:cubicBezTo>
                    <a:pt x="347" y="53"/>
                    <a:pt x="347" y="53"/>
                    <a:pt x="347" y="53"/>
                  </a:cubicBezTo>
                  <a:cubicBezTo>
                    <a:pt x="349" y="51"/>
                    <a:pt x="349" y="51"/>
                    <a:pt x="349" y="51"/>
                  </a:cubicBezTo>
                  <a:cubicBezTo>
                    <a:pt x="349" y="47"/>
                    <a:pt x="349" y="47"/>
                    <a:pt x="349" y="47"/>
                  </a:cubicBezTo>
                  <a:cubicBezTo>
                    <a:pt x="347" y="47"/>
                    <a:pt x="347" y="47"/>
                    <a:pt x="347" y="47"/>
                  </a:cubicBezTo>
                  <a:cubicBezTo>
                    <a:pt x="345" y="46"/>
                    <a:pt x="345" y="46"/>
                    <a:pt x="345" y="46"/>
                  </a:cubicBezTo>
                  <a:cubicBezTo>
                    <a:pt x="343" y="46"/>
                    <a:pt x="343" y="46"/>
                    <a:pt x="343" y="46"/>
                  </a:cubicBezTo>
                  <a:cubicBezTo>
                    <a:pt x="341" y="46"/>
                    <a:pt x="341" y="46"/>
                    <a:pt x="341" y="46"/>
                  </a:cubicBezTo>
                  <a:cubicBezTo>
                    <a:pt x="341" y="47"/>
                    <a:pt x="341" y="47"/>
                    <a:pt x="341" y="47"/>
                  </a:cubicBezTo>
                  <a:cubicBezTo>
                    <a:pt x="341" y="47"/>
                    <a:pt x="341" y="47"/>
                    <a:pt x="341" y="47"/>
                  </a:cubicBezTo>
                  <a:cubicBezTo>
                    <a:pt x="340" y="46"/>
                    <a:pt x="340" y="46"/>
                    <a:pt x="340" y="46"/>
                  </a:cubicBezTo>
                  <a:cubicBezTo>
                    <a:pt x="338" y="46"/>
                    <a:pt x="338" y="46"/>
                    <a:pt x="338" y="46"/>
                  </a:cubicBezTo>
                  <a:cubicBezTo>
                    <a:pt x="338" y="47"/>
                    <a:pt x="338" y="47"/>
                    <a:pt x="338" y="47"/>
                  </a:cubicBezTo>
                  <a:cubicBezTo>
                    <a:pt x="338" y="51"/>
                    <a:pt x="338" y="51"/>
                    <a:pt x="338" y="51"/>
                  </a:cubicBezTo>
                  <a:cubicBezTo>
                    <a:pt x="336" y="49"/>
                    <a:pt x="336" y="49"/>
                    <a:pt x="336" y="49"/>
                  </a:cubicBezTo>
                  <a:cubicBezTo>
                    <a:pt x="336" y="47"/>
                    <a:pt x="336" y="47"/>
                    <a:pt x="336" y="47"/>
                  </a:cubicBezTo>
                  <a:cubicBezTo>
                    <a:pt x="332" y="49"/>
                    <a:pt x="332" y="49"/>
                    <a:pt x="332" y="49"/>
                  </a:cubicBezTo>
                  <a:cubicBezTo>
                    <a:pt x="332" y="51"/>
                    <a:pt x="332" y="51"/>
                    <a:pt x="332" y="51"/>
                  </a:cubicBezTo>
                  <a:cubicBezTo>
                    <a:pt x="330" y="47"/>
                    <a:pt x="330" y="47"/>
                    <a:pt x="330" y="47"/>
                  </a:cubicBezTo>
                  <a:cubicBezTo>
                    <a:pt x="330" y="44"/>
                    <a:pt x="330" y="44"/>
                    <a:pt x="330" y="44"/>
                  </a:cubicBezTo>
                  <a:cubicBezTo>
                    <a:pt x="329" y="44"/>
                    <a:pt x="329" y="44"/>
                    <a:pt x="329" y="44"/>
                  </a:cubicBezTo>
                  <a:cubicBezTo>
                    <a:pt x="327" y="40"/>
                    <a:pt x="327" y="40"/>
                    <a:pt x="327" y="40"/>
                  </a:cubicBezTo>
                  <a:cubicBezTo>
                    <a:pt x="327" y="40"/>
                    <a:pt x="327" y="40"/>
                    <a:pt x="327" y="40"/>
                  </a:cubicBezTo>
                  <a:cubicBezTo>
                    <a:pt x="323" y="40"/>
                    <a:pt x="323" y="40"/>
                    <a:pt x="323" y="40"/>
                  </a:cubicBezTo>
                  <a:cubicBezTo>
                    <a:pt x="321" y="38"/>
                    <a:pt x="321" y="38"/>
                    <a:pt x="321" y="38"/>
                  </a:cubicBezTo>
                  <a:cubicBezTo>
                    <a:pt x="316" y="38"/>
                    <a:pt x="316" y="38"/>
                    <a:pt x="316" y="38"/>
                  </a:cubicBezTo>
                  <a:cubicBezTo>
                    <a:pt x="314" y="36"/>
                    <a:pt x="314" y="36"/>
                    <a:pt x="314" y="36"/>
                  </a:cubicBezTo>
                  <a:cubicBezTo>
                    <a:pt x="316" y="35"/>
                    <a:pt x="316" y="35"/>
                    <a:pt x="316" y="35"/>
                  </a:cubicBezTo>
                  <a:cubicBezTo>
                    <a:pt x="319" y="36"/>
                    <a:pt x="319" y="36"/>
                    <a:pt x="319" y="36"/>
                  </a:cubicBezTo>
                  <a:cubicBezTo>
                    <a:pt x="325" y="36"/>
                    <a:pt x="325" y="36"/>
                    <a:pt x="325" y="36"/>
                  </a:cubicBezTo>
                  <a:cubicBezTo>
                    <a:pt x="329" y="36"/>
                    <a:pt x="329" y="36"/>
                    <a:pt x="329" y="36"/>
                  </a:cubicBezTo>
                  <a:cubicBezTo>
                    <a:pt x="334" y="36"/>
                    <a:pt x="334" y="36"/>
                    <a:pt x="334" y="36"/>
                  </a:cubicBezTo>
                  <a:cubicBezTo>
                    <a:pt x="340" y="36"/>
                    <a:pt x="340" y="36"/>
                    <a:pt x="340" y="36"/>
                  </a:cubicBezTo>
                  <a:cubicBezTo>
                    <a:pt x="343" y="29"/>
                    <a:pt x="343" y="29"/>
                    <a:pt x="343" y="29"/>
                  </a:cubicBezTo>
                  <a:cubicBezTo>
                    <a:pt x="349" y="27"/>
                    <a:pt x="349" y="27"/>
                    <a:pt x="349" y="27"/>
                  </a:cubicBezTo>
                  <a:cubicBezTo>
                    <a:pt x="352" y="25"/>
                    <a:pt x="352" y="25"/>
                    <a:pt x="352" y="25"/>
                  </a:cubicBezTo>
                  <a:cubicBezTo>
                    <a:pt x="352" y="24"/>
                    <a:pt x="352" y="24"/>
                    <a:pt x="352" y="24"/>
                  </a:cubicBezTo>
                  <a:cubicBezTo>
                    <a:pt x="350" y="24"/>
                    <a:pt x="350" y="24"/>
                    <a:pt x="350" y="24"/>
                  </a:cubicBezTo>
                  <a:cubicBezTo>
                    <a:pt x="349" y="22"/>
                    <a:pt x="349" y="22"/>
                    <a:pt x="349" y="22"/>
                  </a:cubicBezTo>
                  <a:cubicBezTo>
                    <a:pt x="347" y="22"/>
                    <a:pt x="347" y="22"/>
                    <a:pt x="347" y="22"/>
                  </a:cubicBezTo>
                  <a:cubicBezTo>
                    <a:pt x="343" y="22"/>
                    <a:pt x="343" y="22"/>
                    <a:pt x="343" y="22"/>
                  </a:cubicBezTo>
                  <a:cubicBezTo>
                    <a:pt x="340" y="18"/>
                    <a:pt x="340" y="18"/>
                    <a:pt x="340" y="18"/>
                  </a:cubicBezTo>
                  <a:cubicBezTo>
                    <a:pt x="338" y="18"/>
                    <a:pt x="338" y="18"/>
                    <a:pt x="338" y="18"/>
                  </a:cubicBezTo>
                  <a:cubicBezTo>
                    <a:pt x="334" y="22"/>
                    <a:pt x="334" y="22"/>
                    <a:pt x="334" y="22"/>
                  </a:cubicBezTo>
                  <a:cubicBezTo>
                    <a:pt x="332" y="22"/>
                    <a:pt x="332" y="22"/>
                    <a:pt x="332" y="22"/>
                  </a:cubicBezTo>
                  <a:cubicBezTo>
                    <a:pt x="332" y="20"/>
                    <a:pt x="332" y="20"/>
                    <a:pt x="332" y="20"/>
                  </a:cubicBezTo>
                  <a:cubicBezTo>
                    <a:pt x="336" y="18"/>
                    <a:pt x="336" y="18"/>
                    <a:pt x="336" y="18"/>
                  </a:cubicBezTo>
                  <a:cubicBezTo>
                    <a:pt x="336" y="16"/>
                    <a:pt x="336" y="16"/>
                    <a:pt x="336" y="16"/>
                  </a:cubicBezTo>
                  <a:cubicBezTo>
                    <a:pt x="332" y="15"/>
                    <a:pt x="332" y="15"/>
                    <a:pt x="332" y="15"/>
                  </a:cubicBezTo>
                  <a:cubicBezTo>
                    <a:pt x="332" y="15"/>
                    <a:pt x="332" y="15"/>
                    <a:pt x="332" y="15"/>
                  </a:cubicBezTo>
                  <a:cubicBezTo>
                    <a:pt x="329" y="15"/>
                    <a:pt x="329" y="15"/>
                    <a:pt x="329" y="15"/>
                  </a:cubicBezTo>
                  <a:cubicBezTo>
                    <a:pt x="327" y="18"/>
                    <a:pt x="327" y="18"/>
                    <a:pt x="327" y="18"/>
                  </a:cubicBezTo>
                  <a:cubicBezTo>
                    <a:pt x="325" y="18"/>
                    <a:pt x="325" y="18"/>
                    <a:pt x="325" y="18"/>
                  </a:cubicBezTo>
                  <a:cubicBezTo>
                    <a:pt x="327" y="16"/>
                    <a:pt x="327" y="16"/>
                    <a:pt x="327" y="16"/>
                  </a:cubicBezTo>
                  <a:cubicBezTo>
                    <a:pt x="325" y="16"/>
                    <a:pt x="325" y="16"/>
                    <a:pt x="325" y="16"/>
                  </a:cubicBezTo>
                  <a:cubicBezTo>
                    <a:pt x="323" y="18"/>
                    <a:pt x="323" y="18"/>
                    <a:pt x="323" y="18"/>
                  </a:cubicBezTo>
                  <a:cubicBezTo>
                    <a:pt x="321" y="18"/>
                    <a:pt x="321" y="18"/>
                    <a:pt x="321" y="18"/>
                  </a:cubicBezTo>
                  <a:cubicBezTo>
                    <a:pt x="321" y="16"/>
                    <a:pt x="321" y="16"/>
                    <a:pt x="321" y="16"/>
                  </a:cubicBezTo>
                  <a:cubicBezTo>
                    <a:pt x="323" y="15"/>
                    <a:pt x="323" y="15"/>
                    <a:pt x="323" y="15"/>
                  </a:cubicBezTo>
                  <a:cubicBezTo>
                    <a:pt x="323" y="13"/>
                    <a:pt x="323" y="13"/>
                    <a:pt x="323" y="13"/>
                  </a:cubicBezTo>
                  <a:cubicBezTo>
                    <a:pt x="319" y="11"/>
                    <a:pt x="319" y="11"/>
                    <a:pt x="319" y="11"/>
                  </a:cubicBezTo>
                  <a:cubicBezTo>
                    <a:pt x="316" y="11"/>
                    <a:pt x="316" y="11"/>
                    <a:pt x="316" y="11"/>
                  </a:cubicBezTo>
                  <a:cubicBezTo>
                    <a:pt x="314" y="11"/>
                    <a:pt x="314" y="11"/>
                    <a:pt x="314" y="11"/>
                  </a:cubicBezTo>
                  <a:cubicBezTo>
                    <a:pt x="314" y="16"/>
                    <a:pt x="314" y="16"/>
                    <a:pt x="314" y="16"/>
                  </a:cubicBezTo>
                  <a:cubicBezTo>
                    <a:pt x="312" y="16"/>
                    <a:pt x="312" y="16"/>
                    <a:pt x="312" y="16"/>
                  </a:cubicBezTo>
                  <a:cubicBezTo>
                    <a:pt x="312" y="18"/>
                    <a:pt x="312" y="18"/>
                    <a:pt x="312" y="18"/>
                  </a:cubicBezTo>
                  <a:cubicBezTo>
                    <a:pt x="314" y="24"/>
                    <a:pt x="314" y="24"/>
                    <a:pt x="314" y="24"/>
                  </a:cubicBezTo>
                  <a:cubicBezTo>
                    <a:pt x="314" y="25"/>
                    <a:pt x="314" y="25"/>
                    <a:pt x="314" y="25"/>
                  </a:cubicBezTo>
                  <a:cubicBezTo>
                    <a:pt x="312" y="27"/>
                    <a:pt x="312" y="27"/>
                    <a:pt x="312" y="27"/>
                  </a:cubicBezTo>
                  <a:cubicBezTo>
                    <a:pt x="310" y="24"/>
                    <a:pt x="310" y="24"/>
                    <a:pt x="310" y="24"/>
                  </a:cubicBezTo>
                  <a:cubicBezTo>
                    <a:pt x="309" y="24"/>
                    <a:pt x="309" y="24"/>
                    <a:pt x="309" y="24"/>
                  </a:cubicBezTo>
                  <a:cubicBezTo>
                    <a:pt x="307" y="25"/>
                    <a:pt x="307" y="25"/>
                    <a:pt x="307" y="25"/>
                  </a:cubicBezTo>
                  <a:cubicBezTo>
                    <a:pt x="305" y="25"/>
                    <a:pt x="305" y="25"/>
                    <a:pt x="305" y="25"/>
                  </a:cubicBezTo>
                  <a:cubicBezTo>
                    <a:pt x="301" y="27"/>
                    <a:pt x="301" y="27"/>
                    <a:pt x="301" y="27"/>
                  </a:cubicBezTo>
                  <a:cubicBezTo>
                    <a:pt x="303" y="22"/>
                    <a:pt x="303" y="22"/>
                    <a:pt x="303" y="22"/>
                  </a:cubicBezTo>
                  <a:cubicBezTo>
                    <a:pt x="307" y="22"/>
                    <a:pt x="307" y="22"/>
                    <a:pt x="307" y="22"/>
                  </a:cubicBezTo>
                  <a:cubicBezTo>
                    <a:pt x="309" y="18"/>
                    <a:pt x="309" y="18"/>
                    <a:pt x="309" y="18"/>
                  </a:cubicBezTo>
                  <a:cubicBezTo>
                    <a:pt x="307" y="16"/>
                    <a:pt x="307" y="16"/>
                    <a:pt x="307" y="16"/>
                  </a:cubicBezTo>
                  <a:cubicBezTo>
                    <a:pt x="307" y="16"/>
                    <a:pt x="307" y="16"/>
                    <a:pt x="307" y="16"/>
                  </a:cubicBezTo>
                  <a:cubicBezTo>
                    <a:pt x="303" y="20"/>
                    <a:pt x="303" y="20"/>
                    <a:pt x="303" y="20"/>
                  </a:cubicBezTo>
                  <a:cubicBezTo>
                    <a:pt x="301" y="18"/>
                    <a:pt x="301" y="18"/>
                    <a:pt x="301" y="18"/>
                  </a:cubicBezTo>
                  <a:cubicBezTo>
                    <a:pt x="301" y="18"/>
                    <a:pt x="301" y="18"/>
                    <a:pt x="301" y="18"/>
                  </a:cubicBezTo>
                  <a:cubicBezTo>
                    <a:pt x="303" y="16"/>
                    <a:pt x="303" y="16"/>
                    <a:pt x="303" y="16"/>
                  </a:cubicBezTo>
                  <a:cubicBezTo>
                    <a:pt x="303" y="15"/>
                    <a:pt x="303" y="15"/>
                    <a:pt x="303" y="15"/>
                  </a:cubicBezTo>
                  <a:cubicBezTo>
                    <a:pt x="301" y="13"/>
                    <a:pt x="301" y="13"/>
                    <a:pt x="301" y="13"/>
                  </a:cubicBezTo>
                  <a:cubicBezTo>
                    <a:pt x="299" y="13"/>
                    <a:pt x="299" y="13"/>
                    <a:pt x="299" y="13"/>
                  </a:cubicBezTo>
                  <a:cubicBezTo>
                    <a:pt x="303" y="11"/>
                    <a:pt x="303" y="11"/>
                    <a:pt x="303" y="11"/>
                  </a:cubicBezTo>
                  <a:cubicBezTo>
                    <a:pt x="303" y="13"/>
                    <a:pt x="303" y="13"/>
                    <a:pt x="303" y="13"/>
                  </a:cubicBezTo>
                  <a:cubicBezTo>
                    <a:pt x="307" y="13"/>
                    <a:pt x="307" y="13"/>
                    <a:pt x="307" y="13"/>
                  </a:cubicBezTo>
                  <a:cubicBezTo>
                    <a:pt x="309" y="7"/>
                    <a:pt x="309" y="7"/>
                    <a:pt x="309" y="7"/>
                  </a:cubicBezTo>
                  <a:cubicBezTo>
                    <a:pt x="309" y="5"/>
                    <a:pt x="309" y="5"/>
                    <a:pt x="309" y="5"/>
                  </a:cubicBezTo>
                  <a:cubicBezTo>
                    <a:pt x="305" y="5"/>
                    <a:pt x="305" y="5"/>
                    <a:pt x="305" y="5"/>
                  </a:cubicBezTo>
                  <a:cubicBezTo>
                    <a:pt x="303" y="5"/>
                    <a:pt x="303" y="5"/>
                    <a:pt x="303" y="5"/>
                  </a:cubicBezTo>
                  <a:cubicBezTo>
                    <a:pt x="305" y="2"/>
                    <a:pt x="305" y="2"/>
                    <a:pt x="305" y="2"/>
                  </a:cubicBezTo>
                  <a:cubicBezTo>
                    <a:pt x="303" y="0"/>
                    <a:pt x="303" y="0"/>
                    <a:pt x="303" y="0"/>
                  </a:cubicBezTo>
                  <a:cubicBezTo>
                    <a:pt x="301" y="2"/>
                    <a:pt x="301" y="2"/>
                    <a:pt x="301" y="2"/>
                  </a:cubicBezTo>
                  <a:cubicBezTo>
                    <a:pt x="299" y="2"/>
                    <a:pt x="299" y="2"/>
                    <a:pt x="299" y="2"/>
                  </a:cubicBezTo>
                  <a:cubicBezTo>
                    <a:pt x="298" y="0"/>
                    <a:pt x="298" y="0"/>
                    <a:pt x="298" y="0"/>
                  </a:cubicBezTo>
                  <a:cubicBezTo>
                    <a:pt x="296" y="2"/>
                    <a:pt x="296" y="2"/>
                    <a:pt x="296" y="2"/>
                  </a:cubicBezTo>
                  <a:cubicBezTo>
                    <a:pt x="296" y="4"/>
                    <a:pt x="296" y="4"/>
                    <a:pt x="296" y="4"/>
                  </a:cubicBezTo>
                  <a:cubicBezTo>
                    <a:pt x="298" y="7"/>
                    <a:pt x="298" y="7"/>
                    <a:pt x="298" y="7"/>
                  </a:cubicBezTo>
                  <a:cubicBezTo>
                    <a:pt x="296" y="9"/>
                    <a:pt x="296" y="9"/>
                    <a:pt x="296" y="9"/>
                  </a:cubicBezTo>
                  <a:cubicBezTo>
                    <a:pt x="294" y="9"/>
                    <a:pt x="294" y="9"/>
                    <a:pt x="294" y="9"/>
                  </a:cubicBezTo>
                  <a:cubicBezTo>
                    <a:pt x="292" y="5"/>
                    <a:pt x="292" y="5"/>
                    <a:pt x="292" y="5"/>
                  </a:cubicBezTo>
                  <a:cubicBezTo>
                    <a:pt x="290" y="7"/>
                    <a:pt x="290" y="7"/>
                    <a:pt x="290" y="7"/>
                  </a:cubicBezTo>
                  <a:cubicBezTo>
                    <a:pt x="290" y="9"/>
                    <a:pt x="290" y="9"/>
                    <a:pt x="290" y="9"/>
                  </a:cubicBezTo>
                  <a:cubicBezTo>
                    <a:pt x="290" y="11"/>
                    <a:pt x="290" y="11"/>
                    <a:pt x="290" y="11"/>
                  </a:cubicBezTo>
                  <a:cubicBezTo>
                    <a:pt x="292" y="11"/>
                    <a:pt x="292" y="11"/>
                    <a:pt x="292" y="11"/>
                  </a:cubicBezTo>
                  <a:cubicBezTo>
                    <a:pt x="294" y="13"/>
                    <a:pt x="294" y="13"/>
                    <a:pt x="294" y="13"/>
                  </a:cubicBezTo>
                  <a:cubicBezTo>
                    <a:pt x="294" y="13"/>
                    <a:pt x="294" y="13"/>
                    <a:pt x="294" y="13"/>
                  </a:cubicBezTo>
                  <a:cubicBezTo>
                    <a:pt x="292" y="15"/>
                    <a:pt x="292" y="15"/>
                    <a:pt x="292" y="15"/>
                  </a:cubicBezTo>
                  <a:cubicBezTo>
                    <a:pt x="292" y="16"/>
                    <a:pt x="292" y="16"/>
                    <a:pt x="292" y="16"/>
                  </a:cubicBezTo>
                  <a:cubicBezTo>
                    <a:pt x="290" y="18"/>
                    <a:pt x="290" y="18"/>
                    <a:pt x="290" y="18"/>
                  </a:cubicBezTo>
                  <a:cubicBezTo>
                    <a:pt x="290" y="20"/>
                    <a:pt x="290" y="20"/>
                    <a:pt x="290" y="20"/>
                  </a:cubicBezTo>
                  <a:cubicBezTo>
                    <a:pt x="290" y="20"/>
                    <a:pt x="290" y="20"/>
                    <a:pt x="290" y="20"/>
                  </a:cubicBezTo>
                  <a:cubicBezTo>
                    <a:pt x="288" y="22"/>
                    <a:pt x="288" y="22"/>
                    <a:pt x="288" y="22"/>
                  </a:cubicBezTo>
                  <a:cubicBezTo>
                    <a:pt x="290" y="25"/>
                    <a:pt x="290" y="25"/>
                    <a:pt x="290" y="25"/>
                  </a:cubicBezTo>
                  <a:cubicBezTo>
                    <a:pt x="288" y="27"/>
                    <a:pt x="288" y="27"/>
                    <a:pt x="288" y="27"/>
                  </a:cubicBezTo>
                  <a:cubicBezTo>
                    <a:pt x="287" y="25"/>
                    <a:pt x="287" y="25"/>
                    <a:pt x="287" y="25"/>
                  </a:cubicBezTo>
                  <a:cubicBezTo>
                    <a:pt x="285" y="27"/>
                    <a:pt x="285" y="27"/>
                    <a:pt x="285" y="27"/>
                  </a:cubicBezTo>
                  <a:cubicBezTo>
                    <a:pt x="283" y="27"/>
                    <a:pt x="283" y="27"/>
                    <a:pt x="283" y="27"/>
                  </a:cubicBezTo>
                  <a:cubicBezTo>
                    <a:pt x="281" y="29"/>
                    <a:pt x="281" y="29"/>
                    <a:pt x="281" y="29"/>
                  </a:cubicBezTo>
                  <a:cubicBezTo>
                    <a:pt x="281" y="25"/>
                    <a:pt x="281" y="25"/>
                    <a:pt x="281" y="25"/>
                  </a:cubicBezTo>
                  <a:cubicBezTo>
                    <a:pt x="285" y="20"/>
                    <a:pt x="285" y="20"/>
                    <a:pt x="285" y="20"/>
                  </a:cubicBezTo>
                  <a:cubicBezTo>
                    <a:pt x="281" y="20"/>
                    <a:pt x="281" y="20"/>
                    <a:pt x="281" y="20"/>
                  </a:cubicBezTo>
                  <a:cubicBezTo>
                    <a:pt x="281" y="18"/>
                    <a:pt x="281" y="18"/>
                    <a:pt x="281" y="18"/>
                  </a:cubicBezTo>
                  <a:cubicBezTo>
                    <a:pt x="283" y="16"/>
                    <a:pt x="283" y="16"/>
                    <a:pt x="283" y="16"/>
                  </a:cubicBezTo>
                  <a:cubicBezTo>
                    <a:pt x="283" y="11"/>
                    <a:pt x="283" y="11"/>
                    <a:pt x="283" y="11"/>
                  </a:cubicBezTo>
                  <a:cubicBezTo>
                    <a:pt x="283" y="9"/>
                    <a:pt x="283" y="9"/>
                    <a:pt x="283" y="9"/>
                  </a:cubicBezTo>
                  <a:cubicBezTo>
                    <a:pt x="281" y="9"/>
                    <a:pt x="281" y="9"/>
                    <a:pt x="281" y="9"/>
                  </a:cubicBezTo>
                  <a:cubicBezTo>
                    <a:pt x="277" y="16"/>
                    <a:pt x="277" y="16"/>
                    <a:pt x="277" y="16"/>
                  </a:cubicBezTo>
                  <a:cubicBezTo>
                    <a:pt x="277" y="20"/>
                    <a:pt x="277" y="20"/>
                    <a:pt x="277" y="20"/>
                  </a:cubicBezTo>
                  <a:cubicBezTo>
                    <a:pt x="272" y="25"/>
                    <a:pt x="272" y="25"/>
                    <a:pt x="272" y="25"/>
                  </a:cubicBezTo>
                  <a:cubicBezTo>
                    <a:pt x="272" y="31"/>
                    <a:pt x="272" y="31"/>
                    <a:pt x="272" y="31"/>
                  </a:cubicBezTo>
                  <a:cubicBezTo>
                    <a:pt x="272" y="33"/>
                    <a:pt x="272" y="33"/>
                    <a:pt x="272" y="33"/>
                  </a:cubicBezTo>
                  <a:cubicBezTo>
                    <a:pt x="272" y="35"/>
                    <a:pt x="272" y="35"/>
                    <a:pt x="272" y="35"/>
                  </a:cubicBezTo>
                  <a:cubicBezTo>
                    <a:pt x="267" y="40"/>
                    <a:pt x="267" y="40"/>
                    <a:pt x="267" y="40"/>
                  </a:cubicBezTo>
                  <a:cubicBezTo>
                    <a:pt x="265" y="42"/>
                    <a:pt x="265" y="42"/>
                    <a:pt x="265" y="42"/>
                  </a:cubicBezTo>
                  <a:cubicBezTo>
                    <a:pt x="265" y="38"/>
                    <a:pt x="265" y="38"/>
                    <a:pt x="265" y="38"/>
                  </a:cubicBezTo>
                  <a:cubicBezTo>
                    <a:pt x="265" y="36"/>
                    <a:pt x="265" y="36"/>
                    <a:pt x="265" y="36"/>
                  </a:cubicBezTo>
                  <a:cubicBezTo>
                    <a:pt x="267" y="31"/>
                    <a:pt x="267" y="31"/>
                    <a:pt x="267" y="31"/>
                  </a:cubicBezTo>
                  <a:cubicBezTo>
                    <a:pt x="267" y="29"/>
                    <a:pt x="267" y="29"/>
                    <a:pt x="267" y="29"/>
                  </a:cubicBezTo>
                  <a:cubicBezTo>
                    <a:pt x="267" y="25"/>
                    <a:pt x="267" y="25"/>
                    <a:pt x="267" y="25"/>
                  </a:cubicBezTo>
                  <a:cubicBezTo>
                    <a:pt x="267" y="24"/>
                    <a:pt x="267" y="24"/>
                    <a:pt x="267" y="24"/>
                  </a:cubicBezTo>
                  <a:cubicBezTo>
                    <a:pt x="270" y="18"/>
                    <a:pt x="270" y="18"/>
                    <a:pt x="270" y="18"/>
                  </a:cubicBezTo>
                  <a:cubicBezTo>
                    <a:pt x="272" y="15"/>
                    <a:pt x="272" y="15"/>
                    <a:pt x="272" y="15"/>
                  </a:cubicBezTo>
                  <a:cubicBezTo>
                    <a:pt x="272" y="15"/>
                    <a:pt x="272" y="15"/>
                    <a:pt x="272" y="15"/>
                  </a:cubicBezTo>
                  <a:cubicBezTo>
                    <a:pt x="272" y="13"/>
                    <a:pt x="272" y="13"/>
                    <a:pt x="272" y="13"/>
                  </a:cubicBezTo>
                  <a:cubicBezTo>
                    <a:pt x="270" y="13"/>
                    <a:pt x="270" y="13"/>
                    <a:pt x="270" y="13"/>
                  </a:cubicBezTo>
                  <a:cubicBezTo>
                    <a:pt x="267" y="9"/>
                    <a:pt x="267" y="9"/>
                    <a:pt x="267" y="9"/>
                  </a:cubicBezTo>
                  <a:cubicBezTo>
                    <a:pt x="265" y="9"/>
                    <a:pt x="265" y="9"/>
                    <a:pt x="265" y="9"/>
                  </a:cubicBezTo>
                  <a:cubicBezTo>
                    <a:pt x="267" y="13"/>
                    <a:pt x="267" y="13"/>
                    <a:pt x="267" y="13"/>
                  </a:cubicBezTo>
                  <a:cubicBezTo>
                    <a:pt x="265" y="15"/>
                    <a:pt x="265" y="15"/>
                    <a:pt x="265" y="15"/>
                  </a:cubicBezTo>
                  <a:cubicBezTo>
                    <a:pt x="265" y="11"/>
                    <a:pt x="265" y="11"/>
                    <a:pt x="265" y="11"/>
                  </a:cubicBezTo>
                  <a:cubicBezTo>
                    <a:pt x="261" y="9"/>
                    <a:pt x="261" y="9"/>
                    <a:pt x="261" y="9"/>
                  </a:cubicBezTo>
                  <a:cubicBezTo>
                    <a:pt x="259" y="9"/>
                    <a:pt x="259" y="9"/>
                    <a:pt x="259" y="9"/>
                  </a:cubicBezTo>
                  <a:cubicBezTo>
                    <a:pt x="257" y="11"/>
                    <a:pt x="257" y="11"/>
                    <a:pt x="257" y="11"/>
                  </a:cubicBezTo>
                  <a:cubicBezTo>
                    <a:pt x="257" y="15"/>
                    <a:pt x="257" y="15"/>
                    <a:pt x="257" y="15"/>
                  </a:cubicBezTo>
                  <a:cubicBezTo>
                    <a:pt x="256" y="16"/>
                    <a:pt x="256" y="16"/>
                    <a:pt x="256" y="16"/>
                  </a:cubicBezTo>
                  <a:cubicBezTo>
                    <a:pt x="256" y="15"/>
                    <a:pt x="256" y="15"/>
                    <a:pt x="256" y="15"/>
                  </a:cubicBezTo>
                  <a:cubicBezTo>
                    <a:pt x="254" y="13"/>
                    <a:pt x="254" y="13"/>
                    <a:pt x="254" y="13"/>
                  </a:cubicBezTo>
                  <a:cubicBezTo>
                    <a:pt x="252" y="15"/>
                    <a:pt x="252" y="15"/>
                    <a:pt x="252" y="15"/>
                  </a:cubicBezTo>
                  <a:cubicBezTo>
                    <a:pt x="252" y="16"/>
                    <a:pt x="252" y="16"/>
                    <a:pt x="252" y="16"/>
                  </a:cubicBezTo>
                  <a:cubicBezTo>
                    <a:pt x="256" y="18"/>
                    <a:pt x="256" y="18"/>
                    <a:pt x="256" y="18"/>
                  </a:cubicBezTo>
                  <a:cubicBezTo>
                    <a:pt x="257" y="22"/>
                    <a:pt x="257" y="22"/>
                    <a:pt x="257" y="22"/>
                  </a:cubicBezTo>
                  <a:cubicBezTo>
                    <a:pt x="256" y="22"/>
                    <a:pt x="256" y="22"/>
                    <a:pt x="256" y="22"/>
                  </a:cubicBezTo>
                  <a:cubicBezTo>
                    <a:pt x="254" y="20"/>
                    <a:pt x="254" y="20"/>
                    <a:pt x="254" y="20"/>
                  </a:cubicBezTo>
                  <a:cubicBezTo>
                    <a:pt x="252" y="24"/>
                    <a:pt x="252" y="24"/>
                    <a:pt x="252" y="24"/>
                  </a:cubicBezTo>
                  <a:cubicBezTo>
                    <a:pt x="252" y="25"/>
                    <a:pt x="252" y="25"/>
                    <a:pt x="252" y="25"/>
                  </a:cubicBezTo>
                  <a:cubicBezTo>
                    <a:pt x="252" y="25"/>
                    <a:pt x="252" y="25"/>
                    <a:pt x="252" y="25"/>
                  </a:cubicBezTo>
                  <a:cubicBezTo>
                    <a:pt x="252" y="27"/>
                    <a:pt x="252" y="27"/>
                    <a:pt x="252" y="27"/>
                  </a:cubicBezTo>
                  <a:cubicBezTo>
                    <a:pt x="248" y="25"/>
                    <a:pt x="248" y="25"/>
                    <a:pt x="248" y="25"/>
                  </a:cubicBezTo>
                  <a:cubicBezTo>
                    <a:pt x="246" y="25"/>
                    <a:pt x="246" y="25"/>
                    <a:pt x="246" y="25"/>
                  </a:cubicBezTo>
                  <a:cubicBezTo>
                    <a:pt x="245" y="29"/>
                    <a:pt x="245" y="29"/>
                    <a:pt x="245" y="29"/>
                  </a:cubicBezTo>
                  <a:cubicBezTo>
                    <a:pt x="243" y="29"/>
                    <a:pt x="243" y="29"/>
                    <a:pt x="243" y="29"/>
                  </a:cubicBezTo>
                  <a:cubicBezTo>
                    <a:pt x="243" y="31"/>
                    <a:pt x="243" y="31"/>
                    <a:pt x="243" y="31"/>
                  </a:cubicBezTo>
                  <a:cubicBezTo>
                    <a:pt x="245" y="33"/>
                    <a:pt x="245" y="33"/>
                    <a:pt x="245" y="33"/>
                  </a:cubicBezTo>
                  <a:cubicBezTo>
                    <a:pt x="241" y="35"/>
                    <a:pt x="241" y="35"/>
                    <a:pt x="241" y="35"/>
                  </a:cubicBezTo>
                  <a:cubicBezTo>
                    <a:pt x="241" y="36"/>
                    <a:pt x="241" y="36"/>
                    <a:pt x="241" y="36"/>
                  </a:cubicBezTo>
                  <a:cubicBezTo>
                    <a:pt x="243" y="40"/>
                    <a:pt x="243" y="40"/>
                    <a:pt x="243" y="40"/>
                  </a:cubicBezTo>
                  <a:cubicBezTo>
                    <a:pt x="241" y="42"/>
                    <a:pt x="241" y="42"/>
                    <a:pt x="241" y="42"/>
                  </a:cubicBezTo>
                  <a:cubicBezTo>
                    <a:pt x="245" y="42"/>
                    <a:pt x="245" y="42"/>
                    <a:pt x="245" y="42"/>
                  </a:cubicBezTo>
                  <a:cubicBezTo>
                    <a:pt x="245" y="44"/>
                    <a:pt x="245" y="44"/>
                    <a:pt x="245" y="44"/>
                  </a:cubicBezTo>
                  <a:cubicBezTo>
                    <a:pt x="243" y="46"/>
                    <a:pt x="243" y="46"/>
                    <a:pt x="243" y="46"/>
                  </a:cubicBezTo>
                  <a:cubicBezTo>
                    <a:pt x="239" y="46"/>
                    <a:pt x="239" y="46"/>
                    <a:pt x="239" y="46"/>
                  </a:cubicBezTo>
                  <a:cubicBezTo>
                    <a:pt x="237" y="40"/>
                    <a:pt x="237" y="40"/>
                    <a:pt x="237" y="40"/>
                  </a:cubicBezTo>
                  <a:cubicBezTo>
                    <a:pt x="236" y="40"/>
                    <a:pt x="236" y="40"/>
                    <a:pt x="236" y="40"/>
                  </a:cubicBezTo>
                  <a:cubicBezTo>
                    <a:pt x="237" y="38"/>
                    <a:pt x="237" y="38"/>
                    <a:pt x="237" y="38"/>
                  </a:cubicBezTo>
                  <a:cubicBezTo>
                    <a:pt x="236" y="36"/>
                    <a:pt x="236" y="36"/>
                    <a:pt x="236" y="36"/>
                  </a:cubicBezTo>
                  <a:cubicBezTo>
                    <a:pt x="232" y="36"/>
                    <a:pt x="232" y="36"/>
                    <a:pt x="232" y="36"/>
                  </a:cubicBezTo>
                  <a:cubicBezTo>
                    <a:pt x="228" y="36"/>
                    <a:pt x="228" y="36"/>
                    <a:pt x="228" y="36"/>
                  </a:cubicBezTo>
                  <a:cubicBezTo>
                    <a:pt x="223" y="33"/>
                    <a:pt x="223" y="33"/>
                    <a:pt x="223" y="33"/>
                  </a:cubicBezTo>
                  <a:cubicBezTo>
                    <a:pt x="223" y="33"/>
                    <a:pt x="223" y="33"/>
                    <a:pt x="223" y="33"/>
                  </a:cubicBezTo>
                  <a:cubicBezTo>
                    <a:pt x="221" y="35"/>
                    <a:pt x="221" y="35"/>
                    <a:pt x="221" y="35"/>
                  </a:cubicBezTo>
                  <a:cubicBezTo>
                    <a:pt x="219" y="33"/>
                    <a:pt x="219" y="33"/>
                    <a:pt x="219" y="33"/>
                  </a:cubicBezTo>
                  <a:cubicBezTo>
                    <a:pt x="215" y="35"/>
                    <a:pt x="215" y="35"/>
                    <a:pt x="215" y="35"/>
                  </a:cubicBezTo>
                  <a:cubicBezTo>
                    <a:pt x="214" y="35"/>
                    <a:pt x="214" y="35"/>
                    <a:pt x="214" y="35"/>
                  </a:cubicBezTo>
                  <a:cubicBezTo>
                    <a:pt x="214" y="36"/>
                    <a:pt x="214" y="36"/>
                    <a:pt x="214" y="36"/>
                  </a:cubicBezTo>
                  <a:cubicBezTo>
                    <a:pt x="217" y="40"/>
                    <a:pt x="217" y="40"/>
                    <a:pt x="217" y="40"/>
                  </a:cubicBezTo>
                  <a:cubicBezTo>
                    <a:pt x="219" y="40"/>
                    <a:pt x="219" y="40"/>
                    <a:pt x="219" y="40"/>
                  </a:cubicBezTo>
                  <a:cubicBezTo>
                    <a:pt x="221" y="42"/>
                    <a:pt x="221" y="42"/>
                    <a:pt x="221" y="42"/>
                  </a:cubicBezTo>
                  <a:cubicBezTo>
                    <a:pt x="225" y="44"/>
                    <a:pt x="225" y="44"/>
                    <a:pt x="225" y="44"/>
                  </a:cubicBezTo>
                  <a:cubicBezTo>
                    <a:pt x="223" y="46"/>
                    <a:pt x="223" y="46"/>
                    <a:pt x="223" y="46"/>
                  </a:cubicBezTo>
                  <a:cubicBezTo>
                    <a:pt x="223" y="49"/>
                    <a:pt x="223" y="49"/>
                    <a:pt x="223" y="49"/>
                  </a:cubicBezTo>
                  <a:cubicBezTo>
                    <a:pt x="226" y="53"/>
                    <a:pt x="226" y="53"/>
                    <a:pt x="226" y="53"/>
                  </a:cubicBezTo>
                  <a:cubicBezTo>
                    <a:pt x="226" y="55"/>
                    <a:pt x="226" y="55"/>
                    <a:pt x="226" y="55"/>
                  </a:cubicBezTo>
                  <a:cubicBezTo>
                    <a:pt x="223" y="53"/>
                    <a:pt x="223" y="53"/>
                    <a:pt x="223" y="53"/>
                  </a:cubicBezTo>
                  <a:cubicBezTo>
                    <a:pt x="221" y="49"/>
                    <a:pt x="221" y="49"/>
                    <a:pt x="221" y="49"/>
                  </a:cubicBezTo>
                  <a:cubicBezTo>
                    <a:pt x="217" y="47"/>
                    <a:pt x="217" y="47"/>
                    <a:pt x="217" y="47"/>
                  </a:cubicBezTo>
                  <a:cubicBezTo>
                    <a:pt x="215" y="46"/>
                    <a:pt x="215" y="46"/>
                    <a:pt x="215" y="46"/>
                  </a:cubicBezTo>
                  <a:cubicBezTo>
                    <a:pt x="215" y="49"/>
                    <a:pt x="215" y="49"/>
                    <a:pt x="215" y="49"/>
                  </a:cubicBezTo>
                  <a:cubicBezTo>
                    <a:pt x="214" y="51"/>
                    <a:pt x="214" y="51"/>
                    <a:pt x="214" y="51"/>
                  </a:cubicBezTo>
                  <a:cubicBezTo>
                    <a:pt x="212" y="47"/>
                    <a:pt x="212" y="47"/>
                    <a:pt x="212" y="47"/>
                  </a:cubicBezTo>
                  <a:cubicBezTo>
                    <a:pt x="210" y="49"/>
                    <a:pt x="210" y="49"/>
                    <a:pt x="210" y="49"/>
                  </a:cubicBezTo>
                  <a:cubicBezTo>
                    <a:pt x="210" y="51"/>
                    <a:pt x="210" y="51"/>
                    <a:pt x="210" y="51"/>
                  </a:cubicBezTo>
                  <a:cubicBezTo>
                    <a:pt x="206" y="53"/>
                    <a:pt x="206" y="53"/>
                    <a:pt x="206" y="53"/>
                  </a:cubicBezTo>
                  <a:cubicBezTo>
                    <a:pt x="206" y="56"/>
                    <a:pt x="206" y="56"/>
                    <a:pt x="206" y="56"/>
                  </a:cubicBezTo>
                  <a:cubicBezTo>
                    <a:pt x="210" y="58"/>
                    <a:pt x="210" y="58"/>
                    <a:pt x="210" y="58"/>
                  </a:cubicBezTo>
                  <a:cubicBezTo>
                    <a:pt x="212" y="62"/>
                    <a:pt x="212" y="62"/>
                    <a:pt x="212" y="62"/>
                  </a:cubicBezTo>
                  <a:cubicBezTo>
                    <a:pt x="210" y="60"/>
                    <a:pt x="210" y="60"/>
                    <a:pt x="210" y="60"/>
                  </a:cubicBezTo>
                  <a:cubicBezTo>
                    <a:pt x="208" y="58"/>
                    <a:pt x="208" y="58"/>
                    <a:pt x="208" y="58"/>
                  </a:cubicBezTo>
                  <a:cubicBezTo>
                    <a:pt x="204" y="62"/>
                    <a:pt x="204" y="62"/>
                    <a:pt x="204" y="62"/>
                  </a:cubicBezTo>
                  <a:cubicBezTo>
                    <a:pt x="204" y="66"/>
                    <a:pt x="204" y="66"/>
                    <a:pt x="204" y="66"/>
                  </a:cubicBezTo>
                  <a:cubicBezTo>
                    <a:pt x="201" y="67"/>
                    <a:pt x="201" y="67"/>
                    <a:pt x="201" y="67"/>
                  </a:cubicBezTo>
                  <a:cubicBezTo>
                    <a:pt x="201" y="66"/>
                    <a:pt x="201" y="66"/>
                    <a:pt x="201" y="66"/>
                  </a:cubicBezTo>
                  <a:cubicBezTo>
                    <a:pt x="203" y="64"/>
                    <a:pt x="203" y="64"/>
                    <a:pt x="203" y="64"/>
                  </a:cubicBezTo>
                  <a:cubicBezTo>
                    <a:pt x="203" y="62"/>
                    <a:pt x="203" y="62"/>
                    <a:pt x="203" y="62"/>
                  </a:cubicBezTo>
                  <a:cubicBezTo>
                    <a:pt x="204" y="56"/>
                    <a:pt x="204" y="56"/>
                    <a:pt x="204" y="56"/>
                  </a:cubicBezTo>
                  <a:cubicBezTo>
                    <a:pt x="203" y="47"/>
                    <a:pt x="203" y="47"/>
                    <a:pt x="203" y="47"/>
                  </a:cubicBezTo>
                  <a:cubicBezTo>
                    <a:pt x="201" y="49"/>
                    <a:pt x="201" y="49"/>
                    <a:pt x="201" y="49"/>
                  </a:cubicBezTo>
                  <a:cubicBezTo>
                    <a:pt x="197" y="55"/>
                    <a:pt x="197" y="55"/>
                    <a:pt x="197" y="55"/>
                  </a:cubicBezTo>
                  <a:cubicBezTo>
                    <a:pt x="197" y="60"/>
                    <a:pt x="197" y="60"/>
                    <a:pt x="197" y="60"/>
                  </a:cubicBezTo>
                  <a:cubicBezTo>
                    <a:pt x="197" y="62"/>
                    <a:pt x="197" y="62"/>
                    <a:pt x="197" y="62"/>
                  </a:cubicBezTo>
                  <a:cubicBezTo>
                    <a:pt x="194" y="66"/>
                    <a:pt x="194" y="66"/>
                    <a:pt x="194" y="66"/>
                  </a:cubicBezTo>
                  <a:cubicBezTo>
                    <a:pt x="194" y="62"/>
                    <a:pt x="194" y="62"/>
                    <a:pt x="194" y="62"/>
                  </a:cubicBezTo>
                  <a:cubicBezTo>
                    <a:pt x="195" y="58"/>
                    <a:pt x="195" y="58"/>
                    <a:pt x="195" y="58"/>
                  </a:cubicBezTo>
                  <a:cubicBezTo>
                    <a:pt x="194" y="53"/>
                    <a:pt x="194" y="53"/>
                    <a:pt x="194" y="53"/>
                  </a:cubicBezTo>
                  <a:cubicBezTo>
                    <a:pt x="194" y="53"/>
                    <a:pt x="194" y="53"/>
                    <a:pt x="194" y="53"/>
                  </a:cubicBezTo>
                  <a:cubicBezTo>
                    <a:pt x="190" y="55"/>
                    <a:pt x="190" y="55"/>
                    <a:pt x="190" y="55"/>
                  </a:cubicBezTo>
                  <a:cubicBezTo>
                    <a:pt x="186" y="60"/>
                    <a:pt x="186" y="60"/>
                    <a:pt x="186" y="60"/>
                  </a:cubicBezTo>
                  <a:cubicBezTo>
                    <a:pt x="188" y="62"/>
                    <a:pt x="188" y="62"/>
                    <a:pt x="188" y="62"/>
                  </a:cubicBezTo>
                  <a:cubicBezTo>
                    <a:pt x="188" y="66"/>
                    <a:pt x="188" y="66"/>
                    <a:pt x="188" y="66"/>
                  </a:cubicBezTo>
                  <a:cubicBezTo>
                    <a:pt x="194" y="69"/>
                    <a:pt x="194" y="69"/>
                    <a:pt x="194" y="69"/>
                  </a:cubicBezTo>
                  <a:cubicBezTo>
                    <a:pt x="194" y="71"/>
                    <a:pt x="194" y="71"/>
                    <a:pt x="194" y="71"/>
                  </a:cubicBezTo>
                  <a:cubicBezTo>
                    <a:pt x="192" y="75"/>
                    <a:pt x="192" y="75"/>
                    <a:pt x="192" y="75"/>
                  </a:cubicBezTo>
                  <a:cubicBezTo>
                    <a:pt x="192" y="71"/>
                    <a:pt x="192" y="71"/>
                    <a:pt x="192" y="71"/>
                  </a:cubicBezTo>
                  <a:cubicBezTo>
                    <a:pt x="188" y="69"/>
                    <a:pt x="188" y="69"/>
                    <a:pt x="188" y="69"/>
                  </a:cubicBezTo>
                  <a:cubicBezTo>
                    <a:pt x="184" y="62"/>
                    <a:pt x="184" y="62"/>
                    <a:pt x="184" y="62"/>
                  </a:cubicBezTo>
                  <a:cubicBezTo>
                    <a:pt x="184" y="62"/>
                    <a:pt x="184" y="62"/>
                    <a:pt x="184" y="62"/>
                  </a:cubicBezTo>
                  <a:cubicBezTo>
                    <a:pt x="179" y="64"/>
                    <a:pt x="179" y="64"/>
                    <a:pt x="179" y="64"/>
                  </a:cubicBezTo>
                  <a:cubicBezTo>
                    <a:pt x="179" y="66"/>
                    <a:pt x="179" y="66"/>
                    <a:pt x="179" y="66"/>
                  </a:cubicBezTo>
                  <a:cubicBezTo>
                    <a:pt x="184" y="69"/>
                    <a:pt x="184" y="69"/>
                    <a:pt x="184" y="69"/>
                  </a:cubicBezTo>
                  <a:cubicBezTo>
                    <a:pt x="186" y="69"/>
                    <a:pt x="186" y="69"/>
                    <a:pt x="186" y="69"/>
                  </a:cubicBezTo>
                  <a:cubicBezTo>
                    <a:pt x="186" y="71"/>
                    <a:pt x="186" y="71"/>
                    <a:pt x="186" y="71"/>
                  </a:cubicBezTo>
                  <a:cubicBezTo>
                    <a:pt x="184" y="71"/>
                    <a:pt x="184" y="71"/>
                    <a:pt x="184" y="71"/>
                  </a:cubicBezTo>
                  <a:cubicBezTo>
                    <a:pt x="181" y="71"/>
                    <a:pt x="181" y="71"/>
                    <a:pt x="181" y="71"/>
                  </a:cubicBezTo>
                  <a:cubicBezTo>
                    <a:pt x="183" y="75"/>
                    <a:pt x="183" y="75"/>
                    <a:pt x="183" y="75"/>
                  </a:cubicBezTo>
                  <a:cubicBezTo>
                    <a:pt x="179" y="73"/>
                    <a:pt x="179" y="73"/>
                    <a:pt x="179" y="73"/>
                  </a:cubicBezTo>
                  <a:cubicBezTo>
                    <a:pt x="179" y="67"/>
                    <a:pt x="179" y="67"/>
                    <a:pt x="179" y="67"/>
                  </a:cubicBezTo>
                  <a:cubicBezTo>
                    <a:pt x="177" y="67"/>
                    <a:pt x="177" y="67"/>
                    <a:pt x="177" y="67"/>
                  </a:cubicBezTo>
                  <a:cubicBezTo>
                    <a:pt x="177" y="66"/>
                    <a:pt x="177" y="66"/>
                    <a:pt x="177" y="66"/>
                  </a:cubicBezTo>
                  <a:cubicBezTo>
                    <a:pt x="175" y="66"/>
                    <a:pt x="175" y="66"/>
                    <a:pt x="175" y="66"/>
                  </a:cubicBezTo>
                  <a:cubicBezTo>
                    <a:pt x="175" y="71"/>
                    <a:pt x="175" y="71"/>
                    <a:pt x="175" y="71"/>
                  </a:cubicBezTo>
                  <a:cubicBezTo>
                    <a:pt x="175" y="73"/>
                    <a:pt x="175" y="73"/>
                    <a:pt x="175" y="73"/>
                  </a:cubicBezTo>
                  <a:cubicBezTo>
                    <a:pt x="175" y="77"/>
                    <a:pt x="175" y="77"/>
                    <a:pt x="175" y="77"/>
                  </a:cubicBezTo>
                  <a:cubicBezTo>
                    <a:pt x="173" y="75"/>
                    <a:pt x="173" y="75"/>
                    <a:pt x="173" y="75"/>
                  </a:cubicBezTo>
                  <a:cubicBezTo>
                    <a:pt x="170" y="77"/>
                    <a:pt x="170" y="77"/>
                    <a:pt x="170" y="77"/>
                  </a:cubicBezTo>
                  <a:cubicBezTo>
                    <a:pt x="166" y="80"/>
                    <a:pt x="166" y="80"/>
                    <a:pt x="166" y="80"/>
                  </a:cubicBezTo>
                  <a:cubicBezTo>
                    <a:pt x="168" y="80"/>
                    <a:pt x="168" y="80"/>
                    <a:pt x="168" y="80"/>
                  </a:cubicBezTo>
                  <a:cubicBezTo>
                    <a:pt x="170" y="80"/>
                    <a:pt x="170" y="80"/>
                    <a:pt x="170" y="80"/>
                  </a:cubicBezTo>
                  <a:cubicBezTo>
                    <a:pt x="172" y="82"/>
                    <a:pt x="172" y="82"/>
                    <a:pt x="172" y="82"/>
                  </a:cubicBezTo>
                  <a:cubicBezTo>
                    <a:pt x="170" y="82"/>
                    <a:pt x="170" y="82"/>
                    <a:pt x="170" y="82"/>
                  </a:cubicBezTo>
                  <a:cubicBezTo>
                    <a:pt x="168" y="84"/>
                    <a:pt x="168" y="84"/>
                    <a:pt x="168" y="84"/>
                  </a:cubicBezTo>
                  <a:cubicBezTo>
                    <a:pt x="170" y="86"/>
                    <a:pt x="170" y="86"/>
                    <a:pt x="170" y="86"/>
                  </a:cubicBezTo>
                  <a:cubicBezTo>
                    <a:pt x="168" y="87"/>
                    <a:pt x="168" y="87"/>
                    <a:pt x="168" y="87"/>
                  </a:cubicBezTo>
                  <a:cubicBezTo>
                    <a:pt x="166" y="87"/>
                    <a:pt x="166" y="87"/>
                    <a:pt x="166" y="87"/>
                  </a:cubicBezTo>
                  <a:cubicBezTo>
                    <a:pt x="166" y="89"/>
                    <a:pt x="166" y="89"/>
                    <a:pt x="166" y="89"/>
                  </a:cubicBezTo>
                  <a:cubicBezTo>
                    <a:pt x="166" y="89"/>
                    <a:pt x="166" y="89"/>
                    <a:pt x="166" y="89"/>
                  </a:cubicBezTo>
                  <a:cubicBezTo>
                    <a:pt x="164" y="89"/>
                    <a:pt x="164" y="89"/>
                    <a:pt x="164" y="89"/>
                  </a:cubicBezTo>
                  <a:cubicBezTo>
                    <a:pt x="163" y="87"/>
                    <a:pt x="163" y="87"/>
                    <a:pt x="163" y="87"/>
                  </a:cubicBezTo>
                  <a:cubicBezTo>
                    <a:pt x="161" y="89"/>
                    <a:pt x="161" y="89"/>
                    <a:pt x="161" y="89"/>
                  </a:cubicBezTo>
                  <a:cubicBezTo>
                    <a:pt x="159" y="91"/>
                    <a:pt x="159" y="91"/>
                    <a:pt x="159" y="91"/>
                  </a:cubicBezTo>
                  <a:cubicBezTo>
                    <a:pt x="159" y="93"/>
                    <a:pt x="159" y="93"/>
                    <a:pt x="159" y="93"/>
                  </a:cubicBezTo>
                  <a:cubicBezTo>
                    <a:pt x="159" y="95"/>
                    <a:pt x="159" y="95"/>
                    <a:pt x="159" y="95"/>
                  </a:cubicBezTo>
                  <a:cubicBezTo>
                    <a:pt x="155" y="95"/>
                    <a:pt x="155" y="95"/>
                    <a:pt x="155" y="95"/>
                  </a:cubicBezTo>
                  <a:cubicBezTo>
                    <a:pt x="153" y="98"/>
                    <a:pt x="153" y="98"/>
                    <a:pt x="153" y="98"/>
                  </a:cubicBezTo>
                  <a:cubicBezTo>
                    <a:pt x="155" y="98"/>
                    <a:pt x="155" y="98"/>
                    <a:pt x="155" y="98"/>
                  </a:cubicBezTo>
                  <a:cubicBezTo>
                    <a:pt x="163" y="97"/>
                    <a:pt x="163" y="97"/>
                    <a:pt x="163" y="97"/>
                  </a:cubicBezTo>
                  <a:cubicBezTo>
                    <a:pt x="164" y="98"/>
                    <a:pt x="164" y="98"/>
                    <a:pt x="164" y="98"/>
                  </a:cubicBezTo>
                  <a:cubicBezTo>
                    <a:pt x="168" y="97"/>
                    <a:pt x="168" y="97"/>
                    <a:pt x="168" y="97"/>
                  </a:cubicBezTo>
                  <a:cubicBezTo>
                    <a:pt x="170" y="97"/>
                    <a:pt x="170" y="97"/>
                    <a:pt x="170" y="97"/>
                  </a:cubicBezTo>
                  <a:cubicBezTo>
                    <a:pt x="170" y="98"/>
                    <a:pt x="170" y="98"/>
                    <a:pt x="170" y="98"/>
                  </a:cubicBezTo>
                  <a:cubicBezTo>
                    <a:pt x="168" y="100"/>
                    <a:pt x="168" y="100"/>
                    <a:pt x="168" y="100"/>
                  </a:cubicBezTo>
                  <a:cubicBezTo>
                    <a:pt x="168" y="106"/>
                    <a:pt x="168" y="106"/>
                    <a:pt x="168" y="106"/>
                  </a:cubicBezTo>
                  <a:cubicBezTo>
                    <a:pt x="166" y="106"/>
                    <a:pt x="166" y="106"/>
                    <a:pt x="166" y="106"/>
                  </a:cubicBezTo>
                  <a:cubicBezTo>
                    <a:pt x="164" y="104"/>
                    <a:pt x="164" y="104"/>
                    <a:pt x="164" y="104"/>
                  </a:cubicBezTo>
                  <a:cubicBezTo>
                    <a:pt x="164" y="102"/>
                    <a:pt x="164" y="102"/>
                    <a:pt x="164" y="102"/>
                  </a:cubicBezTo>
                  <a:cubicBezTo>
                    <a:pt x="163" y="104"/>
                    <a:pt x="163" y="104"/>
                    <a:pt x="163" y="104"/>
                  </a:cubicBezTo>
                  <a:cubicBezTo>
                    <a:pt x="161" y="102"/>
                    <a:pt x="161" y="102"/>
                    <a:pt x="161" y="102"/>
                  </a:cubicBezTo>
                  <a:cubicBezTo>
                    <a:pt x="157" y="102"/>
                    <a:pt x="157" y="102"/>
                    <a:pt x="157" y="102"/>
                  </a:cubicBezTo>
                  <a:cubicBezTo>
                    <a:pt x="159" y="102"/>
                    <a:pt x="159" y="102"/>
                    <a:pt x="159" y="102"/>
                  </a:cubicBezTo>
                  <a:cubicBezTo>
                    <a:pt x="157" y="104"/>
                    <a:pt x="157" y="104"/>
                    <a:pt x="157" y="104"/>
                  </a:cubicBezTo>
                  <a:cubicBezTo>
                    <a:pt x="155" y="104"/>
                    <a:pt x="155" y="104"/>
                    <a:pt x="155" y="104"/>
                  </a:cubicBezTo>
                  <a:cubicBezTo>
                    <a:pt x="153" y="104"/>
                    <a:pt x="153" y="104"/>
                    <a:pt x="153" y="104"/>
                  </a:cubicBezTo>
                  <a:cubicBezTo>
                    <a:pt x="155" y="106"/>
                    <a:pt x="155" y="106"/>
                    <a:pt x="155" y="106"/>
                  </a:cubicBezTo>
                  <a:cubicBezTo>
                    <a:pt x="157" y="108"/>
                    <a:pt x="157" y="108"/>
                    <a:pt x="157" y="108"/>
                  </a:cubicBezTo>
                  <a:cubicBezTo>
                    <a:pt x="155" y="108"/>
                    <a:pt x="155" y="108"/>
                    <a:pt x="155" y="108"/>
                  </a:cubicBezTo>
                  <a:cubicBezTo>
                    <a:pt x="153" y="109"/>
                    <a:pt x="153" y="109"/>
                    <a:pt x="153" y="109"/>
                  </a:cubicBezTo>
                  <a:cubicBezTo>
                    <a:pt x="155" y="113"/>
                    <a:pt x="155" y="113"/>
                    <a:pt x="155" y="113"/>
                  </a:cubicBezTo>
                  <a:cubicBezTo>
                    <a:pt x="153" y="115"/>
                    <a:pt x="153" y="115"/>
                    <a:pt x="153" y="115"/>
                  </a:cubicBezTo>
                  <a:cubicBezTo>
                    <a:pt x="152" y="111"/>
                    <a:pt x="152" y="111"/>
                    <a:pt x="152" y="111"/>
                  </a:cubicBezTo>
                  <a:cubicBezTo>
                    <a:pt x="152" y="109"/>
                    <a:pt x="152" y="109"/>
                    <a:pt x="152" y="109"/>
                  </a:cubicBezTo>
                  <a:cubicBezTo>
                    <a:pt x="150" y="106"/>
                    <a:pt x="150" y="106"/>
                    <a:pt x="150" y="106"/>
                  </a:cubicBezTo>
                  <a:cubicBezTo>
                    <a:pt x="148" y="108"/>
                    <a:pt x="148" y="108"/>
                    <a:pt x="148" y="108"/>
                  </a:cubicBezTo>
                  <a:cubicBezTo>
                    <a:pt x="146" y="109"/>
                    <a:pt x="146" y="109"/>
                    <a:pt x="146" y="109"/>
                  </a:cubicBezTo>
                  <a:cubicBezTo>
                    <a:pt x="144" y="108"/>
                    <a:pt x="144" y="108"/>
                    <a:pt x="144" y="108"/>
                  </a:cubicBezTo>
                  <a:cubicBezTo>
                    <a:pt x="144" y="106"/>
                    <a:pt x="144" y="106"/>
                    <a:pt x="144" y="106"/>
                  </a:cubicBezTo>
                  <a:cubicBezTo>
                    <a:pt x="142" y="106"/>
                    <a:pt x="142" y="106"/>
                    <a:pt x="142" y="106"/>
                  </a:cubicBezTo>
                  <a:cubicBezTo>
                    <a:pt x="141" y="108"/>
                    <a:pt x="141" y="108"/>
                    <a:pt x="141" y="108"/>
                  </a:cubicBezTo>
                  <a:cubicBezTo>
                    <a:pt x="142" y="111"/>
                    <a:pt x="142" y="111"/>
                    <a:pt x="142" y="111"/>
                  </a:cubicBezTo>
                  <a:cubicBezTo>
                    <a:pt x="146" y="111"/>
                    <a:pt x="146" y="111"/>
                    <a:pt x="146" y="111"/>
                  </a:cubicBezTo>
                  <a:cubicBezTo>
                    <a:pt x="150" y="113"/>
                    <a:pt x="150" y="113"/>
                    <a:pt x="150" y="113"/>
                  </a:cubicBezTo>
                  <a:cubicBezTo>
                    <a:pt x="148" y="115"/>
                    <a:pt x="148" y="115"/>
                    <a:pt x="148" y="115"/>
                  </a:cubicBezTo>
                  <a:cubicBezTo>
                    <a:pt x="141" y="117"/>
                    <a:pt x="141" y="117"/>
                    <a:pt x="141" y="117"/>
                  </a:cubicBezTo>
                  <a:cubicBezTo>
                    <a:pt x="141" y="115"/>
                    <a:pt x="141" y="115"/>
                    <a:pt x="141" y="115"/>
                  </a:cubicBezTo>
                  <a:cubicBezTo>
                    <a:pt x="137" y="115"/>
                    <a:pt x="137" y="115"/>
                    <a:pt x="137" y="115"/>
                  </a:cubicBezTo>
                  <a:cubicBezTo>
                    <a:pt x="137" y="118"/>
                    <a:pt x="137" y="118"/>
                    <a:pt x="137" y="118"/>
                  </a:cubicBezTo>
                  <a:cubicBezTo>
                    <a:pt x="139" y="120"/>
                    <a:pt x="139" y="120"/>
                    <a:pt x="139" y="120"/>
                  </a:cubicBezTo>
                  <a:cubicBezTo>
                    <a:pt x="137" y="122"/>
                    <a:pt x="137" y="122"/>
                    <a:pt x="137" y="122"/>
                  </a:cubicBezTo>
                  <a:cubicBezTo>
                    <a:pt x="139" y="122"/>
                    <a:pt x="139" y="122"/>
                    <a:pt x="139" y="122"/>
                  </a:cubicBezTo>
                  <a:cubicBezTo>
                    <a:pt x="142" y="118"/>
                    <a:pt x="142" y="118"/>
                    <a:pt x="142" y="118"/>
                  </a:cubicBezTo>
                  <a:cubicBezTo>
                    <a:pt x="144" y="118"/>
                    <a:pt x="144" y="118"/>
                    <a:pt x="144" y="118"/>
                  </a:cubicBezTo>
                  <a:cubicBezTo>
                    <a:pt x="146" y="120"/>
                    <a:pt x="146" y="120"/>
                    <a:pt x="146" y="120"/>
                  </a:cubicBezTo>
                  <a:cubicBezTo>
                    <a:pt x="142" y="122"/>
                    <a:pt x="142" y="122"/>
                    <a:pt x="142" y="122"/>
                  </a:cubicBezTo>
                  <a:cubicBezTo>
                    <a:pt x="141" y="124"/>
                    <a:pt x="141" y="124"/>
                    <a:pt x="141" y="124"/>
                  </a:cubicBezTo>
                  <a:cubicBezTo>
                    <a:pt x="142" y="128"/>
                    <a:pt x="142" y="128"/>
                    <a:pt x="142" y="128"/>
                  </a:cubicBezTo>
                  <a:cubicBezTo>
                    <a:pt x="146" y="129"/>
                    <a:pt x="146" y="129"/>
                    <a:pt x="146" y="129"/>
                  </a:cubicBezTo>
                  <a:cubicBezTo>
                    <a:pt x="146" y="131"/>
                    <a:pt x="146" y="131"/>
                    <a:pt x="146" y="131"/>
                  </a:cubicBezTo>
                  <a:cubicBezTo>
                    <a:pt x="144" y="129"/>
                    <a:pt x="144" y="129"/>
                    <a:pt x="144" y="129"/>
                  </a:cubicBezTo>
                  <a:cubicBezTo>
                    <a:pt x="142" y="131"/>
                    <a:pt x="142" y="131"/>
                    <a:pt x="142" y="131"/>
                  </a:cubicBezTo>
                  <a:cubicBezTo>
                    <a:pt x="139" y="128"/>
                    <a:pt x="139" y="128"/>
                    <a:pt x="139" y="128"/>
                  </a:cubicBezTo>
                  <a:cubicBezTo>
                    <a:pt x="137" y="128"/>
                    <a:pt x="137" y="128"/>
                    <a:pt x="137" y="128"/>
                  </a:cubicBezTo>
                  <a:cubicBezTo>
                    <a:pt x="135" y="129"/>
                    <a:pt x="135" y="129"/>
                    <a:pt x="135" y="129"/>
                  </a:cubicBezTo>
                  <a:cubicBezTo>
                    <a:pt x="137" y="131"/>
                    <a:pt x="137" y="131"/>
                    <a:pt x="137" y="131"/>
                  </a:cubicBezTo>
                  <a:cubicBezTo>
                    <a:pt x="135" y="131"/>
                    <a:pt x="135" y="131"/>
                    <a:pt x="135" y="131"/>
                  </a:cubicBezTo>
                  <a:cubicBezTo>
                    <a:pt x="132" y="133"/>
                    <a:pt x="132" y="133"/>
                    <a:pt x="132" y="133"/>
                  </a:cubicBezTo>
                  <a:cubicBezTo>
                    <a:pt x="132" y="137"/>
                    <a:pt x="132" y="137"/>
                    <a:pt x="132" y="137"/>
                  </a:cubicBezTo>
                  <a:cubicBezTo>
                    <a:pt x="135" y="137"/>
                    <a:pt x="135" y="137"/>
                    <a:pt x="135" y="137"/>
                  </a:cubicBezTo>
                  <a:cubicBezTo>
                    <a:pt x="137" y="135"/>
                    <a:pt x="137" y="135"/>
                    <a:pt x="137" y="135"/>
                  </a:cubicBezTo>
                  <a:cubicBezTo>
                    <a:pt x="139" y="137"/>
                    <a:pt x="139" y="137"/>
                    <a:pt x="139" y="137"/>
                  </a:cubicBezTo>
                  <a:cubicBezTo>
                    <a:pt x="142" y="137"/>
                    <a:pt x="142" y="137"/>
                    <a:pt x="142" y="137"/>
                  </a:cubicBezTo>
                  <a:cubicBezTo>
                    <a:pt x="142" y="139"/>
                    <a:pt x="142" y="139"/>
                    <a:pt x="142" y="139"/>
                  </a:cubicBezTo>
                  <a:cubicBezTo>
                    <a:pt x="146" y="140"/>
                    <a:pt x="146" y="140"/>
                    <a:pt x="146" y="140"/>
                  </a:cubicBezTo>
                  <a:cubicBezTo>
                    <a:pt x="146" y="142"/>
                    <a:pt x="146" y="142"/>
                    <a:pt x="146" y="142"/>
                  </a:cubicBezTo>
                  <a:cubicBezTo>
                    <a:pt x="141" y="139"/>
                    <a:pt x="141" y="139"/>
                    <a:pt x="141" y="139"/>
                  </a:cubicBezTo>
                  <a:cubicBezTo>
                    <a:pt x="137" y="139"/>
                    <a:pt x="137" y="139"/>
                    <a:pt x="137" y="139"/>
                  </a:cubicBezTo>
                  <a:cubicBezTo>
                    <a:pt x="135" y="140"/>
                    <a:pt x="135" y="140"/>
                    <a:pt x="135" y="140"/>
                  </a:cubicBezTo>
                  <a:cubicBezTo>
                    <a:pt x="132" y="140"/>
                    <a:pt x="132" y="140"/>
                    <a:pt x="132" y="140"/>
                  </a:cubicBezTo>
                  <a:cubicBezTo>
                    <a:pt x="132" y="144"/>
                    <a:pt x="132" y="144"/>
                    <a:pt x="132" y="144"/>
                  </a:cubicBezTo>
                  <a:cubicBezTo>
                    <a:pt x="128" y="146"/>
                    <a:pt x="128" y="146"/>
                    <a:pt x="128" y="146"/>
                  </a:cubicBezTo>
                  <a:cubicBezTo>
                    <a:pt x="126" y="144"/>
                    <a:pt x="126" y="144"/>
                    <a:pt x="126" y="144"/>
                  </a:cubicBezTo>
                  <a:cubicBezTo>
                    <a:pt x="122" y="146"/>
                    <a:pt x="122" y="146"/>
                    <a:pt x="122" y="146"/>
                  </a:cubicBezTo>
                  <a:cubicBezTo>
                    <a:pt x="121" y="146"/>
                    <a:pt x="121" y="146"/>
                    <a:pt x="121" y="146"/>
                  </a:cubicBezTo>
                  <a:cubicBezTo>
                    <a:pt x="121" y="148"/>
                    <a:pt x="121" y="148"/>
                    <a:pt x="121" y="148"/>
                  </a:cubicBezTo>
                  <a:cubicBezTo>
                    <a:pt x="122" y="149"/>
                    <a:pt x="122" y="149"/>
                    <a:pt x="122" y="149"/>
                  </a:cubicBezTo>
                  <a:cubicBezTo>
                    <a:pt x="124" y="151"/>
                    <a:pt x="124" y="151"/>
                    <a:pt x="124" y="151"/>
                  </a:cubicBezTo>
                  <a:cubicBezTo>
                    <a:pt x="122" y="153"/>
                    <a:pt x="122" y="153"/>
                    <a:pt x="122" y="153"/>
                  </a:cubicBezTo>
                  <a:cubicBezTo>
                    <a:pt x="121" y="151"/>
                    <a:pt x="121" y="151"/>
                    <a:pt x="121" y="151"/>
                  </a:cubicBezTo>
                  <a:cubicBezTo>
                    <a:pt x="121" y="153"/>
                    <a:pt x="121" y="153"/>
                    <a:pt x="121" y="153"/>
                  </a:cubicBezTo>
                  <a:cubicBezTo>
                    <a:pt x="122" y="155"/>
                    <a:pt x="122" y="155"/>
                    <a:pt x="122" y="155"/>
                  </a:cubicBezTo>
                  <a:cubicBezTo>
                    <a:pt x="121" y="157"/>
                    <a:pt x="121" y="157"/>
                    <a:pt x="121" y="157"/>
                  </a:cubicBezTo>
                  <a:cubicBezTo>
                    <a:pt x="119" y="155"/>
                    <a:pt x="119" y="155"/>
                    <a:pt x="119" y="155"/>
                  </a:cubicBezTo>
                  <a:cubicBezTo>
                    <a:pt x="117" y="155"/>
                    <a:pt x="117" y="155"/>
                    <a:pt x="117" y="155"/>
                  </a:cubicBezTo>
                  <a:cubicBezTo>
                    <a:pt x="117" y="155"/>
                    <a:pt x="117" y="155"/>
                    <a:pt x="117" y="155"/>
                  </a:cubicBezTo>
                  <a:cubicBezTo>
                    <a:pt x="119" y="157"/>
                    <a:pt x="119" y="157"/>
                    <a:pt x="119" y="157"/>
                  </a:cubicBezTo>
                  <a:cubicBezTo>
                    <a:pt x="117" y="159"/>
                    <a:pt x="117" y="159"/>
                    <a:pt x="117" y="159"/>
                  </a:cubicBezTo>
                  <a:cubicBezTo>
                    <a:pt x="119" y="160"/>
                    <a:pt x="119" y="160"/>
                    <a:pt x="119" y="160"/>
                  </a:cubicBezTo>
                  <a:cubicBezTo>
                    <a:pt x="121" y="160"/>
                    <a:pt x="121" y="160"/>
                    <a:pt x="121" y="160"/>
                  </a:cubicBezTo>
                  <a:cubicBezTo>
                    <a:pt x="119" y="162"/>
                    <a:pt x="119" y="162"/>
                    <a:pt x="119" y="162"/>
                  </a:cubicBezTo>
                  <a:cubicBezTo>
                    <a:pt x="115" y="162"/>
                    <a:pt x="115" y="162"/>
                    <a:pt x="115" y="162"/>
                  </a:cubicBezTo>
                  <a:cubicBezTo>
                    <a:pt x="115" y="160"/>
                    <a:pt x="115" y="160"/>
                    <a:pt x="115" y="160"/>
                  </a:cubicBezTo>
                  <a:cubicBezTo>
                    <a:pt x="115" y="162"/>
                    <a:pt x="115" y="162"/>
                    <a:pt x="115" y="162"/>
                  </a:cubicBezTo>
                  <a:cubicBezTo>
                    <a:pt x="113" y="164"/>
                    <a:pt x="113" y="164"/>
                    <a:pt x="113" y="164"/>
                  </a:cubicBezTo>
                  <a:cubicBezTo>
                    <a:pt x="115" y="166"/>
                    <a:pt x="115" y="166"/>
                    <a:pt x="115" y="166"/>
                  </a:cubicBezTo>
                  <a:cubicBezTo>
                    <a:pt x="121" y="168"/>
                    <a:pt x="121" y="168"/>
                    <a:pt x="121" y="168"/>
                  </a:cubicBezTo>
                  <a:cubicBezTo>
                    <a:pt x="121" y="170"/>
                    <a:pt x="121" y="170"/>
                    <a:pt x="121" y="170"/>
                  </a:cubicBezTo>
                  <a:cubicBezTo>
                    <a:pt x="122" y="170"/>
                    <a:pt x="122" y="170"/>
                    <a:pt x="122" y="170"/>
                  </a:cubicBezTo>
                  <a:cubicBezTo>
                    <a:pt x="124" y="168"/>
                    <a:pt x="124" y="168"/>
                    <a:pt x="124" y="168"/>
                  </a:cubicBezTo>
                  <a:cubicBezTo>
                    <a:pt x="122" y="170"/>
                    <a:pt x="122" y="170"/>
                    <a:pt x="122" y="170"/>
                  </a:cubicBezTo>
                  <a:cubicBezTo>
                    <a:pt x="122" y="171"/>
                    <a:pt x="122" y="171"/>
                    <a:pt x="122" y="171"/>
                  </a:cubicBezTo>
                  <a:cubicBezTo>
                    <a:pt x="121" y="171"/>
                    <a:pt x="121" y="171"/>
                    <a:pt x="121" y="171"/>
                  </a:cubicBezTo>
                  <a:cubicBezTo>
                    <a:pt x="119" y="171"/>
                    <a:pt x="119" y="171"/>
                    <a:pt x="119" y="171"/>
                  </a:cubicBezTo>
                  <a:cubicBezTo>
                    <a:pt x="113" y="171"/>
                    <a:pt x="113" y="171"/>
                    <a:pt x="113" y="171"/>
                  </a:cubicBezTo>
                  <a:cubicBezTo>
                    <a:pt x="111" y="173"/>
                    <a:pt x="111" y="173"/>
                    <a:pt x="111" y="173"/>
                  </a:cubicBezTo>
                  <a:cubicBezTo>
                    <a:pt x="111" y="175"/>
                    <a:pt x="111" y="175"/>
                    <a:pt x="111" y="175"/>
                  </a:cubicBezTo>
                  <a:cubicBezTo>
                    <a:pt x="115" y="175"/>
                    <a:pt x="115" y="175"/>
                    <a:pt x="115" y="175"/>
                  </a:cubicBezTo>
                  <a:cubicBezTo>
                    <a:pt x="115" y="177"/>
                    <a:pt x="115" y="177"/>
                    <a:pt x="115" y="177"/>
                  </a:cubicBezTo>
                  <a:cubicBezTo>
                    <a:pt x="117" y="179"/>
                    <a:pt x="117" y="179"/>
                    <a:pt x="117" y="179"/>
                  </a:cubicBezTo>
                  <a:cubicBezTo>
                    <a:pt x="117" y="180"/>
                    <a:pt x="117" y="180"/>
                    <a:pt x="117" y="180"/>
                  </a:cubicBezTo>
                  <a:cubicBezTo>
                    <a:pt x="115" y="179"/>
                    <a:pt x="115" y="179"/>
                    <a:pt x="115" y="179"/>
                  </a:cubicBezTo>
                  <a:cubicBezTo>
                    <a:pt x="113" y="179"/>
                    <a:pt x="113" y="179"/>
                    <a:pt x="113" y="179"/>
                  </a:cubicBezTo>
                  <a:cubicBezTo>
                    <a:pt x="111" y="180"/>
                    <a:pt x="111" y="180"/>
                    <a:pt x="111" y="180"/>
                  </a:cubicBezTo>
                  <a:cubicBezTo>
                    <a:pt x="111" y="184"/>
                    <a:pt x="111" y="184"/>
                    <a:pt x="111" y="184"/>
                  </a:cubicBezTo>
                  <a:cubicBezTo>
                    <a:pt x="111" y="184"/>
                    <a:pt x="111" y="184"/>
                    <a:pt x="111" y="184"/>
                  </a:cubicBezTo>
                  <a:cubicBezTo>
                    <a:pt x="113" y="186"/>
                    <a:pt x="113" y="186"/>
                    <a:pt x="113" y="186"/>
                  </a:cubicBezTo>
                  <a:cubicBezTo>
                    <a:pt x="113" y="188"/>
                    <a:pt x="113" y="188"/>
                    <a:pt x="113" y="188"/>
                  </a:cubicBezTo>
                  <a:cubicBezTo>
                    <a:pt x="111" y="188"/>
                    <a:pt x="111" y="188"/>
                    <a:pt x="111" y="188"/>
                  </a:cubicBezTo>
                  <a:cubicBezTo>
                    <a:pt x="110" y="186"/>
                    <a:pt x="110" y="186"/>
                    <a:pt x="110" y="186"/>
                  </a:cubicBezTo>
                  <a:cubicBezTo>
                    <a:pt x="110" y="188"/>
                    <a:pt x="110" y="188"/>
                    <a:pt x="110" y="188"/>
                  </a:cubicBezTo>
                  <a:cubicBezTo>
                    <a:pt x="110" y="190"/>
                    <a:pt x="110" y="190"/>
                    <a:pt x="110" y="190"/>
                  </a:cubicBezTo>
                  <a:cubicBezTo>
                    <a:pt x="111" y="191"/>
                    <a:pt x="111" y="191"/>
                    <a:pt x="111" y="191"/>
                  </a:cubicBezTo>
                  <a:cubicBezTo>
                    <a:pt x="111" y="191"/>
                    <a:pt x="111" y="191"/>
                    <a:pt x="111" y="191"/>
                  </a:cubicBezTo>
                  <a:cubicBezTo>
                    <a:pt x="111" y="193"/>
                    <a:pt x="111" y="193"/>
                    <a:pt x="111" y="193"/>
                  </a:cubicBezTo>
                  <a:cubicBezTo>
                    <a:pt x="108" y="191"/>
                    <a:pt x="108" y="191"/>
                    <a:pt x="108" y="191"/>
                  </a:cubicBezTo>
                  <a:cubicBezTo>
                    <a:pt x="106" y="193"/>
                    <a:pt x="106" y="193"/>
                    <a:pt x="106" y="193"/>
                  </a:cubicBezTo>
                  <a:cubicBezTo>
                    <a:pt x="106" y="195"/>
                    <a:pt x="106" y="195"/>
                    <a:pt x="106" y="195"/>
                  </a:cubicBezTo>
                  <a:cubicBezTo>
                    <a:pt x="108" y="195"/>
                    <a:pt x="108" y="195"/>
                    <a:pt x="108" y="195"/>
                  </a:cubicBezTo>
                  <a:cubicBezTo>
                    <a:pt x="108" y="199"/>
                    <a:pt x="108" y="199"/>
                    <a:pt x="108" y="199"/>
                  </a:cubicBezTo>
                  <a:cubicBezTo>
                    <a:pt x="110" y="200"/>
                    <a:pt x="110" y="200"/>
                    <a:pt x="110" y="200"/>
                  </a:cubicBezTo>
                  <a:cubicBezTo>
                    <a:pt x="111" y="200"/>
                    <a:pt x="111" y="200"/>
                    <a:pt x="111" y="200"/>
                  </a:cubicBezTo>
                  <a:cubicBezTo>
                    <a:pt x="111" y="199"/>
                    <a:pt x="111" y="199"/>
                    <a:pt x="111" y="199"/>
                  </a:cubicBezTo>
                  <a:cubicBezTo>
                    <a:pt x="113" y="199"/>
                    <a:pt x="113" y="199"/>
                    <a:pt x="113" y="199"/>
                  </a:cubicBezTo>
                  <a:cubicBezTo>
                    <a:pt x="111" y="202"/>
                    <a:pt x="111" y="202"/>
                    <a:pt x="111" y="202"/>
                  </a:cubicBezTo>
                  <a:cubicBezTo>
                    <a:pt x="110" y="202"/>
                    <a:pt x="110" y="202"/>
                    <a:pt x="110" y="202"/>
                  </a:cubicBezTo>
                  <a:cubicBezTo>
                    <a:pt x="108" y="206"/>
                    <a:pt x="108" y="206"/>
                    <a:pt x="108" y="206"/>
                  </a:cubicBezTo>
                  <a:cubicBezTo>
                    <a:pt x="104" y="206"/>
                    <a:pt x="104" y="206"/>
                    <a:pt x="104" y="206"/>
                  </a:cubicBezTo>
                  <a:cubicBezTo>
                    <a:pt x="102" y="206"/>
                    <a:pt x="102" y="206"/>
                    <a:pt x="102" y="206"/>
                  </a:cubicBezTo>
                  <a:cubicBezTo>
                    <a:pt x="102" y="208"/>
                    <a:pt x="102" y="208"/>
                    <a:pt x="102" y="208"/>
                  </a:cubicBezTo>
                  <a:cubicBezTo>
                    <a:pt x="100" y="210"/>
                    <a:pt x="100" y="210"/>
                    <a:pt x="100" y="210"/>
                  </a:cubicBezTo>
                  <a:cubicBezTo>
                    <a:pt x="97" y="211"/>
                    <a:pt x="97" y="211"/>
                    <a:pt x="97" y="211"/>
                  </a:cubicBezTo>
                  <a:cubicBezTo>
                    <a:pt x="100" y="213"/>
                    <a:pt x="100" y="213"/>
                    <a:pt x="100" y="213"/>
                  </a:cubicBezTo>
                  <a:cubicBezTo>
                    <a:pt x="99" y="213"/>
                    <a:pt x="99" y="213"/>
                    <a:pt x="99" y="213"/>
                  </a:cubicBezTo>
                  <a:cubicBezTo>
                    <a:pt x="95" y="215"/>
                    <a:pt x="95" y="215"/>
                    <a:pt x="95" y="215"/>
                  </a:cubicBezTo>
                  <a:cubicBezTo>
                    <a:pt x="93" y="217"/>
                    <a:pt x="93" y="217"/>
                    <a:pt x="93" y="217"/>
                  </a:cubicBezTo>
                  <a:cubicBezTo>
                    <a:pt x="93" y="219"/>
                    <a:pt x="93" y="219"/>
                    <a:pt x="93" y="219"/>
                  </a:cubicBezTo>
                  <a:cubicBezTo>
                    <a:pt x="97" y="219"/>
                    <a:pt x="97" y="219"/>
                    <a:pt x="97" y="219"/>
                  </a:cubicBezTo>
                  <a:cubicBezTo>
                    <a:pt x="93" y="221"/>
                    <a:pt x="93" y="221"/>
                    <a:pt x="93" y="221"/>
                  </a:cubicBezTo>
                  <a:cubicBezTo>
                    <a:pt x="93" y="224"/>
                    <a:pt x="93" y="224"/>
                    <a:pt x="93" y="224"/>
                  </a:cubicBezTo>
                  <a:cubicBezTo>
                    <a:pt x="90" y="224"/>
                    <a:pt x="90" y="224"/>
                    <a:pt x="90" y="224"/>
                  </a:cubicBezTo>
                  <a:cubicBezTo>
                    <a:pt x="90" y="221"/>
                    <a:pt x="90" y="221"/>
                    <a:pt x="90" y="221"/>
                  </a:cubicBezTo>
                  <a:cubicBezTo>
                    <a:pt x="88" y="221"/>
                    <a:pt x="88" y="221"/>
                    <a:pt x="88" y="221"/>
                  </a:cubicBezTo>
                  <a:cubicBezTo>
                    <a:pt x="88" y="222"/>
                    <a:pt x="88" y="222"/>
                    <a:pt x="88" y="222"/>
                  </a:cubicBezTo>
                  <a:cubicBezTo>
                    <a:pt x="84" y="222"/>
                    <a:pt x="84" y="222"/>
                    <a:pt x="84" y="222"/>
                  </a:cubicBezTo>
                  <a:cubicBezTo>
                    <a:pt x="86" y="224"/>
                    <a:pt x="86" y="224"/>
                    <a:pt x="86" y="224"/>
                  </a:cubicBezTo>
                  <a:cubicBezTo>
                    <a:pt x="84" y="226"/>
                    <a:pt x="84" y="226"/>
                    <a:pt x="84" y="226"/>
                  </a:cubicBezTo>
                  <a:cubicBezTo>
                    <a:pt x="84" y="228"/>
                    <a:pt x="84" y="228"/>
                    <a:pt x="84" y="228"/>
                  </a:cubicBezTo>
                  <a:cubicBezTo>
                    <a:pt x="84" y="230"/>
                    <a:pt x="84" y="230"/>
                    <a:pt x="84" y="230"/>
                  </a:cubicBezTo>
                  <a:cubicBezTo>
                    <a:pt x="80" y="230"/>
                    <a:pt x="80" y="230"/>
                    <a:pt x="80" y="230"/>
                  </a:cubicBezTo>
                  <a:cubicBezTo>
                    <a:pt x="79" y="230"/>
                    <a:pt x="79" y="230"/>
                    <a:pt x="79" y="230"/>
                  </a:cubicBezTo>
                  <a:cubicBezTo>
                    <a:pt x="79" y="233"/>
                    <a:pt x="79" y="233"/>
                    <a:pt x="79" y="233"/>
                  </a:cubicBezTo>
                  <a:cubicBezTo>
                    <a:pt x="77" y="235"/>
                    <a:pt x="77" y="235"/>
                    <a:pt x="77" y="235"/>
                  </a:cubicBezTo>
                  <a:cubicBezTo>
                    <a:pt x="77" y="237"/>
                    <a:pt x="77" y="237"/>
                    <a:pt x="77" y="237"/>
                  </a:cubicBezTo>
                  <a:cubicBezTo>
                    <a:pt x="77" y="241"/>
                    <a:pt x="77" y="241"/>
                    <a:pt x="77" y="241"/>
                  </a:cubicBezTo>
                  <a:cubicBezTo>
                    <a:pt x="73" y="242"/>
                    <a:pt x="73" y="242"/>
                    <a:pt x="73" y="242"/>
                  </a:cubicBezTo>
                  <a:cubicBezTo>
                    <a:pt x="71" y="244"/>
                    <a:pt x="71" y="244"/>
                    <a:pt x="71" y="244"/>
                  </a:cubicBezTo>
                  <a:cubicBezTo>
                    <a:pt x="71" y="246"/>
                    <a:pt x="71" y="246"/>
                    <a:pt x="71" y="246"/>
                  </a:cubicBezTo>
                  <a:cubicBezTo>
                    <a:pt x="75" y="244"/>
                    <a:pt x="75" y="244"/>
                    <a:pt x="75" y="244"/>
                  </a:cubicBezTo>
                  <a:cubicBezTo>
                    <a:pt x="77" y="244"/>
                    <a:pt x="77" y="244"/>
                    <a:pt x="77" y="244"/>
                  </a:cubicBezTo>
                  <a:cubicBezTo>
                    <a:pt x="77" y="246"/>
                    <a:pt x="77" y="246"/>
                    <a:pt x="77" y="246"/>
                  </a:cubicBezTo>
                  <a:cubicBezTo>
                    <a:pt x="75" y="246"/>
                    <a:pt x="75" y="246"/>
                    <a:pt x="75" y="246"/>
                  </a:cubicBezTo>
                  <a:cubicBezTo>
                    <a:pt x="75" y="250"/>
                    <a:pt x="75" y="250"/>
                    <a:pt x="75" y="250"/>
                  </a:cubicBezTo>
                  <a:cubicBezTo>
                    <a:pt x="77" y="253"/>
                    <a:pt x="77" y="253"/>
                    <a:pt x="77" y="253"/>
                  </a:cubicBezTo>
                  <a:cubicBezTo>
                    <a:pt x="80" y="252"/>
                    <a:pt x="80" y="252"/>
                    <a:pt x="80" y="252"/>
                  </a:cubicBezTo>
                  <a:cubicBezTo>
                    <a:pt x="84" y="250"/>
                    <a:pt x="84" y="250"/>
                    <a:pt x="84" y="250"/>
                  </a:cubicBezTo>
                  <a:cubicBezTo>
                    <a:pt x="90" y="244"/>
                    <a:pt x="90" y="244"/>
                    <a:pt x="90" y="244"/>
                  </a:cubicBezTo>
                  <a:cubicBezTo>
                    <a:pt x="90" y="242"/>
                    <a:pt x="90" y="242"/>
                    <a:pt x="90" y="242"/>
                  </a:cubicBezTo>
                  <a:cubicBezTo>
                    <a:pt x="86" y="244"/>
                    <a:pt x="86" y="244"/>
                    <a:pt x="86" y="244"/>
                  </a:cubicBezTo>
                  <a:cubicBezTo>
                    <a:pt x="88" y="241"/>
                    <a:pt x="88" y="241"/>
                    <a:pt x="88" y="241"/>
                  </a:cubicBezTo>
                  <a:cubicBezTo>
                    <a:pt x="90" y="237"/>
                    <a:pt x="90" y="237"/>
                    <a:pt x="90" y="237"/>
                  </a:cubicBezTo>
                  <a:cubicBezTo>
                    <a:pt x="90" y="237"/>
                    <a:pt x="90" y="237"/>
                    <a:pt x="90" y="237"/>
                  </a:cubicBezTo>
                  <a:cubicBezTo>
                    <a:pt x="91" y="235"/>
                    <a:pt x="91" y="235"/>
                    <a:pt x="91" y="235"/>
                  </a:cubicBezTo>
                  <a:cubicBezTo>
                    <a:pt x="95" y="235"/>
                    <a:pt x="95" y="235"/>
                    <a:pt x="95" y="235"/>
                  </a:cubicBezTo>
                  <a:cubicBezTo>
                    <a:pt x="97" y="235"/>
                    <a:pt x="97" y="235"/>
                    <a:pt x="97" y="235"/>
                  </a:cubicBezTo>
                  <a:cubicBezTo>
                    <a:pt x="91" y="239"/>
                    <a:pt x="91" y="239"/>
                    <a:pt x="91" y="239"/>
                  </a:cubicBezTo>
                  <a:cubicBezTo>
                    <a:pt x="91" y="241"/>
                    <a:pt x="91" y="241"/>
                    <a:pt x="91" y="241"/>
                  </a:cubicBezTo>
                  <a:cubicBezTo>
                    <a:pt x="97" y="242"/>
                    <a:pt x="97" y="242"/>
                    <a:pt x="97" y="242"/>
                  </a:cubicBezTo>
                  <a:cubicBezTo>
                    <a:pt x="95" y="244"/>
                    <a:pt x="95" y="244"/>
                    <a:pt x="95" y="244"/>
                  </a:cubicBezTo>
                  <a:cubicBezTo>
                    <a:pt x="93" y="244"/>
                    <a:pt x="93" y="244"/>
                    <a:pt x="93" y="244"/>
                  </a:cubicBezTo>
                  <a:cubicBezTo>
                    <a:pt x="88" y="250"/>
                    <a:pt x="88" y="250"/>
                    <a:pt x="88" y="250"/>
                  </a:cubicBezTo>
                  <a:cubicBezTo>
                    <a:pt x="91" y="252"/>
                    <a:pt x="91" y="252"/>
                    <a:pt x="91" y="252"/>
                  </a:cubicBezTo>
                  <a:cubicBezTo>
                    <a:pt x="90" y="253"/>
                    <a:pt x="90" y="253"/>
                    <a:pt x="90" y="253"/>
                  </a:cubicBezTo>
                  <a:cubicBezTo>
                    <a:pt x="90" y="257"/>
                    <a:pt x="90" y="257"/>
                    <a:pt x="90" y="257"/>
                  </a:cubicBezTo>
                  <a:cubicBezTo>
                    <a:pt x="86" y="257"/>
                    <a:pt x="86" y="257"/>
                    <a:pt x="86" y="257"/>
                  </a:cubicBezTo>
                  <a:cubicBezTo>
                    <a:pt x="84" y="253"/>
                    <a:pt x="84" y="253"/>
                    <a:pt x="84" y="253"/>
                  </a:cubicBezTo>
                  <a:cubicBezTo>
                    <a:pt x="80" y="253"/>
                    <a:pt x="80" y="253"/>
                    <a:pt x="80" y="253"/>
                  </a:cubicBezTo>
                  <a:cubicBezTo>
                    <a:pt x="79" y="255"/>
                    <a:pt x="79" y="255"/>
                    <a:pt x="79" y="255"/>
                  </a:cubicBezTo>
                  <a:cubicBezTo>
                    <a:pt x="79" y="259"/>
                    <a:pt x="79" y="259"/>
                    <a:pt x="79" y="259"/>
                  </a:cubicBezTo>
                  <a:cubicBezTo>
                    <a:pt x="75" y="261"/>
                    <a:pt x="75" y="261"/>
                    <a:pt x="75" y="261"/>
                  </a:cubicBezTo>
                  <a:cubicBezTo>
                    <a:pt x="73" y="261"/>
                    <a:pt x="73" y="261"/>
                    <a:pt x="73" y="261"/>
                  </a:cubicBezTo>
                  <a:cubicBezTo>
                    <a:pt x="75" y="259"/>
                    <a:pt x="75" y="259"/>
                    <a:pt x="75" y="259"/>
                  </a:cubicBezTo>
                  <a:cubicBezTo>
                    <a:pt x="75" y="259"/>
                    <a:pt x="75" y="259"/>
                    <a:pt x="75" y="259"/>
                  </a:cubicBezTo>
                  <a:cubicBezTo>
                    <a:pt x="73" y="255"/>
                    <a:pt x="73" y="255"/>
                    <a:pt x="73" y="255"/>
                  </a:cubicBezTo>
                  <a:cubicBezTo>
                    <a:pt x="73" y="252"/>
                    <a:pt x="73" y="252"/>
                    <a:pt x="73" y="252"/>
                  </a:cubicBezTo>
                  <a:cubicBezTo>
                    <a:pt x="71" y="250"/>
                    <a:pt x="71" y="250"/>
                    <a:pt x="71" y="250"/>
                  </a:cubicBezTo>
                  <a:cubicBezTo>
                    <a:pt x="69" y="250"/>
                    <a:pt x="69" y="250"/>
                    <a:pt x="69" y="250"/>
                  </a:cubicBezTo>
                  <a:cubicBezTo>
                    <a:pt x="68" y="252"/>
                    <a:pt x="68" y="252"/>
                    <a:pt x="68" y="252"/>
                  </a:cubicBezTo>
                  <a:cubicBezTo>
                    <a:pt x="64" y="252"/>
                    <a:pt x="64" y="252"/>
                    <a:pt x="64" y="252"/>
                  </a:cubicBezTo>
                  <a:cubicBezTo>
                    <a:pt x="64" y="253"/>
                    <a:pt x="64" y="253"/>
                    <a:pt x="64" y="253"/>
                  </a:cubicBezTo>
                  <a:cubicBezTo>
                    <a:pt x="69" y="253"/>
                    <a:pt x="69" y="253"/>
                    <a:pt x="69" y="253"/>
                  </a:cubicBezTo>
                  <a:cubicBezTo>
                    <a:pt x="64" y="257"/>
                    <a:pt x="64" y="257"/>
                    <a:pt x="64" y="257"/>
                  </a:cubicBezTo>
                  <a:cubicBezTo>
                    <a:pt x="62" y="255"/>
                    <a:pt x="62" y="255"/>
                    <a:pt x="62" y="255"/>
                  </a:cubicBezTo>
                  <a:cubicBezTo>
                    <a:pt x="59" y="257"/>
                    <a:pt x="59" y="257"/>
                    <a:pt x="59" y="257"/>
                  </a:cubicBezTo>
                  <a:cubicBezTo>
                    <a:pt x="55" y="259"/>
                    <a:pt x="55" y="259"/>
                    <a:pt x="55" y="259"/>
                  </a:cubicBezTo>
                  <a:cubicBezTo>
                    <a:pt x="57" y="259"/>
                    <a:pt x="57" y="259"/>
                    <a:pt x="57" y="259"/>
                  </a:cubicBezTo>
                  <a:cubicBezTo>
                    <a:pt x="59" y="259"/>
                    <a:pt x="59" y="259"/>
                    <a:pt x="59" y="259"/>
                  </a:cubicBezTo>
                  <a:cubicBezTo>
                    <a:pt x="60" y="261"/>
                    <a:pt x="60" y="261"/>
                    <a:pt x="60" y="261"/>
                  </a:cubicBezTo>
                  <a:cubicBezTo>
                    <a:pt x="57" y="262"/>
                    <a:pt x="57" y="262"/>
                    <a:pt x="57" y="262"/>
                  </a:cubicBezTo>
                  <a:cubicBezTo>
                    <a:pt x="55" y="264"/>
                    <a:pt x="55" y="264"/>
                    <a:pt x="55" y="264"/>
                  </a:cubicBezTo>
                  <a:cubicBezTo>
                    <a:pt x="53" y="262"/>
                    <a:pt x="53" y="262"/>
                    <a:pt x="53" y="262"/>
                  </a:cubicBezTo>
                  <a:cubicBezTo>
                    <a:pt x="51" y="262"/>
                    <a:pt x="51" y="262"/>
                    <a:pt x="51" y="262"/>
                  </a:cubicBezTo>
                  <a:cubicBezTo>
                    <a:pt x="51" y="264"/>
                    <a:pt x="51" y="264"/>
                    <a:pt x="51" y="264"/>
                  </a:cubicBezTo>
                  <a:cubicBezTo>
                    <a:pt x="55" y="266"/>
                    <a:pt x="55" y="266"/>
                    <a:pt x="55" y="266"/>
                  </a:cubicBezTo>
                  <a:cubicBezTo>
                    <a:pt x="59" y="266"/>
                    <a:pt x="59" y="266"/>
                    <a:pt x="59" y="266"/>
                  </a:cubicBezTo>
                  <a:cubicBezTo>
                    <a:pt x="59" y="268"/>
                    <a:pt x="59" y="268"/>
                    <a:pt x="59" y="268"/>
                  </a:cubicBezTo>
                  <a:cubicBezTo>
                    <a:pt x="60" y="270"/>
                    <a:pt x="60" y="270"/>
                    <a:pt x="60" y="270"/>
                  </a:cubicBezTo>
                  <a:cubicBezTo>
                    <a:pt x="60" y="272"/>
                    <a:pt x="60" y="272"/>
                    <a:pt x="60" y="272"/>
                  </a:cubicBezTo>
                  <a:cubicBezTo>
                    <a:pt x="57" y="270"/>
                    <a:pt x="57" y="270"/>
                    <a:pt x="57" y="270"/>
                  </a:cubicBezTo>
                  <a:cubicBezTo>
                    <a:pt x="55" y="268"/>
                    <a:pt x="55" y="268"/>
                    <a:pt x="55" y="268"/>
                  </a:cubicBezTo>
                  <a:cubicBezTo>
                    <a:pt x="53" y="268"/>
                    <a:pt x="53" y="268"/>
                    <a:pt x="53" y="268"/>
                  </a:cubicBezTo>
                  <a:cubicBezTo>
                    <a:pt x="49" y="266"/>
                    <a:pt x="49" y="266"/>
                    <a:pt x="49" y="266"/>
                  </a:cubicBezTo>
                  <a:cubicBezTo>
                    <a:pt x="49" y="262"/>
                    <a:pt x="49" y="262"/>
                    <a:pt x="49" y="262"/>
                  </a:cubicBezTo>
                  <a:cubicBezTo>
                    <a:pt x="48" y="262"/>
                    <a:pt x="48" y="262"/>
                    <a:pt x="48" y="262"/>
                  </a:cubicBezTo>
                  <a:cubicBezTo>
                    <a:pt x="48" y="266"/>
                    <a:pt x="48" y="266"/>
                    <a:pt x="48" y="266"/>
                  </a:cubicBezTo>
                  <a:cubicBezTo>
                    <a:pt x="49" y="270"/>
                    <a:pt x="49" y="270"/>
                    <a:pt x="49" y="270"/>
                  </a:cubicBezTo>
                  <a:cubicBezTo>
                    <a:pt x="53" y="272"/>
                    <a:pt x="53" y="272"/>
                    <a:pt x="53" y="272"/>
                  </a:cubicBezTo>
                  <a:cubicBezTo>
                    <a:pt x="57" y="273"/>
                    <a:pt x="57" y="273"/>
                    <a:pt x="57" y="273"/>
                  </a:cubicBezTo>
                  <a:cubicBezTo>
                    <a:pt x="57" y="273"/>
                    <a:pt x="57" y="273"/>
                    <a:pt x="57" y="273"/>
                  </a:cubicBezTo>
                  <a:cubicBezTo>
                    <a:pt x="55" y="275"/>
                    <a:pt x="55" y="275"/>
                    <a:pt x="55" y="275"/>
                  </a:cubicBezTo>
                  <a:cubicBezTo>
                    <a:pt x="49" y="273"/>
                    <a:pt x="49" y="273"/>
                    <a:pt x="49" y="273"/>
                  </a:cubicBezTo>
                  <a:cubicBezTo>
                    <a:pt x="46" y="268"/>
                    <a:pt x="46" y="268"/>
                    <a:pt x="46" y="268"/>
                  </a:cubicBezTo>
                  <a:cubicBezTo>
                    <a:pt x="44" y="270"/>
                    <a:pt x="44" y="270"/>
                    <a:pt x="44" y="270"/>
                  </a:cubicBezTo>
                  <a:cubicBezTo>
                    <a:pt x="40" y="266"/>
                    <a:pt x="40" y="266"/>
                    <a:pt x="40" y="266"/>
                  </a:cubicBezTo>
                  <a:cubicBezTo>
                    <a:pt x="37" y="266"/>
                    <a:pt x="37" y="266"/>
                    <a:pt x="37" y="266"/>
                  </a:cubicBezTo>
                  <a:cubicBezTo>
                    <a:pt x="35" y="266"/>
                    <a:pt x="35" y="266"/>
                    <a:pt x="35" y="266"/>
                  </a:cubicBezTo>
                  <a:cubicBezTo>
                    <a:pt x="35" y="266"/>
                    <a:pt x="35" y="266"/>
                    <a:pt x="35" y="266"/>
                  </a:cubicBezTo>
                  <a:cubicBezTo>
                    <a:pt x="35" y="270"/>
                    <a:pt x="35" y="270"/>
                    <a:pt x="35" y="270"/>
                  </a:cubicBezTo>
                  <a:cubicBezTo>
                    <a:pt x="33" y="272"/>
                    <a:pt x="33" y="272"/>
                    <a:pt x="33" y="272"/>
                  </a:cubicBezTo>
                  <a:cubicBezTo>
                    <a:pt x="35" y="273"/>
                    <a:pt x="35" y="273"/>
                    <a:pt x="35" y="273"/>
                  </a:cubicBezTo>
                  <a:cubicBezTo>
                    <a:pt x="40" y="272"/>
                    <a:pt x="40" y="272"/>
                    <a:pt x="40" y="272"/>
                  </a:cubicBezTo>
                  <a:cubicBezTo>
                    <a:pt x="42" y="273"/>
                    <a:pt x="42" y="273"/>
                    <a:pt x="42" y="273"/>
                  </a:cubicBezTo>
                  <a:cubicBezTo>
                    <a:pt x="40" y="275"/>
                    <a:pt x="40" y="275"/>
                    <a:pt x="40" y="275"/>
                  </a:cubicBezTo>
                  <a:cubicBezTo>
                    <a:pt x="40" y="275"/>
                    <a:pt x="40" y="275"/>
                    <a:pt x="40" y="275"/>
                  </a:cubicBezTo>
                  <a:cubicBezTo>
                    <a:pt x="46" y="273"/>
                    <a:pt x="46" y="273"/>
                    <a:pt x="46" y="273"/>
                  </a:cubicBezTo>
                  <a:cubicBezTo>
                    <a:pt x="48" y="273"/>
                    <a:pt x="48" y="273"/>
                    <a:pt x="48" y="273"/>
                  </a:cubicBezTo>
                  <a:cubicBezTo>
                    <a:pt x="46" y="275"/>
                    <a:pt x="46" y="275"/>
                    <a:pt x="46" y="275"/>
                  </a:cubicBezTo>
                  <a:cubicBezTo>
                    <a:pt x="40" y="277"/>
                    <a:pt x="40" y="277"/>
                    <a:pt x="40" y="277"/>
                  </a:cubicBezTo>
                  <a:cubicBezTo>
                    <a:pt x="38" y="281"/>
                    <a:pt x="38" y="281"/>
                    <a:pt x="38" y="281"/>
                  </a:cubicBezTo>
                  <a:cubicBezTo>
                    <a:pt x="35" y="279"/>
                    <a:pt x="35" y="279"/>
                    <a:pt x="35" y="279"/>
                  </a:cubicBezTo>
                  <a:cubicBezTo>
                    <a:pt x="33" y="275"/>
                    <a:pt x="33" y="275"/>
                    <a:pt x="33" y="275"/>
                  </a:cubicBezTo>
                  <a:cubicBezTo>
                    <a:pt x="31" y="275"/>
                    <a:pt x="31" y="275"/>
                    <a:pt x="31" y="275"/>
                  </a:cubicBezTo>
                  <a:cubicBezTo>
                    <a:pt x="29" y="277"/>
                    <a:pt x="29" y="277"/>
                    <a:pt x="29" y="277"/>
                  </a:cubicBezTo>
                  <a:cubicBezTo>
                    <a:pt x="27" y="275"/>
                    <a:pt x="27" y="275"/>
                    <a:pt x="27" y="275"/>
                  </a:cubicBezTo>
                  <a:cubicBezTo>
                    <a:pt x="26" y="277"/>
                    <a:pt x="26" y="277"/>
                    <a:pt x="26" y="277"/>
                  </a:cubicBezTo>
                  <a:cubicBezTo>
                    <a:pt x="24" y="275"/>
                    <a:pt x="24" y="275"/>
                    <a:pt x="24" y="275"/>
                  </a:cubicBezTo>
                  <a:cubicBezTo>
                    <a:pt x="20" y="277"/>
                    <a:pt x="20" y="277"/>
                    <a:pt x="20" y="277"/>
                  </a:cubicBezTo>
                  <a:cubicBezTo>
                    <a:pt x="22" y="279"/>
                    <a:pt x="22" y="279"/>
                    <a:pt x="22" y="279"/>
                  </a:cubicBezTo>
                  <a:cubicBezTo>
                    <a:pt x="27" y="279"/>
                    <a:pt x="27" y="279"/>
                    <a:pt x="27" y="279"/>
                  </a:cubicBezTo>
                  <a:cubicBezTo>
                    <a:pt x="31" y="281"/>
                    <a:pt x="31" y="281"/>
                    <a:pt x="31" y="281"/>
                  </a:cubicBezTo>
                  <a:cubicBezTo>
                    <a:pt x="35" y="284"/>
                    <a:pt x="35" y="284"/>
                    <a:pt x="35" y="284"/>
                  </a:cubicBezTo>
                  <a:cubicBezTo>
                    <a:pt x="33" y="286"/>
                    <a:pt x="33" y="286"/>
                    <a:pt x="33" y="286"/>
                  </a:cubicBezTo>
                  <a:cubicBezTo>
                    <a:pt x="35" y="288"/>
                    <a:pt x="35" y="288"/>
                    <a:pt x="35" y="288"/>
                  </a:cubicBezTo>
                  <a:cubicBezTo>
                    <a:pt x="33" y="290"/>
                    <a:pt x="33" y="290"/>
                    <a:pt x="33" y="290"/>
                  </a:cubicBezTo>
                  <a:cubicBezTo>
                    <a:pt x="31" y="288"/>
                    <a:pt x="31" y="288"/>
                    <a:pt x="31" y="288"/>
                  </a:cubicBezTo>
                  <a:cubicBezTo>
                    <a:pt x="31" y="284"/>
                    <a:pt x="31" y="284"/>
                    <a:pt x="31" y="284"/>
                  </a:cubicBezTo>
                  <a:cubicBezTo>
                    <a:pt x="27" y="283"/>
                    <a:pt x="27" y="283"/>
                    <a:pt x="27" y="283"/>
                  </a:cubicBezTo>
                  <a:cubicBezTo>
                    <a:pt x="26" y="284"/>
                    <a:pt x="26" y="284"/>
                    <a:pt x="26" y="284"/>
                  </a:cubicBezTo>
                  <a:cubicBezTo>
                    <a:pt x="26" y="286"/>
                    <a:pt x="26" y="286"/>
                    <a:pt x="26" y="286"/>
                  </a:cubicBezTo>
                  <a:cubicBezTo>
                    <a:pt x="26" y="288"/>
                    <a:pt x="26" y="288"/>
                    <a:pt x="26" y="288"/>
                  </a:cubicBezTo>
                  <a:cubicBezTo>
                    <a:pt x="22" y="284"/>
                    <a:pt x="22" y="284"/>
                    <a:pt x="22" y="284"/>
                  </a:cubicBezTo>
                  <a:cubicBezTo>
                    <a:pt x="18" y="288"/>
                    <a:pt x="18" y="288"/>
                    <a:pt x="18" y="288"/>
                  </a:cubicBezTo>
                  <a:cubicBezTo>
                    <a:pt x="22" y="292"/>
                    <a:pt x="22" y="292"/>
                    <a:pt x="22" y="292"/>
                  </a:cubicBezTo>
                  <a:cubicBezTo>
                    <a:pt x="20" y="292"/>
                    <a:pt x="20" y="292"/>
                    <a:pt x="20" y="292"/>
                  </a:cubicBezTo>
                  <a:cubicBezTo>
                    <a:pt x="18" y="292"/>
                    <a:pt x="18" y="292"/>
                    <a:pt x="18" y="292"/>
                  </a:cubicBezTo>
                  <a:cubicBezTo>
                    <a:pt x="17" y="288"/>
                    <a:pt x="17" y="288"/>
                    <a:pt x="17" y="288"/>
                  </a:cubicBezTo>
                  <a:cubicBezTo>
                    <a:pt x="11" y="288"/>
                    <a:pt x="11" y="288"/>
                    <a:pt x="11" y="288"/>
                  </a:cubicBezTo>
                  <a:cubicBezTo>
                    <a:pt x="13" y="292"/>
                    <a:pt x="13" y="292"/>
                    <a:pt x="13" y="292"/>
                  </a:cubicBezTo>
                  <a:cubicBezTo>
                    <a:pt x="11" y="293"/>
                    <a:pt x="11" y="293"/>
                    <a:pt x="11" y="293"/>
                  </a:cubicBezTo>
                  <a:cubicBezTo>
                    <a:pt x="11" y="290"/>
                    <a:pt x="11" y="290"/>
                    <a:pt x="11" y="290"/>
                  </a:cubicBezTo>
                  <a:cubicBezTo>
                    <a:pt x="7" y="288"/>
                    <a:pt x="7" y="288"/>
                    <a:pt x="7" y="288"/>
                  </a:cubicBezTo>
                  <a:cubicBezTo>
                    <a:pt x="6" y="288"/>
                    <a:pt x="6" y="288"/>
                    <a:pt x="6" y="288"/>
                  </a:cubicBezTo>
                  <a:cubicBezTo>
                    <a:pt x="6" y="290"/>
                    <a:pt x="6" y="290"/>
                    <a:pt x="6" y="290"/>
                  </a:cubicBezTo>
                  <a:cubicBezTo>
                    <a:pt x="9" y="293"/>
                    <a:pt x="9" y="293"/>
                    <a:pt x="9" y="293"/>
                  </a:cubicBezTo>
                  <a:cubicBezTo>
                    <a:pt x="7" y="295"/>
                    <a:pt x="7" y="295"/>
                    <a:pt x="7" y="295"/>
                  </a:cubicBezTo>
                  <a:cubicBezTo>
                    <a:pt x="9" y="295"/>
                    <a:pt x="9" y="295"/>
                    <a:pt x="9" y="295"/>
                  </a:cubicBezTo>
                  <a:cubicBezTo>
                    <a:pt x="13" y="295"/>
                    <a:pt x="13" y="295"/>
                    <a:pt x="13" y="295"/>
                  </a:cubicBezTo>
                  <a:cubicBezTo>
                    <a:pt x="18" y="295"/>
                    <a:pt x="18" y="295"/>
                    <a:pt x="18" y="295"/>
                  </a:cubicBezTo>
                  <a:cubicBezTo>
                    <a:pt x="22" y="299"/>
                    <a:pt x="22" y="299"/>
                    <a:pt x="22" y="299"/>
                  </a:cubicBezTo>
                  <a:cubicBezTo>
                    <a:pt x="27" y="299"/>
                    <a:pt x="27" y="299"/>
                    <a:pt x="27" y="299"/>
                  </a:cubicBezTo>
                  <a:cubicBezTo>
                    <a:pt x="27" y="297"/>
                    <a:pt x="27" y="297"/>
                    <a:pt x="27" y="297"/>
                  </a:cubicBezTo>
                  <a:cubicBezTo>
                    <a:pt x="31" y="297"/>
                    <a:pt x="31" y="297"/>
                    <a:pt x="31" y="297"/>
                  </a:cubicBezTo>
                  <a:cubicBezTo>
                    <a:pt x="27" y="301"/>
                    <a:pt x="27" y="301"/>
                    <a:pt x="27" y="301"/>
                  </a:cubicBezTo>
                  <a:cubicBezTo>
                    <a:pt x="24" y="299"/>
                    <a:pt x="24" y="299"/>
                    <a:pt x="24" y="299"/>
                  </a:cubicBezTo>
                  <a:cubicBezTo>
                    <a:pt x="22" y="301"/>
                    <a:pt x="22" y="301"/>
                    <a:pt x="22" y="301"/>
                  </a:cubicBezTo>
                  <a:cubicBezTo>
                    <a:pt x="17" y="297"/>
                    <a:pt x="17" y="297"/>
                    <a:pt x="17" y="297"/>
                  </a:cubicBezTo>
                  <a:cubicBezTo>
                    <a:pt x="13" y="299"/>
                    <a:pt x="13" y="299"/>
                    <a:pt x="13" y="299"/>
                  </a:cubicBezTo>
                  <a:cubicBezTo>
                    <a:pt x="11" y="297"/>
                    <a:pt x="11" y="297"/>
                    <a:pt x="11" y="297"/>
                  </a:cubicBezTo>
                  <a:cubicBezTo>
                    <a:pt x="9" y="301"/>
                    <a:pt x="9" y="301"/>
                    <a:pt x="9" y="301"/>
                  </a:cubicBezTo>
                  <a:cubicBezTo>
                    <a:pt x="6" y="301"/>
                    <a:pt x="6" y="301"/>
                    <a:pt x="6" y="301"/>
                  </a:cubicBezTo>
                  <a:cubicBezTo>
                    <a:pt x="4" y="303"/>
                    <a:pt x="4" y="303"/>
                    <a:pt x="4" y="303"/>
                  </a:cubicBezTo>
                  <a:cubicBezTo>
                    <a:pt x="9" y="304"/>
                    <a:pt x="9" y="304"/>
                    <a:pt x="9" y="304"/>
                  </a:cubicBezTo>
                  <a:cubicBezTo>
                    <a:pt x="7" y="306"/>
                    <a:pt x="7" y="306"/>
                    <a:pt x="7" y="306"/>
                  </a:cubicBezTo>
                  <a:cubicBezTo>
                    <a:pt x="11" y="308"/>
                    <a:pt x="11" y="308"/>
                    <a:pt x="11" y="308"/>
                  </a:cubicBezTo>
                  <a:cubicBezTo>
                    <a:pt x="13" y="306"/>
                    <a:pt x="13" y="306"/>
                    <a:pt x="13" y="306"/>
                  </a:cubicBezTo>
                  <a:cubicBezTo>
                    <a:pt x="17" y="306"/>
                    <a:pt x="17" y="306"/>
                    <a:pt x="17" y="306"/>
                  </a:cubicBezTo>
                  <a:cubicBezTo>
                    <a:pt x="13" y="308"/>
                    <a:pt x="13" y="308"/>
                    <a:pt x="13" y="308"/>
                  </a:cubicBezTo>
                  <a:cubicBezTo>
                    <a:pt x="9" y="308"/>
                    <a:pt x="9" y="308"/>
                    <a:pt x="9" y="308"/>
                  </a:cubicBezTo>
                  <a:cubicBezTo>
                    <a:pt x="7" y="310"/>
                    <a:pt x="7" y="310"/>
                    <a:pt x="7" y="310"/>
                  </a:cubicBezTo>
                  <a:cubicBezTo>
                    <a:pt x="6" y="308"/>
                    <a:pt x="6" y="308"/>
                    <a:pt x="6" y="308"/>
                  </a:cubicBezTo>
                  <a:cubicBezTo>
                    <a:pt x="6" y="310"/>
                    <a:pt x="6" y="310"/>
                    <a:pt x="6" y="310"/>
                  </a:cubicBezTo>
                  <a:cubicBezTo>
                    <a:pt x="9" y="312"/>
                    <a:pt x="9" y="312"/>
                    <a:pt x="9" y="312"/>
                  </a:cubicBezTo>
                  <a:cubicBezTo>
                    <a:pt x="11" y="312"/>
                    <a:pt x="11" y="312"/>
                    <a:pt x="11" y="312"/>
                  </a:cubicBezTo>
                  <a:cubicBezTo>
                    <a:pt x="7" y="314"/>
                    <a:pt x="7" y="314"/>
                    <a:pt x="7" y="314"/>
                  </a:cubicBezTo>
                  <a:cubicBezTo>
                    <a:pt x="6" y="314"/>
                    <a:pt x="6" y="314"/>
                    <a:pt x="6" y="314"/>
                  </a:cubicBezTo>
                  <a:cubicBezTo>
                    <a:pt x="7" y="315"/>
                    <a:pt x="7" y="315"/>
                    <a:pt x="7" y="315"/>
                  </a:cubicBezTo>
                  <a:cubicBezTo>
                    <a:pt x="7" y="315"/>
                    <a:pt x="7" y="315"/>
                    <a:pt x="7" y="315"/>
                  </a:cubicBezTo>
                  <a:cubicBezTo>
                    <a:pt x="9" y="317"/>
                    <a:pt x="9" y="317"/>
                    <a:pt x="9" y="317"/>
                  </a:cubicBezTo>
                  <a:cubicBezTo>
                    <a:pt x="13" y="317"/>
                    <a:pt x="13" y="317"/>
                    <a:pt x="13" y="317"/>
                  </a:cubicBezTo>
                  <a:cubicBezTo>
                    <a:pt x="15" y="315"/>
                    <a:pt x="15" y="315"/>
                    <a:pt x="15" y="315"/>
                  </a:cubicBezTo>
                  <a:cubicBezTo>
                    <a:pt x="20" y="315"/>
                    <a:pt x="20" y="315"/>
                    <a:pt x="20" y="315"/>
                  </a:cubicBezTo>
                  <a:cubicBezTo>
                    <a:pt x="24" y="315"/>
                    <a:pt x="24" y="315"/>
                    <a:pt x="24" y="315"/>
                  </a:cubicBezTo>
                  <a:cubicBezTo>
                    <a:pt x="26" y="317"/>
                    <a:pt x="26" y="317"/>
                    <a:pt x="26" y="317"/>
                  </a:cubicBezTo>
                  <a:cubicBezTo>
                    <a:pt x="27" y="315"/>
                    <a:pt x="27" y="315"/>
                    <a:pt x="27" y="315"/>
                  </a:cubicBezTo>
                  <a:cubicBezTo>
                    <a:pt x="27" y="314"/>
                    <a:pt x="27" y="314"/>
                    <a:pt x="27" y="314"/>
                  </a:cubicBezTo>
                  <a:cubicBezTo>
                    <a:pt x="29" y="314"/>
                    <a:pt x="29" y="314"/>
                    <a:pt x="29" y="314"/>
                  </a:cubicBezTo>
                  <a:cubicBezTo>
                    <a:pt x="31" y="315"/>
                    <a:pt x="31" y="315"/>
                    <a:pt x="31" y="315"/>
                  </a:cubicBezTo>
                  <a:cubicBezTo>
                    <a:pt x="33" y="315"/>
                    <a:pt x="33" y="315"/>
                    <a:pt x="33" y="315"/>
                  </a:cubicBezTo>
                  <a:cubicBezTo>
                    <a:pt x="37" y="312"/>
                    <a:pt x="37" y="312"/>
                    <a:pt x="37" y="312"/>
                  </a:cubicBezTo>
                  <a:cubicBezTo>
                    <a:pt x="38" y="312"/>
                    <a:pt x="38" y="312"/>
                    <a:pt x="38" y="312"/>
                  </a:cubicBezTo>
                  <a:cubicBezTo>
                    <a:pt x="38" y="314"/>
                    <a:pt x="38" y="314"/>
                    <a:pt x="38" y="314"/>
                  </a:cubicBezTo>
                  <a:cubicBezTo>
                    <a:pt x="37" y="315"/>
                    <a:pt x="37" y="315"/>
                    <a:pt x="37" y="315"/>
                  </a:cubicBezTo>
                  <a:cubicBezTo>
                    <a:pt x="40" y="315"/>
                    <a:pt x="40" y="315"/>
                    <a:pt x="40" y="315"/>
                  </a:cubicBezTo>
                  <a:cubicBezTo>
                    <a:pt x="40" y="314"/>
                    <a:pt x="40" y="314"/>
                    <a:pt x="40" y="314"/>
                  </a:cubicBezTo>
                  <a:cubicBezTo>
                    <a:pt x="40" y="312"/>
                    <a:pt x="40" y="312"/>
                    <a:pt x="40" y="312"/>
                  </a:cubicBezTo>
                  <a:cubicBezTo>
                    <a:pt x="42" y="308"/>
                    <a:pt x="42" y="308"/>
                    <a:pt x="42" y="308"/>
                  </a:cubicBezTo>
                  <a:cubicBezTo>
                    <a:pt x="42" y="312"/>
                    <a:pt x="42" y="312"/>
                    <a:pt x="42" y="312"/>
                  </a:cubicBezTo>
                  <a:cubicBezTo>
                    <a:pt x="46" y="315"/>
                    <a:pt x="46" y="315"/>
                    <a:pt x="46" y="315"/>
                  </a:cubicBezTo>
                  <a:cubicBezTo>
                    <a:pt x="42" y="317"/>
                    <a:pt x="42" y="317"/>
                    <a:pt x="42" y="317"/>
                  </a:cubicBezTo>
                  <a:cubicBezTo>
                    <a:pt x="38" y="319"/>
                    <a:pt x="38" y="319"/>
                    <a:pt x="38" y="319"/>
                  </a:cubicBezTo>
                  <a:cubicBezTo>
                    <a:pt x="37" y="321"/>
                    <a:pt x="37" y="321"/>
                    <a:pt x="37" y="321"/>
                  </a:cubicBezTo>
                  <a:cubicBezTo>
                    <a:pt x="37" y="321"/>
                    <a:pt x="37" y="321"/>
                    <a:pt x="37" y="321"/>
                  </a:cubicBezTo>
                  <a:cubicBezTo>
                    <a:pt x="37" y="324"/>
                    <a:pt x="37" y="324"/>
                    <a:pt x="37" y="324"/>
                  </a:cubicBezTo>
                  <a:cubicBezTo>
                    <a:pt x="31" y="324"/>
                    <a:pt x="31" y="324"/>
                    <a:pt x="31" y="324"/>
                  </a:cubicBezTo>
                  <a:cubicBezTo>
                    <a:pt x="31" y="323"/>
                    <a:pt x="31" y="323"/>
                    <a:pt x="31" y="323"/>
                  </a:cubicBezTo>
                  <a:cubicBezTo>
                    <a:pt x="33" y="321"/>
                    <a:pt x="33" y="321"/>
                    <a:pt x="33" y="321"/>
                  </a:cubicBezTo>
                  <a:cubicBezTo>
                    <a:pt x="33" y="317"/>
                    <a:pt x="33" y="317"/>
                    <a:pt x="33" y="317"/>
                  </a:cubicBezTo>
                  <a:cubicBezTo>
                    <a:pt x="29" y="317"/>
                    <a:pt x="29" y="317"/>
                    <a:pt x="29" y="317"/>
                  </a:cubicBezTo>
                  <a:cubicBezTo>
                    <a:pt x="27" y="321"/>
                    <a:pt x="27" y="321"/>
                    <a:pt x="27" y="321"/>
                  </a:cubicBezTo>
                  <a:cubicBezTo>
                    <a:pt x="26" y="323"/>
                    <a:pt x="26" y="323"/>
                    <a:pt x="26" y="323"/>
                  </a:cubicBezTo>
                  <a:cubicBezTo>
                    <a:pt x="24" y="319"/>
                    <a:pt x="24" y="319"/>
                    <a:pt x="24" y="319"/>
                  </a:cubicBezTo>
                  <a:cubicBezTo>
                    <a:pt x="20" y="319"/>
                    <a:pt x="20" y="319"/>
                    <a:pt x="20" y="319"/>
                  </a:cubicBezTo>
                  <a:cubicBezTo>
                    <a:pt x="17" y="319"/>
                    <a:pt x="17" y="319"/>
                    <a:pt x="17" y="319"/>
                  </a:cubicBezTo>
                  <a:cubicBezTo>
                    <a:pt x="15" y="319"/>
                    <a:pt x="15" y="319"/>
                    <a:pt x="15" y="319"/>
                  </a:cubicBezTo>
                  <a:cubicBezTo>
                    <a:pt x="11" y="321"/>
                    <a:pt x="11" y="321"/>
                    <a:pt x="11" y="321"/>
                  </a:cubicBezTo>
                  <a:cubicBezTo>
                    <a:pt x="9" y="321"/>
                    <a:pt x="9" y="321"/>
                    <a:pt x="9" y="321"/>
                  </a:cubicBezTo>
                  <a:cubicBezTo>
                    <a:pt x="6" y="319"/>
                    <a:pt x="6" y="319"/>
                    <a:pt x="6" y="319"/>
                  </a:cubicBezTo>
                  <a:cubicBezTo>
                    <a:pt x="6" y="319"/>
                    <a:pt x="6" y="319"/>
                    <a:pt x="6" y="319"/>
                  </a:cubicBezTo>
                  <a:cubicBezTo>
                    <a:pt x="7" y="323"/>
                    <a:pt x="7" y="323"/>
                    <a:pt x="7" y="323"/>
                  </a:cubicBezTo>
                  <a:cubicBezTo>
                    <a:pt x="6" y="324"/>
                    <a:pt x="6" y="324"/>
                    <a:pt x="6" y="324"/>
                  </a:cubicBezTo>
                  <a:cubicBezTo>
                    <a:pt x="7" y="326"/>
                    <a:pt x="7" y="326"/>
                    <a:pt x="7" y="326"/>
                  </a:cubicBezTo>
                  <a:cubicBezTo>
                    <a:pt x="9" y="324"/>
                    <a:pt x="9" y="324"/>
                    <a:pt x="9" y="324"/>
                  </a:cubicBezTo>
                  <a:cubicBezTo>
                    <a:pt x="11" y="323"/>
                    <a:pt x="11" y="323"/>
                    <a:pt x="11" y="323"/>
                  </a:cubicBezTo>
                  <a:cubicBezTo>
                    <a:pt x="13" y="324"/>
                    <a:pt x="13" y="324"/>
                    <a:pt x="13" y="324"/>
                  </a:cubicBezTo>
                  <a:cubicBezTo>
                    <a:pt x="11" y="326"/>
                    <a:pt x="11" y="326"/>
                    <a:pt x="11" y="326"/>
                  </a:cubicBezTo>
                  <a:cubicBezTo>
                    <a:pt x="11" y="328"/>
                    <a:pt x="11" y="328"/>
                    <a:pt x="11" y="328"/>
                  </a:cubicBezTo>
                  <a:cubicBezTo>
                    <a:pt x="9" y="330"/>
                    <a:pt x="9" y="330"/>
                    <a:pt x="9" y="330"/>
                  </a:cubicBezTo>
                  <a:cubicBezTo>
                    <a:pt x="7" y="328"/>
                    <a:pt x="7" y="328"/>
                    <a:pt x="7" y="328"/>
                  </a:cubicBezTo>
                  <a:cubicBezTo>
                    <a:pt x="9" y="332"/>
                    <a:pt x="9" y="332"/>
                    <a:pt x="9" y="332"/>
                  </a:cubicBezTo>
                  <a:cubicBezTo>
                    <a:pt x="11" y="334"/>
                    <a:pt x="11" y="334"/>
                    <a:pt x="11" y="334"/>
                  </a:cubicBezTo>
                  <a:cubicBezTo>
                    <a:pt x="15" y="328"/>
                    <a:pt x="15" y="328"/>
                    <a:pt x="15" y="328"/>
                  </a:cubicBezTo>
                  <a:cubicBezTo>
                    <a:pt x="18" y="330"/>
                    <a:pt x="18" y="330"/>
                    <a:pt x="18" y="330"/>
                  </a:cubicBezTo>
                  <a:cubicBezTo>
                    <a:pt x="17" y="332"/>
                    <a:pt x="17" y="332"/>
                    <a:pt x="17" y="332"/>
                  </a:cubicBezTo>
                  <a:cubicBezTo>
                    <a:pt x="18" y="334"/>
                    <a:pt x="18" y="334"/>
                    <a:pt x="18" y="334"/>
                  </a:cubicBezTo>
                  <a:cubicBezTo>
                    <a:pt x="13" y="337"/>
                    <a:pt x="13" y="337"/>
                    <a:pt x="13" y="337"/>
                  </a:cubicBezTo>
                  <a:cubicBezTo>
                    <a:pt x="15" y="337"/>
                    <a:pt x="15" y="337"/>
                    <a:pt x="15" y="337"/>
                  </a:cubicBezTo>
                  <a:cubicBezTo>
                    <a:pt x="17" y="337"/>
                    <a:pt x="17" y="337"/>
                    <a:pt x="17" y="337"/>
                  </a:cubicBezTo>
                  <a:cubicBezTo>
                    <a:pt x="15" y="341"/>
                    <a:pt x="15" y="341"/>
                    <a:pt x="15" y="341"/>
                  </a:cubicBezTo>
                  <a:cubicBezTo>
                    <a:pt x="17" y="343"/>
                    <a:pt x="17" y="343"/>
                    <a:pt x="17" y="343"/>
                  </a:cubicBezTo>
                  <a:cubicBezTo>
                    <a:pt x="17" y="346"/>
                    <a:pt x="17" y="346"/>
                    <a:pt x="17" y="346"/>
                  </a:cubicBezTo>
                  <a:cubicBezTo>
                    <a:pt x="17" y="346"/>
                    <a:pt x="17" y="346"/>
                    <a:pt x="17" y="346"/>
                  </a:cubicBezTo>
                  <a:cubicBezTo>
                    <a:pt x="20" y="343"/>
                    <a:pt x="20" y="343"/>
                    <a:pt x="20" y="343"/>
                  </a:cubicBezTo>
                  <a:cubicBezTo>
                    <a:pt x="22" y="341"/>
                    <a:pt x="22" y="341"/>
                    <a:pt x="22" y="341"/>
                  </a:cubicBezTo>
                  <a:cubicBezTo>
                    <a:pt x="22" y="337"/>
                    <a:pt x="22" y="337"/>
                    <a:pt x="22" y="337"/>
                  </a:cubicBezTo>
                  <a:cubicBezTo>
                    <a:pt x="29" y="335"/>
                    <a:pt x="29" y="335"/>
                    <a:pt x="29" y="335"/>
                  </a:cubicBezTo>
                  <a:cubicBezTo>
                    <a:pt x="31" y="335"/>
                    <a:pt x="31" y="335"/>
                    <a:pt x="31" y="335"/>
                  </a:cubicBezTo>
                  <a:cubicBezTo>
                    <a:pt x="35" y="334"/>
                    <a:pt x="35" y="334"/>
                    <a:pt x="35" y="334"/>
                  </a:cubicBezTo>
                  <a:cubicBezTo>
                    <a:pt x="33" y="335"/>
                    <a:pt x="33" y="335"/>
                    <a:pt x="33" y="335"/>
                  </a:cubicBezTo>
                  <a:cubicBezTo>
                    <a:pt x="29" y="337"/>
                    <a:pt x="29" y="337"/>
                    <a:pt x="29" y="337"/>
                  </a:cubicBezTo>
                  <a:cubicBezTo>
                    <a:pt x="29" y="343"/>
                    <a:pt x="29" y="343"/>
                    <a:pt x="29" y="343"/>
                  </a:cubicBezTo>
                  <a:cubicBezTo>
                    <a:pt x="31" y="344"/>
                    <a:pt x="31" y="344"/>
                    <a:pt x="31" y="344"/>
                  </a:cubicBezTo>
                  <a:cubicBezTo>
                    <a:pt x="27" y="343"/>
                    <a:pt x="27" y="343"/>
                    <a:pt x="27" y="343"/>
                  </a:cubicBezTo>
                  <a:cubicBezTo>
                    <a:pt x="27" y="339"/>
                    <a:pt x="27" y="339"/>
                    <a:pt x="27" y="339"/>
                  </a:cubicBezTo>
                  <a:cubicBezTo>
                    <a:pt x="26" y="339"/>
                    <a:pt x="26" y="339"/>
                    <a:pt x="26" y="339"/>
                  </a:cubicBezTo>
                  <a:cubicBezTo>
                    <a:pt x="24" y="343"/>
                    <a:pt x="24" y="343"/>
                    <a:pt x="24" y="343"/>
                  </a:cubicBezTo>
                  <a:cubicBezTo>
                    <a:pt x="22" y="343"/>
                    <a:pt x="22" y="343"/>
                    <a:pt x="22" y="343"/>
                  </a:cubicBezTo>
                  <a:cubicBezTo>
                    <a:pt x="26" y="344"/>
                    <a:pt x="26" y="344"/>
                    <a:pt x="26" y="344"/>
                  </a:cubicBezTo>
                  <a:cubicBezTo>
                    <a:pt x="22" y="348"/>
                    <a:pt x="22" y="348"/>
                    <a:pt x="22" y="348"/>
                  </a:cubicBezTo>
                  <a:cubicBezTo>
                    <a:pt x="20" y="348"/>
                    <a:pt x="20" y="348"/>
                    <a:pt x="20" y="348"/>
                  </a:cubicBezTo>
                  <a:cubicBezTo>
                    <a:pt x="18" y="350"/>
                    <a:pt x="18" y="350"/>
                    <a:pt x="18" y="350"/>
                  </a:cubicBezTo>
                  <a:cubicBezTo>
                    <a:pt x="20" y="352"/>
                    <a:pt x="20" y="352"/>
                    <a:pt x="20" y="352"/>
                  </a:cubicBezTo>
                  <a:cubicBezTo>
                    <a:pt x="26" y="352"/>
                    <a:pt x="26" y="352"/>
                    <a:pt x="26" y="352"/>
                  </a:cubicBezTo>
                  <a:cubicBezTo>
                    <a:pt x="26" y="354"/>
                    <a:pt x="26" y="354"/>
                    <a:pt x="26" y="354"/>
                  </a:cubicBezTo>
                  <a:cubicBezTo>
                    <a:pt x="24" y="354"/>
                    <a:pt x="24" y="354"/>
                    <a:pt x="24" y="354"/>
                  </a:cubicBezTo>
                  <a:cubicBezTo>
                    <a:pt x="22" y="355"/>
                    <a:pt x="22" y="355"/>
                    <a:pt x="22" y="355"/>
                  </a:cubicBezTo>
                  <a:cubicBezTo>
                    <a:pt x="22" y="357"/>
                    <a:pt x="22" y="357"/>
                    <a:pt x="22" y="357"/>
                  </a:cubicBezTo>
                  <a:cubicBezTo>
                    <a:pt x="18" y="355"/>
                    <a:pt x="18" y="355"/>
                    <a:pt x="18" y="355"/>
                  </a:cubicBezTo>
                  <a:cubicBezTo>
                    <a:pt x="17" y="355"/>
                    <a:pt x="17" y="355"/>
                    <a:pt x="17" y="355"/>
                  </a:cubicBezTo>
                  <a:cubicBezTo>
                    <a:pt x="15" y="359"/>
                    <a:pt x="15" y="359"/>
                    <a:pt x="15" y="359"/>
                  </a:cubicBezTo>
                  <a:cubicBezTo>
                    <a:pt x="15" y="355"/>
                    <a:pt x="15" y="355"/>
                    <a:pt x="15" y="355"/>
                  </a:cubicBezTo>
                  <a:cubicBezTo>
                    <a:pt x="13" y="357"/>
                    <a:pt x="13" y="357"/>
                    <a:pt x="13" y="357"/>
                  </a:cubicBezTo>
                  <a:cubicBezTo>
                    <a:pt x="9" y="361"/>
                    <a:pt x="9" y="361"/>
                    <a:pt x="9" y="361"/>
                  </a:cubicBezTo>
                  <a:cubicBezTo>
                    <a:pt x="11" y="365"/>
                    <a:pt x="11" y="365"/>
                    <a:pt x="11" y="365"/>
                  </a:cubicBezTo>
                  <a:cubicBezTo>
                    <a:pt x="15" y="368"/>
                    <a:pt x="15" y="368"/>
                    <a:pt x="15" y="368"/>
                  </a:cubicBezTo>
                  <a:cubicBezTo>
                    <a:pt x="17" y="366"/>
                    <a:pt x="17" y="366"/>
                    <a:pt x="17" y="366"/>
                  </a:cubicBezTo>
                  <a:cubicBezTo>
                    <a:pt x="17" y="368"/>
                    <a:pt x="17" y="368"/>
                    <a:pt x="17" y="368"/>
                  </a:cubicBezTo>
                  <a:cubicBezTo>
                    <a:pt x="20" y="366"/>
                    <a:pt x="20" y="366"/>
                    <a:pt x="20" y="366"/>
                  </a:cubicBezTo>
                  <a:cubicBezTo>
                    <a:pt x="18" y="365"/>
                    <a:pt x="18" y="365"/>
                    <a:pt x="18" y="365"/>
                  </a:cubicBezTo>
                  <a:cubicBezTo>
                    <a:pt x="20" y="361"/>
                    <a:pt x="20" y="361"/>
                    <a:pt x="20" y="361"/>
                  </a:cubicBezTo>
                  <a:cubicBezTo>
                    <a:pt x="24" y="365"/>
                    <a:pt x="24" y="365"/>
                    <a:pt x="24" y="365"/>
                  </a:cubicBezTo>
                  <a:cubicBezTo>
                    <a:pt x="22" y="365"/>
                    <a:pt x="22" y="365"/>
                    <a:pt x="22" y="365"/>
                  </a:cubicBezTo>
                  <a:cubicBezTo>
                    <a:pt x="24" y="368"/>
                    <a:pt x="24" y="368"/>
                    <a:pt x="24" y="368"/>
                  </a:cubicBezTo>
                  <a:cubicBezTo>
                    <a:pt x="24" y="370"/>
                    <a:pt x="24" y="370"/>
                    <a:pt x="24" y="370"/>
                  </a:cubicBezTo>
                  <a:cubicBezTo>
                    <a:pt x="22" y="372"/>
                    <a:pt x="22" y="372"/>
                    <a:pt x="22" y="372"/>
                  </a:cubicBezTo>
                  <a:cubicBezTo>
                    <a:pt x="24" y="377"/>
                    <a:pt x="24" y="377"/>
                    <a:pt x="24" y="377"/>
                  </a:cubicBezTo>
                  <a:cubicBezTo>
                    <a:pt x="26" y="375"/>
                    <a:pt x="26" y="375"/>
                    <a:pt x="26" y="375"/>
                  </a:cubicBezTo>
                  <a:cubicBezTo>
                    <a:pt x="29" y="374"/>
                    <a:pt x="29" y="374"/>
                    <a:pt x="29" y="374"/>
                  </a:cubicBezTo>
                  <a:cubicBezTo>
                    <a:pt x="31" y="375"/>
                    <a:pt x="31" y="375"/>
                    <a:pt x="31" y="375"/>
                  </a:cubicBezTo>
                  <a:cubicBezTo>
                    <a:pt x="27" y="375"/>
                    <a:pt x="27" y="375"/>
                    <a:pt x="27" y="375"/>
                  </a:cubicBezTo>
                  <a:cubicBezTo>
                    <a:pt x="26" y="377"/>
                    <a:pt x="26" y="377"/>
                    <a:pt x="26" y="377"/>
                  </a:cubicBezTo>
                  <a:cubicBezTo>
                    <a:pt x="27" y="381"/>
                    <a:pt x="27" y="381"/>
                    <a:pt x="27" y="381"/>
                  </a:cubicBezTo>
                  <a:cubicBezTo>
                    <a:pt x="27" y="381"/>
                    <a:pt x="27" y="381"/>
                    <a:pt x="27" y="381"/>
                  </a:cubicBezTo>
                  <a:cubicBezTo>
                    <a:pt x="20" y="377"/>
                    <a:pt x="20" y="377"/>
                    <a:pt x="20" y="377"/>
                  </a:cubicBezTo>
                  <a:cubicBezTo>
                    <a:pt x="18" y="377"/>
                    <a:pt x="18" y="377"/>
                    <a:pt x="18" y="377"/>
                  </a:cubicBezTo>
                  <a:cubicBezTo>
                    <a:pt x="17" y="377"/>
                    <a:pt x="17" y="377"/>
                    <a:pt x="17" y="377"/>
                  </a:cubicBezTo>
                  <a:cubicBezTo>
                    <a:pt x="15" y="377"/>
                    <a:pt x="15" y="377"/>
                    <a:pt x="15" y="377"/>
                  </a:cubicBezTo>
                  <a:cubicBezTo>
                    <a:pt x="15" y="379"/>
                    <a:pt x="15" y="379"/>
                    <a:pt x="15" y="379"/>
                  </a:cubicBezTo>
                  <a:cubicBezTo>
                    <a:pt x="13" y="381"/>
                    <a:pt x="13" y="381"/>
                    <a:pt x="13" y="381"/>
                  </a:cubicBezTo>
                  <a:cubicBezTo>
                    <a:pt x="17" y="388"/>
                    <a:pt x="17" y="388"/>
                    <a:pt x="17" y="388"/>
                  </a:cubicBezTo>
                  <a:cubicBezTo>
                    <a:pt x="20" y="388"/>
                    <a:pt x="20" y="388"/>
                    <a:pt x="20" y="388"/>
                  </a:cubicBezTo>
                  <a:cubicBezTo>
                    <a:pt x="26" y="394"/>
                    <a:pt x="26" y="394"/>
                    <a:pt x="26" y="394"/>
                  </a:cubicBezTo>
                  <a:cubicBezTo>
                    <a:pt x="31" y="396"/>
                    <a:pt x="31" y="396"/>
                    <a:pt x="31" y="396"/>
                  </a:cubicBezTo>
                  <a:cubicBezTo>
                    <a:pt x="33" y="397"/>
                    <a:pt x="33" y="397"/>
                    <a:pt x="33" y="397"/>
                  </a:cubicBezTo>
                  <a:cubicBezTo>
                    <a:pt x="31" y="399"/>
                    <a:pt x="31" y="399"/>
                    <a:pt x="31" y="399"/>
                  </a:cubicBezTo>
                  <a:cubicBezTo>
                    <a:pt x="33" y="401"/>
                    <a:pt x="33" y="401"/>
                    <a:pt x="33" y="401"/>
                  </a:cubicBezTo>
                  <a:cubicBezTo>
                    <a:pt x="35" y="399"/>
                    <a:pt x="35" y="399"/>
                    <a:pt x="35" y="399"/>
                  </a:cubicBezTo>
                  <a:cubicBezTo>
                    <a:pt x="35" y="397"/>
                    <a:pt x="35" y="397"/>
                    <a:pt x="35" y="397"/>
                  </a:cubicBezTo>
                  <a:cubicBezTo>
                    <a:pt x="37" y="396"/>
                    <a:pt x="37" y="396"/>
                    <a:pt x="37" y="396"/>
                  </a:cubicBezTo>
                  <a:cubicBezTo>
                    <a:pt x="38" y="397"/>
                    <a:pt x="38" y="397"/>
                    <a:pt x="38" y="397"/>
                  </a:cubicBezTo>
                  <a:cubicBezTo>
                    <a:pt x="38" y="399"/>
                    <a:pt x="38" y="399"/>
                    <a:pt x="38" y="399"/>
                  </a:cubicBezTo>
                  <a:cubicBezTo>
                    <a:pt x="42" y="403"/>
                    <a:pt x="42" y="403"/>
                    <a:pt x="42" y="403"/>
                  </a:cubicBezTo>
                  <a:cubicBezTo>
                    <a:pt x="44" y="401"/>
                    <a:pt x="44" y="401"/>
                    <a:pt x="44" y="401"/>
                  </a:cubicBezTo>
                  <a:cubicBezTo>
                    <a:pt x="44" y="403"/>
                    <a:pt x="44" y="403"/>
                    <a:pt x="44" y="403"/>
                  </a:cubicBezTo>
                  <a:cubicBezTo>
                    <a:pt x="48" y="401"/>
                    <a:pt x="48" y="401"/>
                    <a:pt x="48" y="401"/>
                  </a:cubicBezTo>
                  <a:cubicBezTo>
                    <a:pt x="51" y="397"/>
                    <a:pt x="51" y="397"/>
                    <a:pt x="51" y="397"/>
                  </a:cubicBezTo>
                  <a:cubicBezTo>
                    <a:pt x="53" y="397"/>
                    <a:pt x="53" y="397"/>
                    <a:pt x="53" y="397"/>
                  </a:cubicBezTo>
                  <a:cubicBezTo>
                    <a:pt x="55" y="396"/>
                    <a:pt x="55" y="396"/>
                    <a:pt x="55" y="396"/>
                  </a:cubicBezTo>
                  <a:cubicBezTo>
                    <a:pt x="55" y="396"/>
                    <a:pt x="55" y="396"/>
                    <a:pt x="55" y="396"/>
                  </a:cubicBezTo>
                  <a:cubicBezTo>
                    <a:pt x="57" y="397"/>
                    <a:pt x="57" y="397"/>
                    <a:pt x="57" y="397"/>
                  </a:cubicBezTo>
                  <a:cubicBezTo>
                    <a:pt x="59" y="399"/>
                    <a:pt x="59" y="399"/>
                    <a:pt x="59" y="399"/>
                  </a:cubicBezTo>
                  <a:cubicBezTo>
                    <a:pt x="64" y="392"/>
                    <a:pt x="64" y="392"/>
                    <a:pt x="64" y="392"/>
                  </a:cubicBezTo>
                  <a:cubicBezTo>
                    <a:pt x="64" y="390"/>
                    <a:pt x="64" y="390"/>
                    <a:pt x="64" y="390"/>
                  </a:cubicBezTo>
                  <a:cubicBezTo>
                    <a:pt x="60" y="386"/>
                    <a:pt x="60" y="386"/>
                    <a:pt x="60" y="386"/>
                  </a:cubicBezTo>
                  <a:cubicBezTo>
                    <a:pt x="66" y="390"/>
                    <a:pt x="66" y="390"/>
                    <a:pt x="66" y="390"/>
                  </a:cubicBezTo>
                  <a:cubicBezTo>
                    <a:pt x="69" y="386"/>
                    <a:pt x="69" y="386"/>
                    <a:pt x="69" y="386"/>
                  </a:cubicBezTo>
                  <a:cubicBezTo>
                    <a:pt x="68" y="385"/>
                    <a:pt x="68" y="385"/>
                    <a:pt x="68" y="385"/>
                  </a:cubicBezTo>
                  <a:cubicBezTo>
                    <a:pt x="71" y="383"/>
                    <a:pt x="71" y="383"/>
                    <a:pt x="71" y="383"/>
                  </a:cubicBezTo>
                  <a:cubicBezTo>
                    <a:pt x="69" y="381"/>
                    <a:pt x="69" y="381"/>
                    <a:pt x="69" y="381"/>
                  </a:cubicBezTo>
                  <a:cubicBezTo>
                    <a:pt x="73" y="379"/>
                    <a:pt x="73" y="379"/>
                    <a:pt x="73" y="379"/>
                  </a:cubicBezTo>
                  <a:cubicBezTo>
                    <a:pt x="75" y="379"/>
                    <a:pt x="75" y="379"/>
                    <a:pt x="75" y="379"/>
                  </a:cubicBezTo>
                  <a:cubicBezTo>
                    <a:pt x="77" y="377"/>
                    <a:pt x="77" y="377"/>
                    <a:pt x="77" y="377"/>
                  </a:cubicBezTo>
                  <a:cubicBezTo>
                    <a:pt x="73" y="374"/>
                    <a:pt x="73" y="374"/>
                    <a:pt x="73" y="374"/>
                  </a:cubicBezTo>
                  <a:cubicBezTo>
                    <a:pt x="75" y="372"/>
                    <a:pt x="75" y="372"/>
                    <a:pt x="75" y="372"/>
                  </a:cubicBezTo>
                  <a:cubicBezTo>
                    <a:pt x="71" y="368"/>
                    <a:pt x="71" y="368"/>
                    <a:pt x="71" y="368"/>
                  </a:cubicBezTo>
                  <a:cubicBezTo>
                    <a:pt x="69" y="366"/>
                    <a:pt x="69" y="366"/>
                    <a:pt x="69" y="366"/>
                  </a:cubicBezTo>
                  <a:cubicBezTo>
                    <a:pt x="69" y="363"/>
                    <a:pt x="69" y="363"/>
                    <a:pt x="69" y="363"/>
                  </a:cubicBezTo>
                  <a:cubicBezTo>
                    <a:pt x="71" y="365"/>
                    <a:pt x="71" y="365"/>
                    <a:pt x="71" y="365"/>
                  </a:cubicBezTo>
                  <a:cubicBezTo>
                    <a:pt x="75" y="368"/>
                    <a:pt x="75" y="368"/>
                    <a:pt x="75" y="368"/>
                  </a:cubicBezTo>
                  <a:cubicBezTo>
                    <a:pt x="75" y="372"/>
                    <a:pt x="75" y="372"/>
                    <a:pt x="75" y="372"/>
                  </a:cubicBezTo>
                  <a:cubicBezTo>
                    <a:pt x="77" y="374"/>
                    <a:pt x="77" y="374"/>
                    <a:pt x="77" y="374"/>
                  </a:cubicBezTo>
                  <a:cubicBezTo>
                    <a:pt x="79" y="374"/>
                    <a:pt x="79" y="374"/>
                    <a:pt x="79" y="374"/>
                  </a:cubicBezTo>
                  <a:cubicBezTo>
                    <a:pt x="79" y="375"/>
                    <a:pt x="79" y="375"/>
                    <a:pt x="79" y="375"/>
                  </a:cubicBezTo>
                  <a:cubicBezTo>
                    <a:pt x="80" y="377"/>
                    <a:pt x="80" y="377"/>
                    <a:pt x="80" y="377"/>
                  </a:cubicBezTo>
                  <a:cubicBezTo>
                    <a:pt x="84" y="375"/>
                    <a:pt x="84" y="375"/>
                    <a:pt x="84" y="375"/>
                  </a:cubicBezTo>
                  <a:cubicBezTo>
                    <a:pt x="82" y="374"/>
                    <a:pt x="82" y="374"/>
                    <a:pt x="82" y="374"/>
                  </a:cubicBezTo>
                  <a:cubicBezTo>
                    <a:pt x="80" y="374"/>
                    <a:pt x="80" y="374"/>
                    <a:pt x="80" y="374"/>
                  </a:cubicBezTo>
                  <a:cubicBezTo>
                    <a:pt x="82" y="372"/>
                    <a:pt x="82" y="372"/>
                    <a:pt x="82" y="372"/>
                  </a:cubicBezTo>
                  <a:cubicBezTo>
                    <a:pt x="84" y="374"/>
                    <a:pt x="84" y="374"/>
                    <a:pt x="84" y="374"/>
                  </a:cubicBezTo>
                  <a:cubicBezTo>
                    <a:pt x="86" y="375"/>
                    <a:pt x="86" y="375"/>
                    <a:pt x="86" y="375"/>
                  </a:cubicBezTo>
                  <a:cubicBezTo>
                    <a:pt x="90" y="370"/>
                    <a:pt x="90" y="370"/>
                    <a:pt x="90" y="370"/>
                  </a:cubicBezTo>
                  <a:cubicBezTo>
                    <a:pt x="90" y="366"/>
                    <a:pt x="90" y="366"/>
                    <a:pt x="90" y="366"/>
                  </a:cubicBezTo>
                  <a:cubicBezTo>
                    <a:pt x="90" y="365"/>
                    <a:pt x="90" y="365"/>
                    <a:pt x="90" y="365"/>
                  </a:cubicBezTo>
                  <a:cubicBezTo>
                    <a:pt x="88" y="363"/>
                    <a:pt x="88" y="363"/>
                    <a:pt x="88" y="363"/>
                  </a:cubicBezTo>
                  <a:cubicBezTo>
                    <a:pt x="86" y="361"/>
                    <a:pt x="86" y="361"/>
                    <a:pt x="86" y="361"/>
                  </a:cubicBezTo>
                  <a:cubicBezTo>
                    <a:pt x="88" y="359"/>
                    <a:pt x="88" y="359"/>
                    <a:pt x="88" y="359"/>
                  </a:cubicBezTo>
                  <a:cubicBezTo>
                    <a:pt x="88" y="359"/>
                    <a:pt x="88" y="359"/>
                    <a:pt x="88" y="359"/>
                  </a:cubicBezTo>
                  <a:cubicBezTo>
                    <a:pt x="90" y="359"/>
                    <a:pt x="90" y="359"/>
                    <a:pt x="90" y="359"/>
                  </a:cubicBezTo>
                  <a:cubicBezTo>
                    <a:pt x="91" y="357"/>
                    <a:pt x="91" y="357"/>
                    <a:pt x="91" y="357"/>
                  </a:cubicBezTo>
                  <a:cubicBezTo>
                    <a:pt x="90" y="355"/>
                    <a:pt x="90" y="355"/>
                    <a:pt x="90" y="355"/>
                  </a:cubicBezTo>
                  <a:cubicBezTo>
                    <a:pt x="90" y="352"/>
                    <a:pt x="90" y="352"/>
                    <a:pt x="90" y="352"/>
                  </a:cubicBezTo>
                  <a:cubicBezTo>
                    <a:pt x="91" y="350"/>
                    <a:pt x="91" y="350"/>
                    <a:pt x="91" y="350"/>
                  </a:cubicBezTo>
                  <a:cubicBezTo>
                    <a:pt x="95" y="352"/>
                    <a:pt x="95" y="352"/>
                    <a:pt x="95" y="352"/>
                  </a:cubicBezTo>
                  <a:cubicBezTo>
                    <a:pt x="91" y="355"/>
                    <a:pt x="91" y="355"/>
                    <a:pt x="91" y="355"/>
                  </a:cubicBezTo>
                  <a:cubicBezTo>
                    <a:pt x="93" y="359"/>
                    <a:pt x="93" y="359"/>
                    <a:pt x="93" y="359"/>
                  </a:cubicBezTo>
                  <a:cubicBezTo>
                    <a:pt x="91" y="363"/>
                    <a:pt x="91" y="363"/>
                    <a:pt x="91" y="363"/>
                  </a:cubicBezTo>
                  <a:cubicBezTo>
                    <a:pt x="93" y="365"/>
                    <a:pt x="93" y="365"/>
                    <a:pt x="93" y="365"/>
                  </a:cubicBezTo>
                  <a:cubicBezTo>
                    <a:pt x="95" y="368"/>
                    <a:pt x="95" y="368"/>
                    <a:pt x="95" y="368"/>
                  </a:cubicBezTo>
                  <a:cubicBezTo>
                    <a:pt x="99" y="372"/>
                    <a:pt x="99" y="372"/>
                    <a:pt x="99" y="372"/>
                  </a:cubicBezTo>
                  <a:cubicBezTo>
                    <a:pt x="102" y="370"/>
                    <a:pt x="102" y="370"/>
                    <a:pt x="102" y="370"/>
                  </a:cubicBezTo>
                  <a:cubicBezTo>
                    <a:pt x="104" y="372"/>
                    <a:pt x="104" y="372"/>
                    <a:pt x="104" y="372"/>
                  </a:cubicBezTo>
                  <a:cubicBezTo>
                    <a:pt x="102" y="374"/>
                    <a:pt x="102" y="374"/>
                    <a:pt x="102" y="374"/>
                  </a:cubicBezTo>
                  <a:cubicBezTo>
                    <a:pt x="104" y="375"/>
                    <a:pt x="104" y="375"/>
                    <a:pt x="104" y="375"/>
                  </a:cubicBezTo>
                  <a:cubicBezTo>
                    <a:pt x="108" y="379"/>
                    <a:pt x="108" y="379"/>
                    <a:pt x="108" y="379"/>
                  </a:cubicBezTo>
                  <a:cubicBezTo>
                    <a:pt x="110" y="375"/>
                    <a:pt x="110" y="375"/>
                    <a:pt x="110" y="375"/>
                  </a:cubicBezTo>
                  <a:cubicBezTo>
                    <a:pt x="108" y="365"/>
                    <a:pt x="108" y="365"/>
                    <a:pt x="108" y="365"/>
                  </a:cubicBezTo>
                  <a:cubicBezTo>
                    <a:pt x="106" y="359"/>
                    <a:pt x="106" y="359"/>
                    <a:pt x="106" y="359"/>
                  </a:cubicBezTo>
                  <a:cubicBezTo>
                    <a:pt x="108" y="357"/>
                    <a:pt x="108" y="357"/>
                    <a:pt x="108" y="357"/>
                  </a:cubicBezTo>
                  <a:cubicBezTo>
                    <a:pt x="110" y="355"/>
                    <a:pt x="110" y="355"/>
                    <a:pt x="110" y="355"/>
                  </a:cubicBezTo>
                  <a:cubicBezTo>
                    <a:pt x="108" y="352"/>
                    <a:pt x="108" y="352"/>
                    <a:pt x="108" y="352"/>
                  </a:cubicBezTo>
                  <a:cubicBezTo>
                    <a:pt x="108" y="350"/>
                    <a:pt x="108" y="350"/>
                    <a:pt x="108" y="350"/>
                  </a:cubicBezTo>
                  <a:cubicBezTo>
                    <a:pt x="113" y="350"/>
                    <a:pt x="113" y="350"/>
                    <a:pt x="113" y="350"/>
                  </a:cubicBezTo>
                  <a:cubicBezTo>
                    <a:pt x="115" y="346"/>
                    <a:pt x="115" y="346"/>
                    <a:pt x="115" y="346"/>
                  </a:cubicBezTo>
                  <a:cubicBezTo>
                    <a:pt x="115" y="343"/>
                    <a:pt x="115" y="343"/>
                    <a:pt x="115" y="343"/>
                  </a:cubicBezTo>
                  <a:cubicBezTo>
                    <a:pt x="117" y="337"/>
                    <a:pt x="117" y="337"/>
                    <a:pt x="117" y="337"/>
                  </a:cubicBezTo>
                  <a:cubicBezTo>
                    <a:pt x="115" y="334"/>
                    <a:pt x="115" y="334"/>
                    <a:pt x="115" y="334"/>
                  </a:cubicBezTo>
                  <a:cubicBezTo>
                    <a:pt x="113" y="326"/>
                    <a:pt x="113" y="326"/>
                    <a:pt x="113" y="326"/>
                  </a:cubicBezTo>
                  <a:cubicBezTo>
                    <a:pt x="111" y="321"/>
                    <a:pt x="111" y="321"/>
                    <a:pt x="111" y="321"/>
                  </a:cubicBezTo>
                  <a:cubicBezTo>
                    <a:pt x="111" y="317"/>
                    <a:pt x="111" y="317"/>
                    <a:pt x="111" y="317"/>
                  </a:cubicBezTo>
                  <a:cubicBezTo>
                    <a:pt x="119" y="315"/>
                    <a:pt x="119" y="315"/>
                    <a:pt x="119" y="315"/>
                  </a:cubicBezTo>
                  <a:cubicBezTo>
                    <a:pt x="119" y="310"/>
                    <a:pt x="119" y="310"/>
                    <a:pt x="119" y="310"/>
                  </a:cubicBezTo>
                  <a:cubicBezTo>
                    <a:pt x="121" y="304"/>
                    <a:pt x="121" y="304"/>
                    <a:pt x="121" y="304"/>
                  </a:cubicBezTo>
                  <a:cubicBezTo>
                    <a:pt x="115" y="299"/>
                    <a:pt x="115" y="299"/>
                    <a:pt x="115" y="299"/>
                  </a:cubicBezTo>
                  <a:cubicBezTo>
                    <a:pt x="110" y="297"/>
                    <a:pt x="110" y="297"/>
                    <a:pt x="110" y="297"/>
                  </a:cubicBezTo>
                  <a:cubicBezTo>
                    <a:pt x="110" y="290"/>
                    <a:pt x="110" y="290"/>
                    <a:pt x="110" y="290"/>
                  </a:cubicBezTo>
                  <a:cubicBezTo>
                    <a:pt x="110" y="284"/>
                    <a:pt x="110" y="284"/>
                    <a:pt x="110" y="284"/>
                  </a:cubicBezTo>
                  <a:cubicBezTo>
                    <a:pt x="110" y="277"/>
                    <a:pt x="110" y="277"/>
                    <a:pt x="110" y="277"/>
                  </a:cubicBezTo>
                  <a:cubicBezTo>
                    <a:pt x="108" y="272"/>
                    <a:pt x="108" y="272"/>
                    <a:pt x="108" y="272"/>
                  </a:cubicBezTo>
                  <a:cubicBezTo>
                    <a:pt x="110" y="266"/>
                    <a:pt x="110" y="266"/>
                    <a:pt x="110" y="266"/>
                  </a:cubicBezTo>
                  <a:cubicBezTo>
                    <a:pt x="108" y="257"/>
                    <a:pt x="108" y="257"/>
                    <a:pt x="108" y="257"/>
                  </a:cubicBezTo>
                  <a:cubicBezTo>
                    <a:pt x="106" y="248"/>
                    <a:pt x="106" y="248"/>
                    <a:pt x="106" y="248"/>
                  </a:cubicBezTo>
                  <a:cubicBezTo>
                    <a:pt x="108" y="241"/>
                    <a:pt x="108" y="241"/>
                    <a:pt x="108" y="241"/>
                  </a:cubicBezTo>
                  <a:cubicBezTo>
                    <a:pt x="111" y="233"/>
                    <a:pt x="111" y="233"/>
                    <a:pt x="111" y="233"/>
                  </a:cubicBezTo>
                  <a:cubicBezTo>
                    <a:pt x="115" y="231"/>
                    <a:pt x="115" y="231"/>
                    <a:pt x="115" y="231"/>
                  </a:cubicBezTo>
                  <a:cubicBezTo>
                    <a:pt x="121" y="233"/>
                    <a:pt x="121" y="233"/>
                    <a:pt x="121" y="233"/>
                  </a:cubicBezTo>
                  <a:cubicBezTo>
                    <a:pt x="126" y="233"/>
                    <a:pt x="126" y="233"/>
                    <a:pt x="126" y="233"/>
                  </a:cubicBezTo>
                  <a:cubicBezTo>
                    <a:pt x="130" y="230"/>
                    <a:pt x="130" y="230"/>
                    <a:pt x="130" y="230"/>
                  </a:cubicBezTo>
                  <a:cubicBezTo>
                    <a:pt x="128" y="222"/>
                    <a:pt x="128" y="222"/>
                    <a:pt x="128" y="222"/>
                  </a:cubicBezTo>
                  <a:cubicBezTo>
                    <a:pt x="126" y="221"/>
                    <a:pt x="126" y="221"/>
                    <a:pt x="126" y="221"/>
                  </a:cubicBezTo>
                  <a:cubicBezTo>
                    <a:pt x="128" y="215"/>
                    <a:pt x="128" y="215"/>
                    <a:pt x="128" y="215"/>
                  </a:cubicBezTo>
                  <a:cubicBezTo>
                    <a:pt x="133" y="202"/>
                    <a:pt x="133" y="202"/>
                    <a:pt x="133" y="202"/>
                  </a:cubicBezTo>
                  <a:cubicBezTo>
                    <a:pt x="133" y="193"/>
                    <a:pt x="133" y="193"/>
                    <a:pt x="133" y="193"/>
                  </a:cubicBezTo>
                  <a:cubicBezTo>
                    <a:pt x="135" y="186"/>
                    <a:pt x="135" y="186"/>
                    <a:pt x="135" y="186"/>
                  </a:cubicBezTo>
                  <a:cubicBezTo>
                    <a:pt x="137" y="180"/>
                    <a:pt x="137" y="180"/>
                    <a:pt x="137" y="180"/>
                  </a:cubicBezTo>
                  <a:cubicBezTo>
                    <a:pt x="137" y="177"/>
                    <a:pt x="137" y="177"/>
                    <a:pt x="137" y="177"/>
                  </a:cubicBezTo>
                  <a:cubicBezTo>
                    <a:pt x="133" y="173"/>
                    <a:pt x="133" y="173"/>
                    <a:pt x="133" y="173"/>
                  </a:cubicBezTo>
                  <a:cubicBezTo>
                    <a:pt x="133" y="170"/>
                    <a:pt x="133" y="170"/>
                    <a:pt x="133" y="170"/>
                  </a:cubicBezTo>
                  <a:cubicBezTo>
                    <a:pt x="139" y="168"/>
                    <a:pt x="139" y="168"/>
                    <a:pt x="139" y="168"/>
                  </a:cubicBezTo>
                  <a:cubicBezTo>
                    <a:pt x="146" y="166"/>
                    <a:pt x="146" y="166"/>
                    <a:pt x="146" y="166"/>
                  </a:cubicBezTo>
                  <a:cubicBezTo>
                    <a:pt x="148" y="164"/>
                    <a:pt x="148" y="164"/>
                    <a:pt x="148" y="164"/>
                  </a:cubicBezTo>
                  <a:cubicBezTo>
                    <a:pt x="148" y="160"/>
                    <a:pt x="148" y="160"/>
                    <a:pt x="148" y="160"/>
                  </a:cubicBezTo>
                  <a:cubicBezTo>
                    <a:pt x="153" y="151"/>
                    <a:pt x="153" y="151"/>
                    <a:pt x="153" y="151"/>
                  </a:cubicBezTo>
                  <a:cubicBezTo>
                    <a:pt x="159" y="146"/>
                    <a:pt x="159" y="146"/>
                    <a:pt x="159" y="146"/>
                  </a:cubicBezTo>
                  <a:cubicBezTo>
                    <a:pt x="159" y="140"/>
                    <a:pt x="159" y="140"/>
                    <a:pt x="159" y="140"/>
                  </a:cubicBezTo>
                  <a:cubicBezTo>
                    <a:pt x="157" y="137"/>
                    <a:pt x="157" y="137"/>
                    <a:pt x="157" y="137"/>
                  </a:cubicBezTo>
                  <a:cubicBezTo>
                    <a:pt x="155" y="133"/>
                    <a:pt x="155" y="133"/>
                    <a:pt x="155" y="133"/>
                  </a:cubicBezTo>
                  <a:cubicBezTo>
                    <a:pt x="155" y="126"/>
                    <a:pt x="155" y="126"/>
                    <a:pt x="155" y="126"/>
                  </a:cubicBezTo>
                  <a:cubicBezTo>
                    <a:pt x="157" y="124"/>
                    <a:pt x="157" y="124"/>
                    <a:pt x="157" y="124"/>
                  </a:cubicBezTo>
                  <a:cubicBezTo>
                    <a:pt x="161" y="122"/>
                    <a:pt x="161" y="122"/>
                    <a:pt x="161" y="122"/>
                  </a:cubicBezTo>
                  <a:cubicBezTo>
                    <a:pt x="161" y="117"/>
                    <a:pt x="161" y="117"/>
                    <a:pt x="161" y="117"/>
                  </a:cubicBezTo>
                  <a:cubicBezTo>
                    <a:pt x="163" y="117"/>
                    <a:pt x="163" y="117"/>
                    <a:pt x="163" y="117"/>
                  </a:cubicBezTo>
                  <a:cubicBezTo>
                    <a:pt x="166" y="111"/>
                    <a:pt x="166" y="111"/>
                    <a:pt x="166" y="111"/>
                  </a:cubicBezTo>
                  <a:cubicBezTo>
                    <a:pt x="170" y="108"/>
                    <a:pt x="170" y="108"/>
                    <a:pt x="170" y="108"/>
                  </a:cubicBezTo>
                  <a:cubicBezTo>
                    <a:pt x="173" y="109"/>
                    <a:pt x="173" y="109"/>
                    <a:pt x="173" y="109"/>
                  </a:cubicBezTo>
                  <a:cubicBezTo>
                    <a:pt x="175" y="111"/>
                    <a:pt x="175" y="111"/>
                    <a:pt x="175" y="111"/>
                  </a:cubicBezTo>
                  <a:cubicBezTo>
                    <a:pt x="177" y="111"/>
                    <a:pt x="177" y="111"/>
                    <a:pt x="177" y="111"/>
                  </a:cubicBezTo>
                  <a:cubicBezTo>
                    <a:pt x="179" y="109"/>
                    <a:pt x="179" y="109"/>
                    <a:pt x="179" y="109"/>
                  </a:cubicBezTo>
                  <a:cubicBezTo>
                    <a:pt x="177" y="106"/>
                    <a:pt x="177" y="106"/>
                    <a:pt x="177" y="106"/>
                  </a:cubicBezTo>
                  <a:cubicBezTo>
                    <a:pt x="179" y="104"/>
                    <a:pt x="179" y="104"/>
                    <a:pt x="179" y="104"/>
                  </a:cubicBezTo>
                  <a:cubicBezTo>
                    <a:pt x="179" y="102"/>
                    <a:pt x="179" y="102"/>
                    <a:pt x="179" y="102"/>
                  </a:cubicBezTo>
                  <a:cubicBezTo>
                    <a:pt x="181" y="100"/>
                    <a:pt x="181" y="100"/>
                    <a:pt x="181" y="100"/>
                  </a:cubicBezTo>
                  <a:cubicBezTo>
                    <a:pt x="177" y="95"/>
                    <a:pt x="177" y="95"/>
                    <a:pt x="177" y="95"/>
                  </a:cubicBezTo>
                  <a:cubicBezTo>
                    <a:pt x="179" y="95"/>
                    <a:pt x="179" y="95"/>
                    <a:pt x="179" y="95"/>
                  </a:cubicBezTo>
                  <a:cubicBezTo>
                    <a:pt x="184" y="95"/>
                    <a:pt x="184" y="95"/>
                    <a:pt x="184" y="95"/>
                  </a:cubicBezTo>
                  <a:cubicBezTo>
                    <a:pt x="188" y="93"/>
                    <a:pt x="188" y="93"/>
                    <a:pt x="188" y="93"/>
                  </a:cubicBezTo>
                  <a:cubicBezTo>
                    <a:pt x="194" y="93"/>
                    <a:pt x="194" y="93"/>
                    <a:pt x="194" y="93"/>
                  </a:cubicBezTo>
                  <a:cubicBezTo>
                    <a:pt x="197" y="97"/>
                    <a:pt x="197" y="97"/>
                    <a:pt x="197" y="97"/>
                  </a:cubicBezTo>
                  <a:cubicBezTo>
                    <a:pt x="201" y="97"/>
                    <a:pt x="201" y="97"/>
                    <a:pt x="201" y="97"/>
                  </a:cubicBezTo>
                  <a:cubicBezTo>
                    <a:pt x="204" y="98"/>
                    <a:pt x="204" y="98"/>
                    <a:pt x="204" y="98"/>
                  </a:cubicBezTo>
                  <a:cubicBezTo>
                    <a:pt x="206" y="98"/>
                    <a:pt x="206" y="98"/>
                    <a:pt x="206" y="98"/>
                  </a:cubicBezTo>
                  <a:cubicBezTo>
                    <a:pt x="206" y="98"/>
                    <a:pt x="206" y="98"/>
                    <a:pt x="206" y="98"/>
                  </a:cubicBezTo>
                  <a:cubicBezTo>
                    <a:pt x="206" y="95"/>
                    <a:pt x="206" y="95"/>
                    <a:pt x="206" y="95"/>
                  </a:cubicBezTo>
                  <a:cubicBezTo>
                    <a:pt x="204" y="91"/>
                    <a:pt x="204" y="91"/>
                    <a:pt x="204" y="91"/>
                  </a:cubicBezTo>
                  <a:cubicBezTo>
                    <a:pt x="206" y="86"/>
                    <a:pt x="206" y="86"/>
                    <a:pt x="206" y="86"/>
                  </a:cubicBezTo>
                  <a:cubicBezTo>
                    <a:pt x="208" y="86"/>
                    <a:pt x="208" y="86"/>
                    <a:pt x="208" y="86"/>
                  </a:cubicBezTo>
                  <a:cubicBezTo>
                    <a:pt x="208" y="82"/>
                    <a:pt x="208" y="82"/>
                    <a:pt x="208" y="82"/>
                  </a:cubicBezTo>
                  <a:cubicBezTo>
                    <a:pt x="204" y="80"/>
                    <a:pt x="204" y="80"/>
                    <a:pt x="204" y="80"/>
                  </a:cubicBezTo>
                  <a:cubicBezTo>
                    <a:pt x="204" y="77"/>
                    <a:pt x="204" y="77"/>
                    <a:pt x="204" y="77"/>
                  </a:cubicBezTo>
                  <a:cubicBezTo>
                    <a:pt x="208" y="78"/>
                    <a:pt x="208" y="78"/>
                    <a:pt x="208" y="78"/>
                  </a:cubicBezTo>
                  <a:cubicBezTo>
                    <a:pt x="212" y="77"/>
                    <a:pt x="212" y="77"/>
                    <a:pt x="212" y="77"/>
                  </a:cubicBezTo>
                  <a:cubicBezTo>
                    <a:pt x="214" y="77"/>
                    <a:pt x="214" y="77"/>
                    <a:pt x="214" y="77"/>
                  </a:cubicBezTo>
                  <a:cubicBezTo>
                    <a:pt x="214" y="77"/>
                    <a:pt x="214" y="77"/>
                    <a:pt x="214" y="77"/>
                  </a:cubicBezTo>
                  <a:cubicBezTo>
                    <a:pt x="214" y="75"/>
                    <a:pt x="214" y="75"/>
                    <a:pt x="214" y="75"/>
                  </a:cubicBezTo>
                  <a:cubicBezTo>
                    <a:pt x="215" y="77"/>
                    <a:pt x="215" y="77"/>
                    <a:pt x="215" y="77"/>
                  </a:cubicBezTo>
                  <a:cubicBezTo>
                    <a:pt x="217" y="75"/>
                    <a:pt x="217" y="75"/>
                    <a:pt x="217" y="75"/>
                  </a:cubicBezTo>
                  <a:cubicBezTo>
                    <a:pt x="215" y="73"/>
                    <a:pt x="215" y="73"/>
                    <a:pt x="215" y="73"/>
                  </a:cubicBezTo>
                  <a:cubicBezTo>
                    <a:pt x="217" y="69"/>
                    <a:pt x="217" y="69"/>
                    <a:pt x="217" y="69"/>
                  </a:cubicBezTo>
                  <a:cubicBezTo>
                    <a:pt x="219" y="67"/>
                    <a:pt x="219" y="67"/>
                    <a:pt x="219" y="67"/>
                  </a:cubicBezTo>
                  <a:cubicBezTo>
                    <a:pt x="223" y="67"/>
                    <a:pt x="223" y="67"/>
                    <a:pt x="223" y="67"/>
                  </a:cubicBezTo>
                  <a:cubicBezTo>
                    <a:pt x="225" y="71"/>
                    <a:pt x="225" y="71"/>
                    <a:pt x="225" y="71"/>
                  </a:cubicBezTo>
                  <a:cubicBezTo>
                    <a:pt x="232" y="78"/>
                    <a:pt x="232" y="78"/>
                    <a:pt x="232" y="78"/>
                  </a:cubicBezTo>
                  <a:cubicBezTo>
                    <a:pt x="234" y="82"/>
                    <a:pt x="234" y="82"/>
                    <a:pt x="234" y="82"/>
                  </a:cubicBezTo>
                  <a:cubicBezTo>
                    <a:pt x="236" y="86"/>
                    <a:pt x="236" y="86"/>
                    <a:pt x="236" y="86"/>
                  </a:cubicBezTo>
                  <a:cubicBezTo>
                    <a:pt x="241" y="87"/>
                    <a:pt x="241" y="87"/>
                    <a:pt x="241" y="87"/>
                  </a:cubicBezTo>
                  <a:cubicBezTo>
                    <a:pt x="250" y="87"/>
                    <a:pt x="250" y="87"/>
                    <a:pt x="250" y="87"/>
                  </a:cubicBezTo>
                  <a:cubicBezTo>
                    <a:pt x="254" y="84"/>
                    <a:pt x="254" y="84"/>
                    <a:pt x="254" y="84"/>
                  </a:cubicBezTo>
                  <a:cubicBezTo>
                    <a:pt x="256" y="80"/>
                    <a:pt x="256" y="80"/>
                    <a:pt x="256" y="80"/>
                  </a:cubicBezTo>
                  <a:cubicBezTo>
                    <a:pt x="259" y="80"/>
                    <a:pt x="259" y="80"/>
                    <a:pt x="259" y="80"/>
                  </a:cubicBezTo>
                  <a:cubicBezTo>
                    <a:pt x="265" y="86"/>
                    <a:pt x="265" y="86"/>
                    <a:pt x="265" y="86"/>
                  </a:cubicBezTo>
                  <a:cubicBezTo>
                    <a:pt x="268" y="86"/>
                    <a:pt x="268" y="86"/>
                    <a:pt x="268" y="86"/>
                  </a:cubicBezTo>
                  <a:cubicBezTo>
                    <a:pt x="270" y="82"/>
                    <a:pt x="270" y="82"/>
                    <a:pt x="270" y="82"/>
                  </a:cubicBezTo>
                  <a:cubicBezTo>
                    <a:pt x="274" y="80"/>
                    <a:pt x="274" y="80"/>
                    <a:pt x="274" y="80"/>
                  </a:cubicBezTo>
                  <a:cubicBezTo>
                    <a:pt x="276" y="78"/>
                    <a:pt x="276" y="78"/>
                    <a:pt x="276" y="78"/>
                  </a:cubicBezTo>
                  <a:cubicBezTo>
                    <a:pt x="279" y="78"/>
                    <a:pt x="279" y="78"/>
                    <a:pt x="279" y="78"/>
                  </a:cubicBezTo>
                  <a:cubicBezTo>
                    <a:pt x="281" y="77"/>
                    <a:pt x="281" y="77"/>
                    <a:pt x="281" y="77"/>
                  </a:cubicBezTo>
                  <a:cubicBezTo>
                    <a:pt x="283" y="75"/>
                    <a:pt x="283" y="75"/>
                    <a:pt x="283" y="75"/>
                  </a:cubicBezTo>
                  <a:cubicBezTo>
                    <a:pt x="281" y="71"/>
                    <a:pt x="281" y="71"/>
                    <a:pt x="281" y="71"/>
                  </a:cubicBezTo>
                  <a:cubicBezTo>
                    <a:pt x="281" y="66"/>
                    <a:pt x="281" y="66"/>
                    <a:pt x="281" y="66"/>
                  </a:cubicBezTo>
                  <a:cubicBezTo>
                    <a:pt x="281" y="56"/>
                    <a:pt x="281" y="56"/>
                    <a:pt x="281" y="56"/>
                  </a:cubicBezTo>
                  <a:cubicBezTo>
                    <a:pt x="283" y="55"/>
                    <a:pt x="283" y="55"/>
                    <a:pt x="283" y="55"/>
                  </a:cubicBezTo>
                  <a:cubicBezTo>
                    <a:pt x="281" y="51"/>
                    <a:pt x="281" y="51"/>
                    <a:pt x="281" y="51"/>
                  </a:cubicBezTo>
                  <a:cubicBezTo>
                    <a:pt x="283" y="51"/>
                    <a:pt x="283" y="51"/>
                    <a:pt x="283" y="51"/>
                  </a:cubicBezTo>
                  <a:cubicBezTo>
                    <a:pt x="285" y="47"/>
                    <a:pt x="285" y="47"/>
                    <a:pt x="285" y="47"/>
                  </a:cubicBezTo>
                  <a:cubicBezTo>
                    <a:pt x="285" y="44"/>
                    <a:pt x="285" y="44"/>
                    <a:pt x="285" y="44"/>
                  </a:cubicBezTo>
                  <a:cubicBezTo>
                    <a:pt x="288" y="44"/>
                    <a:pt x="288" y="44"/>
                    <a:pt x="288" y="44"/>
                  </a:cubicBezTo>
                  <a:cubicBezTo>
                    <a:pt x="294" y="44"/>
                    <a:pt x="294" y="44"/>
                    <a:pt x="294" y="44"/>
                  </a:cubicBezTo>
                  <a:cubicBezTo>
                    <a:pt x="296" y="44"/>
                    <a:pt x="296" y="44"/>
                    <a:pt x="296" y="44"/>
                  </a:cubicBezTo>
                  <a:cubicBezTo>
                    <a:pt x="296" y="42"/>
                    <a:pt x="296" y="42"/>
                    <a:pt x="296" y="42"/>
                  </a:cubicBezTo>
                  <a:cubicBezTo>
                    <a:pt x="298" y="38"/>
                    <a:pt x="298" y="38"/>
                    <a:pt x="298" y="38"/>
                  </a:cubicBezTo>
                  <a:cubicBezTo>
                    <a:pt x="305" y="38"/>
                    <a:pt x="305" y="38"/>
                    <a:pt x="305" y="38"/>
                  </a:cubicBezTo>
                  <a:cubicBezTo>
                    <a:pt x="309" y="40"/>
                    <a:pt x="309" y="40"/>
                    <a:pt x="309" y="40"/>
                  </a:cubicBezTo>
                  <a:cubicBezTo>
                    <a:pt x="314" y="46"/>
                    <a:pt x="314" y="46"/>
                    <a:pt x="314" y="46"/>
                  </a:cubicBezTo>
                  <a:cubicBezTo>
                    <a:pt x="316" y="49"/>
                    <a:pt x="316" y="49"/>
                    <a:pt x="316" y="49"/>
                  </a:cubicBezTo>
                  <a:cubicBezTo>
                    <a:pt x="319" y="49"/>
                    <a:pt x="319" y="49"/>
                    <a:pt x="319" y="49"/>
                  </a:cubicBezTo>
                  <a:cubicBezTo>
                    <a:pt x="325" y="51"/>
                    <a:pt x="325" y="51"/>
                    <a:pt x="325" y="51"/>
                  </a:cubicBezTo>
                  <a:cubicBezTo>
                    <a:pt x="327" y="53"/>
                    <a:pt x="327" y="53"/>
                    <a:pt x="327" y="53"/>
                  </a:cubicBezTo>
                  <a:cubicBezTo>
                    <a:pt x="329" y="56"/>
                    <a:pt x="329" y="56"/>
                    <a:pt x="329" y="56"/>
                  </a:cubicBezTo>
                  <a:cubicBezTo>
                    <a:pt x="329" y="60"/>
                    <a:pt x="329" y="60"/>
                    <a:pt x="329" y="60"/>
                  </a:cubicBezTo>
                  <a:cubicBezTo>
                    <a:pt x="327" y="66"/>
                    <a:pt x="327" y="66"/>
                    <a:pt x="327" y="66"/>
                  </a:cubicBezTo>
                  <a:cubicBezTo>
                    <a:pt x="327" y="73"/>
                    <a:pt x="327" y="73"/>
                    <a:pt x="327" y="73"/>
                  </a:cubicBezTo>
                  <a:close/>
                  <a:moveTo>
                    <a:pt x="17" y="372"/>
                  </a:moveTo>
                  <a:cubicBezTo>
                    <a:pt x="18" y="374"/>
                    <a:pt x="18" y="374"/>
                    <a:pt x="18" y="374"/>
                  </a:cubicBezTo>
                  <a:cubicBezTo>
                    <a:pt x="17" y="374"/>
                    <a:pt x="17" y="374"/>
                    <a:pt x="17" y="374"/>
                  </a:cubicBezTo>
                  <a:cubicBezTo>
                    <a:pt x="17" y="372"/>
                    <a:pt x="17" y="372"/>
                    <a:pt x="17" y="372"/>
                  </a:cubicBezTo>
                  <a:close/>
                  <a:moveTo>
                    <a:pt x="9" y="352"/>
                  </a:moveTo>
                  <a:cubicBezTo>
                    <a:pt x="7" y="352"/>
                    <a:pt x="11" y="352"/>
                    <a:pt x="11" y="352"/>
                  </a:cubicBezTo>
                  <a:cubicBezTo>
                    <a:pt x="13" y="354"/>
                    <a:pt x="13" y="354"/>
                    <a:pt x="13" y="354"/>
                  </a:cubicBezTo>
                  <a:cubicBezTo>
                    <a:pt x="11" y="355"/>
                    <a:pt x="11" y="355"/>
                    <a:pt x="11" y="355"/>
                  </a:cubicBezTo>
                  <a:cubicBezTo>
                    <a:pt x="9" y="352"/>
                    <a:pt x="9" y="352"/>
                    <a:pt x="9" y="352"/>
                  </a:cubicBezTo>
                  <a:close/>
                  <a:moveTo>
                    <a:pt x="15" y="344"/>
                  </a:moveTo>
                  <a:cubicBezTo>
                    <a:pt x="15" y="348"/>
                    <a:pt x="15" y="348"/>
                    <a:pt x="15" y="348"/>
                  </a:cubicBezTo>
                  <a:cubicBezTo>
                    <a:pt x="13" y="348"/>
                    <a:pt x="13" y="348"/>
                    <a:pt x="13" y="348"/>
                  </a:cubicBezTo>
                  <a:cubicBezTo>
                    <a:pt x="15" y="344"/>
                    <a:pt x="15" y="344"/>
                    <a:pt x="15" y="344"/>
                  </a:cubicBezTo>
                  <a:close/>
                  <a:moveTo>
                    <a:pt x="11" y="344"/>
                  </a:moveTo>
                  <a:cubicBezTo>
                    <a:pt x="11" y="346"/>
                    <a:pt x="11" y="346"/>
                    <a:pt x="11" y="346"/>
                  </a:cubicBezTo>
                  <a:cubicBezTo>
                    <a:pt x="7" y="346"/>
                    <a:pt x="7" y="346"/>
                    <a:pt x="7" y="346"/>
                  </a:cubicBezTo>
                  <a:cubicBezTo>
                    <a:pt x="11" y="344"/>
                    <a:pt x="11" y="344"/>
                    <a:pt x="11" y="344"/>
                  </a:cubicBezTo>
                  <a:close/>
                  <a:moveTo>
                    <a:pt x="6" y="330"/>
                  </a:moveTo>
                  <a:cubicBezTo>
                    <a:pt x="2" y="328"/>
                    <a:pt x="2" y="328"/>
                    <a:pt x="2" y="328"/>
                  </a:cubicBezTo>
                  <a:cubicBezTo>
                    <a:pt x="6" y="326"/>
                    <a:pt x="6" y="326"/>
                    <a:pt x="6" y="326"/>
                  </a:cubicBezTo>
                  <a:cubicBezTo>
                    <a:pt x="6" y="330"/>
                    <a:pt x="6" y="330"/>
                    <a:pt x="6" y="330"/>
                  </a:cubicBezTo>
                  <a:close/>
                  <a:moveTo>
                    <a:pt x="4" y="334"/>
                  </a:moveTo>
                  <a:cubicBezTo>
                    <a:pt x="7" y="334"/>
                    <a:pt x="7" y="334"/>
                    <a:pt x="7" y="334"/>
                  </a:cubicBezTo>
                  <a:cubicBezTo>
                    <a:pt x="6" y="335"/>
                    <a:pt x="6" y="335"/>
                    <a:pt x="6" y="335"/>
                  </a:cubicBezTo>
                  <a:cubicBezTo>
                    <a:pt x="4" y="334"/>
                    <a:pt x="4" y="334"/>
                    <a:pt x="4" y="334"/>
                  </a:cubicBezTo>
                  <a:close/>
                  <a:moveTo>
                    <a:pt x="11" y="337"/>
                  </a:moveTo>
                  <a:cubicBezTo>
                    <a:pt x="13" y="339"/>
                    <a:pt x="13" y="339"/>
                    <a:pt x="13" y="339"/>
                  </a:cubicBezTo>
                  <a:cubicBezTo>
                    <a:pt x="13" y="343"/>
                    <a:pt x="13" y="343"/>
                    <a:pt x="13" y="343"/>
                  </a:cubicBezTo>
                  <a:cubicBezTo>
                    <a:pt x="11" y="337"/>
                    <a:pt x="11" y="337"/>
                    <a:pt x="11" y="337"/>
                  </a:cubicBezTo>
                  <a:close/>
                  <a:moveTo>
                    <a:pt x="6" y="341"/>
                  </a:moveTo>
                  <a:cubicBezTo>
                    <a:pt x="4" y="337"/>
                    <a:pt x="4" y="337"/>
                    <a:pt x="4" y="337"/>
                  </a:cubicBezTo>
                  <a:cubicBezTo>
                    <a:pt x="7" y="337"/>
                    <a:pt x="7" y="337"/>
                    <a:pt x="7" y="337"/>
                  </a:cubicBezTo>
                  <a:cubicBezTo>
                    <a:pt x="6" y="341"/>
                    <a:pt x="6" y="341"/>
                    <a:pt x="6" y="341"/>
                  </a:cubicBezTo>
                  <a:close/>
                  <a:moveTo>
                    <a:pt x="4" y="321"/>
                  </a:moveTo>
                  <a:cubicBezTo>
                    <a:pt x="0" y="323"/>
                    <a:pt x="0" y="323"/>
                    <a:pt x="0" y="323"/>
                  </a:cubicBezTo>
                  <a:cubicBezTo>
                    <a:pt x="2" y="324"/>
                    <a:pt x="2" y="324"/>
                    <a:pt x="2" y="324"/>
                  </a:cubicBezTo>
                  <a:cubicBezTo>
                    <a:pt x="4" y="323"/>
                    <a:pt x="4" y="323"/>
                    <a:pt x="4" y="323"/>
                  </a:cubicBezTo>
                  <a:cubicBezTo>
                    <a:pt x="4" y="321"/>
                    <a:pt x="4" y="321"/>
                    <a:pt x="4" y="321"/>
                  </a:cubicBezTo>
                  <a:close/>
                  <a:moveTo>
                    <a:pt x="2" y="297"/>
                  </a:moveTo>
                  <a:cubicBezTo>
                    <a:pt x="6" y="299"/>
                    <a:pt x="6" y="299"/>
                    <a:pt x="6" y="299"/>
                  </a:cubicBezTo>
                  <a:cubicBezTo>
                    <a:pt x="4" y="299"/>
                    <a:pt x="4" y="299"/>
                    <a:pt x="4" y="299"/>
                  </a:cubicBezTo>
                  <a:cubicBezTo>
                    <a:pt x="2" y="297"/>
                    <a:pt x="2" y="297"/>
                    <a:pt x="2" y="297"/>
                  </a:cubicBezTo>
                  <a:close/>
                  <a:moveTo>
                    <a:pt x="4" y="292"/>
                  </a:moveTo>
                  <a:cubicBezTo>
                    <a:pt x="7" y="293"/>
                    <a:pt x="7" y="293"/>
                    <a:pt x="7" y="293"/>
                  </a:cubicBezTo>
                  <a:cubicBezTo>
                    <a:pt x="6" y="295"/>
                    <a:pt x="6" y="295"/>
                    <a:pt x="6" y="295"/>
                  </a:cubicBezTo>
                  <a:cubicBezTo>
                    <a:pt x="4" y="292"/>
                    <a:pt x="4" y="292"/>
                    <a:pt x="4" y="292"/>
                  </a:cubicBezTo>
                  <a:close/>
                  <a:moveTo>
                    <a:pt x="13" y="284"/>
                  </a:moveTo>
                  <a:cubicBezTo>
                    <a:pt x="15" y="286"/>
                    <a:pt x="15" y="286"/>
                    <a:pt x="15" y="286"/>
                  </a:cubicBezTo>
                  <a:cubicBezTo>
                    <a:pt x="11" y="286"/>
                    <a:pt x="11" y="286"/>
                    <a:pt x="11" y="286"/>
                  </a:cubicBezTo>
                  <a:cubicBezTo>
                    <a:pt x="13" y="284"/>
                    <a:pt x="13" y="284"/>
                    <a:pt x="13" y="284"/>
                  </a:cubicBezTo>
                  <a:close/>
                  <a:moveTo>
                    <a:pt x="17" y="283"/>
                  </a:moveTo>
                  <a:cubicBezTo>
                    <a:pt x="18" y="283"/>
                    <a:pt x="18" y="283"/>
                    <a:pt x="18" y="283"/>
                  </a:cubicBezTo>
                  <a:cubicBezTo>
                    <a:pt x="20" y="284"/>
                    <a:pt x="20" y="284"/>
                    <a:pt x="20" y="284"/>
                  </a:cubicBezTo>
                  <a:cubicBezTo>
                    <a:pt x="17" y="286"/>
                    <a:pt x="17" y="286"/>
                    <a:pt x="17" y="286"/>
                  </a:cubicBezTo>
                  <a:cubicBezTo>
                    <a:pt x="17" y="283"/>
                    <a:pt x="17" y="283"/>
                    <a:pt x="17" y="283"/>
                  </a:cubicBezTo>
                  <a:close/>
                  <a:moveTo>
                    <a:pt x="48" y="261"/>
                  </a:moveTo>
                  <a:cubicBezTo>
                    <a:pt x="49" y="257"/>
                    <a:pt x="49" y="257"/>
                    <a:pt x="49" y="257"/>
                  </a:cubicBezTo>
                  <a:cubicBezTo>
                    <a:pt x="51" y="261"/>
                    <a:pt x="51" y="261"/>
                    <a:pt x="51" y="261"/>
                  </a:cubicBezTo>
                  <a:cubicBezTo>
                    <a:pt x="49" y="262"/>
                    <a:pt x="49" y="262"/>
                    <a:pt x="49" y="262"/>
                  </a:cubicBezTo>
                  <a:cubicBezTo>
                    <a:pt x="48" y="261"/>
                    <a:pt x="48" y="261"/>
                    <a:pt x="48" y="261"/>
                  </a:cubicBezTo>
                  <a:close/>
                  <a:moveTo>
                    <a:pt x="48" y="255"/>
                  </a:moveTo>
                  <a:cubicBezTo>
                    <a:pt x="46" y="255"/>
                    <a:pt x="46" y="255"/>
                    <a:pt x="46" y="255"/>
                  </a:cubicBezTo>
                  <a:cubicBezTo>
                    <a:pt x="44" y="252"/>
                    <a:pt x="44" y="252"/>
                    <a:pt x="44" y="252"/>
                  </a:cubicBezTo>
                  <a:cubicBezTo>
                    <a:pt x="48" y="252"/>
                    <a:pt x="48" y="252"/>
                    <a:pt x="48" y="252"/>
                  </a:cubicBezTo>
                  <a:cubicBezTo>
                    <a:pt x="48" y="255"/>
                    <a:pt x="48" y="255"/>
                    <a:pt x="48" y="255"/>
                  </a:cubicBezTo>
                  <a:close/>
                  <a:moveTo>
                    <a:pt x="51" y="248"/>
                  </a:moveTo>
                  <a:cubicBezTo>
                    <a:pt x="57" y="242"/>
                    <a:pt x="57" y="242"/>
                    <a:pt x="57" y="242"/>
                  </a:cubicBezTo>
                  <a:cubicBezTo>
                    <a:pt x="59" y="244"/>
                    <a:pt x="59" y="244"/>
                    <a:pt x="59" y="244"/>
                  </a:cubicBezTo>
                  <a:cubicBezTo>
                    <a:pt x="55" y="248"/>
                    <a:pt x="55" y="248"/>
                    <a:pt x="55" y="248"/>
                  </a:cubicBezTo>
                  <a:cubicBezTo>
                    <a:pt x="51" y="248"/>
                    <a:pt x="51" y="248"/>
                    <a:pt x="51" y="248"/>
                  </a:cubicBezTo>
                  <a:close/>
                  <a:moveTo>
                    <a:pt x="51" y="253"/>
                  </a:moveTo>
                  <a:cubicBezTo>
                    <a:pt x="55" y="250"/>
                    <a:pt x="55" y="250"/>
                    <a:pt x="55" y="250"/>
                  </a:cubicBezTo>
                  <a:cubicBezTo>
                    <a:pt x="59" y="250"/>
                    <a:pt x="59" y="250"/>
                    <a:pt x="59" y="250"/>
                  </a:cubicBezTo>
                  <a:cubicBezTo>
                    <a:pt x="59" y="248"/>
                    <a:pt x="59" y="248"/>
                    <a:pt x="59" y="248"/>
                  </a:cubicBezTo>
                  <a:cubicBezTo>
                    <a:pt x="62" y="248"/>
                    <a:pt x="62" y="248"/>
                    <a:pt x="62" y="248"/>
                  </a:cubicBezTo>
                  <a:cubicBezTo>
                    <a:pt x="62" y="250"/>
                    <a:pt x="62" y="250"/>
                    <a:pt x="62" y="250"/>
                  </a:cubicBezTo>
                  <a:cubicBezTo>
                    <a:pt x="60" y="253"/>
                    <a:pt x="60" y="253"/>
                    <a:pt x="60" y="253"/>
                  </a:cubicBezTo>
                  <a:cubicBezTo>
                    <a:pt x="57" y="253"/>
                    <a:pt x="57" y="253"/>
                    <a:pt x="57" y="253"/>
                  </a:cubicBezTo>
                  <a:cubicBezTo>
                    <a:pt x="55" y="253"/>
                    <a:pt x="55" y="253"/>
                    <a:pt x="55" y="253"/>
                  </a:cubicBezTo>
                  <a:cubicBezTo>
                    <a:pt x="51" y="253"/>
                    <a:pt x="51" y="253"/>
                    <a:pt x="51" y="253"/>
                  </a:cubicBezTo>
                  <a:close/>
                  <a:moveTo>
                    <a:pt x="97" y="204"/>
                  </a:moveTo>
                  <a:cubicBezTo>
                    <a:pt x="99" y="202"/>
                    <a:pt x="99" y="202"/>
                    <a:pt x="99" y="202"/>
                  </a:cubicBezTo>
                  <a:cubicBezTo>
                    <a:pt x="102" y="202"/>
                    <a:pt x="102" y="202"/>
                    <a:pt x="102" y="202"/>
                  </a:cubicBezTo>
                  <a:cubicBezTo>
                    <a:pt x="99" y="206"/>
                    <a:pt x="99" y="206"/>
                    <a:pt x="99" y="206"/>
                  </a:cubicBezTo>
                  <a:cubicBezTo>
                    <a:pt x="97" y="204"/>
                    <a:pt x="97" y="204"/>
                    <a:pt x="97" y="204"/>
                  </a:cubicBezTo>
                  <a:close/>
                  <a:moveTo>
                    <a:pt x="93" y="213"/>
                  </a:moveTo>
                  <a:cubicBezTo>
                    <a:pt x="91" y="211"/>
                    <a:pt x="91" y="211"/>
                    <a:pt x="91" y="211"/>
                  </a:cubicBezTo>
                  <a:cubicBezTo>
                    <a:pt x="90" y="211"/>
                    <a:pt x="90" y="211"/>
                    <a:pt x="90" y="211"/>
                  </a:cubicBezTo>
                  <a:cubicBezTo>
                    <a:pt x="91" y="208"/>
                    <a:pt x="91" y="208"/>
                    <a:pt x="91" y="208"/>
                  </a:cubicBezTo>
                  <a:cubicBezTo>
                    <a:pt x="97" y="208"/>
                    <a:pt x="97" y="208"/>
                    <a:pt x="97" y="208"/>
                  </a:cubicBezTo>
                  <a:cubicBezTo>
                    <a:pt x="99" y="208"/>
                    <a:pt x="99" y="208"/>
                    <a:pt x="99" y="208"/>
                  </a:cubicBezTo>
                  <a:cubicBezTo>
                    <a:pt x="95" y="211"/>
                    <a:pt x="95" y="211"/>
                    <a:pt x="95" y="211"/>
                  </a:cubicBezTo>
                  <a:cubicBezTo>
                    <a:pt x="93" y="213"/>
                    <a:pt x="93" y="213"/>
                    <a:pt x="93" y="213"/>
                  </a:cubicBezTo>
                  <a:close/>
                  <a:moveTo>
                    <a:pt x="102" y="184"/>
                  </a:moveTo>
                  <a:cubicBezTo>
                    <a:pt x="102" y="186"/>
                    <a:pt x="102" y="186"/>
                    <a:pt x="102" y="186"/>
                  </a:cubicBezTo>
                  <a:cubicBezTo>
                    <a:pt x="102" y="188"/>
                    <a:pt x="102" y="188"/>
                    <a:pt x="102" y="188"/>
                  </a:cubicBezTo>
                  <a:cubicBezTo>
                    <a:pt x="102" y="190"/>
                    <a:pt x="102" y="190"/>
                    <a:pt x="102" y="190"/>
                  </a:cubicBezTo>
                  <a:cubicBezTo>
                    <a:pt x="100" y="188"/>
                    <a:pt x="100" y="188"/>
                    <a:pt x="100" y="188"/>
                  </a:cubicBezTo>
                  <a:cubicBezTo>
                    <a:pt x="102" y="184"/>
                    <a:pt x="102" y="184"/>
                    <a:pt x="102" y="184"/>
                  </a:cubicBezTo>
                  <a:close/>
                  <a:moveTo>
                    <a:pt x="108" y="179"/>
                  </a:moveTo>
                  <a:cubicBezTo>
                    <a:pt x="110" y="177"/>
                    <a:pt x="110" y="177"/>
                    <a:pt x="110" y="177"/>
                  </a:cubicBezTo>
                  <a:cubicBezTo>
                    <a:pt x="113" y="177"/>
                    <a:pt x="113" y="177"/>
                    <a:pt x="113" y="177"/>
                  </a:cubicBezTo>
                  <a:cubicBezTo>
                    <a:pt x="110" y="180"/>
                    <a:pt x="110" y="180"/>
                    <a:pt x="110" y="180"/>
                  </a:cubicBezTo>
                  <a:cubicBezTo>
                    <a:pt x="108" y="179"/>
                    <a:pt x="108" y="179"/>
                    <a:pt x="108" y="179"/>
                  </a:cubicBezTo>
                  <a:close/>
                  <a:moveTo>
                    <a:pt x="106" y="171"/>
                  </a:moveTo>
                  <a:cubicBezTo>
                    <a:pt x="110" y="168"/>
                    <a:pt x="110" y="168"/>
                    <a:pt x="110" y="168"/>
                  </a:cubicBezTo>
                  <a:cubicBezTo>
                    <a:pt x="110" y="171"/>
                    <a:pt x="110" y="171"/>
                    <a:pt x="110" y="171"/>
                  </a:cubicBezTo>
                  <a:cubicBezTo>
                    <a:pt x="108" y="177"/>
                    <a:pt x="108" y="177"/>
                    <a:pt x="108" y="177"/>
                  </a:cubicBezTo>
                  <a:cubicBezTo>
                    <a:pt x="106" y="171"/>
                    <a:pt x="106" y="171"/>
                    <a:pt x="106" y="171"/>
                  </a:cubicBezTo>
                  <a:close/>
                  <a:moveTo>
                    <a:pt x="128" y="140"/>
                  </a:moveTo>
                  <a:cubicBezTo>
                    <a:pt x="128" y="139"/>
                    <a:pt x="128" y="139"/>
                    <a:pt x="128" y="139"/>
                  </a:cubicBezTo>
                  <a:cubicBezTo>
                    <a:pt x="130" y="139"/>
                    <a:pt x="130" y="139"/>
                    <a:pt x="130" y="139"/>
                  </a:cubicBezTo>
                  <a:cubicBezTo>
                    <a:pt x="130" y="142"/>
                    <a:pt x="130" y="142"/>
                    <a:pt x="130" y="142"/>
                  </a:cubicBezTo>
                  <a:cubicBezTo>
                    <a:pt x="128" y="140"/>
                    <a:pt x="128" y="140"/>
                    <a:pt x="128" y="140"/>
                  </a:cubicBezTo>
                  <a:close/>
                  <a:moveTo>
                    <a:pt x="106" y="122"/>
                  </a:moveTo>
                  <a:cubicBezTo>
                    <a:pt x="108" y="124"/>
                    <a:pt x="108" y="124"/>
                    <a:pt x="108" y="124"/>
                  </a:cubicBezTo>
                  <a:cubicBezTo>
                    <a:pt x="108" y="126"/>
                    <a:pt x="108" y="126"/>
                    <a:pt x="108" y="126"/>
                  </a:cubicBezTo>
                  <a:cubicBezTo>
                    <a:pt x="106" y="126"/>
                    <a:pt x="106" y="126"/>
                    <a:pt x="106" y="126"/>
                  </a:cubicBezTo>
                  <a:cubicBezTo>
                    <a:pt x="106" y="122"/>
                    <a:pt x="106" y="122"/>
                    <a:pt x="106" y="122"/>
                  </a:cubicBezTo>
                  <a:close/>
                  <a:moveTo>
                    <a:pt x="111" y="115"/>
                  </a:moveTo>
                  <a:cubicBezTo>
                    <a:pt x="108" y="118"/>
                    <a:pt x="108" y="118"/>
                    <a:pt x="108" y="118"/>
                  </a:cubicBezTo>
                  <a:cubicBezTo>
                    <a:pt x="108" y="115"/>
                    <a:pt x="108" y="115"/>
                    <a:pt x="108" y="115"/>
                  </a:cubicBezTo>
                  <a:cubicBezTo>
                    <a:pt x="111" y="109"/>
                    <a:pt x="111" y="109"/>
                    <a:pt x="111" y="109"/>
                  </a:cubicBezTo>
                  <a:cubicBezTo>
                    <a:pt x="111" y="115"/>
                    <a:pt x="111" y="115"/>
                    <a:pt x="111" y="115"/>
                  </a:cubicBezTo>
                  <a:close/>
                  <a:moveTo>
                    <a:pt x="115" y="111"/>
                  </a:moveTo>
                  <a:cubicBezTo>
                    <a:pt x="113" y="109"/>
                    <a:pt x="113" y="109"/>
                    <a:pt x="113" y="109"/>
                  </a:cubicBezTo>
                  <a:cubicBezTo>
                    <a:pt x="115" y="108"/>
                    <a:pt x="115" y="108"/>
                    <a:pt x="115" y="108"/>
                  </a:cubicBezTo>
                  <a:cubicBezTo>
                    <a:pt x="117" y="109"/>
                    <a:pt x="117" y="109"/>
                    <a:pt x="117" y="109"/>
                  </a:cubicBezTo>
                  <a:cubicBezTo>
                    <a:pt x="115" y="111"/>
                    <a:pt x="115" y="111"/>
                    <a:pt x="115" y="111"/>
                  </a:cubicBezTo>
                  <a:close/>
                  <a:moveTo>
                    <a:pt x="124" y="104"/>
                  </a:moveTo>
                  <a:cubicBezTo>
                    <a:pt x="124" y="108"/>
                    <a:pt x="124" y="108"/>
                    <a:pt x="124" y="108"/>
                  </a:cubicBezTo>
                  <a:cubicBezTo>
                    <a:pt x="119" y="111"/>
                    <a:pt x="119" y="111"/>
                    <a:pt x="119" y="111"/>
                  </a:cubicBezTo>
                  <a:cubicBezTo>
                    <a:pt x="119" y="106"/>
                    <a:pt x="119" y="106"/>
                    <a:pt x="119" y="106"/>
                  </a:cubicBezTo>
                  <a:cubicBezTo>
                    <a:pt x="124" y="104"/>
                    <a:pt x="124" y="104"/>
                    <a:pt x="124" y="104"/>
                  </a:cubicBezTo>
                  <a:close/>
                  <a:moveTo>
                    <a:pt x="130" y="97"/>
                  </a:moveTo>
                  <a:cubicBezTo>
                    <a:pt x="132" y="93"/>
                    <a:pt x="132" y="93"/>
                    <a:pt x="132" y="93"/>
                  </a:cubicBezTo>
                  <a:cubicBezTo>
                    <a:pt x="135" y="97"/>
                    <a:pt x="135" y="97"/>
                    <a:pt x="135" y="97"/>
                  </a:cubicBezTo>
                  <a:cubicBezTo>
                    <a:pt x="130" y="97"/>
                    <a:pt x="130" y="97"/>
                    <a:pt x="130" y="97"/>
                  </a:cubicBezTo>
                  <a:close/>
                  <a:moveTo>
                    <a:pt x="135" y="98"/>
                  </a:moveTo>
                  <a:cubicBezTo>
                    <a:pt x="135" y="104"/>
                    <a:pt x="135" y="104"/>
                    <a:pt x="135" y="104"/>
                  </a:cubicBezTo>
                  <a:cubicBezTo>
                    <a:pt x="132" y="102"/>
                    <a:pt x="132" y="102"/>
                    <a:pt x="132" y="102"/>
                  </a:cubicBezTo>
                  <a:cubicBezTo>
                    <a:pt x="126" y="106"/>
                    <a:pt x="126" y="106"/>
                    <a:pt x="126" y="106"/>
                  </a:cubicBezTo>
                  <a:cubicBezTo>
                    <a:pt x="128" y="102"/>
                    <a:pt x="128" y="102"/>
                    <a:pt x="128" y="102"/>
                  </a:cubicBezTo>
                  <a:cubicBezTo>
                    <a:pt x="135" y="98"/>
                    <a:pt x="135" y="98"/>
                    <a:pt x="135" y="98"/>
                  </a:cubicBezTo>
                  <a:close/>
                  <a:moveTo>
                    <a:pt x="137" y="80"/>
                  </a:moveTo>
                  <a:cubicBezTo>
                    <a:pt x="139" y="86"/>
                    <a:pt x="139" y="86"/>
                    <a:pt x="139" y="86"/>
                  </a:cubicBezTo>
                  <a:cubicBezTo>
                    <a:pt x="139" y="91"/>
                    <a:pt x="139" y="91"/>
                    <a:pt x="139" y="91"/>
                  </a:cubicBezTo>
                  <a:cubicBezTo>
                    <a:pt x="133" y="93"/>
                    <a:pt x="133" y="93"/>
                    <a:pt x="133" y="93"/>
                  </a:cubicBezTo>
                  <a:cubicBezTo>
                    <a:pt x="132" y="91"/>
                    <a:pt x="132" y="91"/>
                    <a:pt x="132" y="91"/>
                  </a:cubicBezTo>
                  <a:cubicBezTo>
                    <a:pt x="137" y="87"/>
                    <a:pt x="137" y="87"/>
                    <a:pt x="137" y="87"/>
                  </a:cubicBezTo>
                  <a:cubicBezTo>
                    <a:pt x="133" y="87"/>
                    <a:pt x="133" y="87"/>
                    <a:pt x="133" y="87"/>
                  </a:cubicBezTo>
                  <a:cubicBezTo>
                    <a:pt x="130" y="91"/>
                    <a:pt x="130" y="91"/>
                    <a:pt x="130" y="91"/>
                  </a:cubicBezTo>
                  <a:cubicBezTo>
                    <a:pt x="128" y="89"/>
                    <a:pt x="128" y="89"/>
                    <a:pt x="128" y="89"/>
                  </a:cubicBezTo>
                  <a:cubicBezTo>
                    <a:pt x="130" y="86"/>
                    <a:pt x="130" y="86"/>
                    <a:pt x="130" y="86"/>
                  </a:cubicBezTo>
                  <a:cubicBezTo>
                    <a:pt x="133" y="86"/>
                    <a:pt x="133" y="86"/>
                    <a:pt x="133" y="86"/>
                  </a:cubicBezTo>
                  <a:cubicBezTo>
                    <a:pt x="135" y="84"/>
                    <a:pt x="135" y="84"/>
                    <a:pt x="135" y="84"/>
                  </a:cubicBezTo>
                  <a:cubicBezTo>
                    <a:pt x="135" y="82"/>
                    <a:pt x="135" y="82"/>
                    <a:pt x="135" y="82"/>
                  </a:cubicBezTo>
                  <a:cubicBezTo>
                    <a:pt x="137" y="80"/>
                    <a:pt x="137" y="80"/>
                    <a:pt x="137" y="80"/>
                  </a:cubicBezTo>
                  <a:close/>
                  <a:moveTo>
                    <a:pt x="141" y="84"/>
                  </a:moveTo>
                  <a:cubicBezTo>
                    <a:pt x="139" y="82"/>
                    <a:pt x="139" y="82"/>
                    <a:pt x="139" y="82"/>
                  </a:cubicBezTo>
                  <a:cubicBezTo>
                    <a:pt x="139" y="77"/>
                    <a:pt x="139" y="77"/>
                    <a:pt x="139" y="77"/>
                  </a:cubicBezTo>
                  <a:cubicBezTo>
                    <a:pt x="144" y="73"/>
                    <a:pt x="144" y="73"/>
                    <a:pt x="144" y="73"/>
                  </a:cubicBezTo>
                  <a:cubicBezTo>
                    <a:pt x="144" y="69"/>
                    <a:pt x="144" y="69"/>
                    <a:pt x="144" y="69"/>
                  </a:cubicBezTo>
                  <a:cubicBezTo>
                    <a:pt x="148" y="67"/>
                    <a:pt x="148" y="67"/>
                    <a:pt x="148" y="67"/>
                  </a:cubicBezTo>
                  <a:cubicBezTo>
                    <a:pt x="150" y="71"/>
                    <a:pt x="150" y="71"/>
                    <a:pt x="150" y="71"/>
                  </a:cubicBezTo>
                  <a:cubicBezTo>
                    <a:pt x="146" y="75"/>
                    <a:pt x="146" y="75"/>
                    <a:pt x="146" y="75"/>
                  </a:cubicBezTo>
                  <a:cubicBezTo>
                    <a:pt x="146" y="78"/>
                    <a:pt x="146" y="78"/>
                    <a:pt x="146" y="78"/>
                  </a:cubicBezTo>
                  <a:cubicBezTo>
                    <a:pt x="141" y="84"/>
                    <a:pt x="141" y="84"/>
                    <a:pt x="141" y="84"/>
                  </a:cubicBezTo>
                  <a:close/>
                  <a:moveTo>
                    <a:pt x="152" y="86"/>
                  </a:moveTo>
                  <a:cubicBezTo>
                    <a:pt x="157" y="89"/>
                    <a:pt x="157" y="89"/>
                    <a:pt x="157" y="89"/>
                  </a:cubicBezTo>
                  <a:cubicBezTo>
                    <a:pt x="152" y="95"/>
                    <a:pt x="152" y="95"/>
                    <a:pt x="152" y="95"/>
                  </a:cubicBezTo>
                  <a:cubicBezTo>
                    <a:pt x="146" y="98"/>
                    <a:pt x="146" y="98"/>
                    <a:pt x="146" y="98"/>
                  </a:cubicBezTo>
                  <a:cubicBezTo>
                    <a:pt x="146" y="100"/>
                    <a:pt x="146" y="100"/>
                    <a:pt x="146" y="100"/>
                  </a:cubicBezTo>
                  <a:cubicBezTo>
                    <a:pt x="142" y="100"/>
                    <a:pt x="142" y="100"/>
                    <a:pt x="142" y="100"/>
                  </a:cubicBezTo>
                  <a:cubicBezTo>
                    <a:pt x="142" y="97"/>
                    <a:pt x="142" y="97"/>
                    <a:pt x="142" y="97"/>
                  </a:cubicBezTo>
                  <a:cubicBezTo>
                    <a:pt x="139" y="102"/>
                    <a:pt x="139" y="102"/>
                    <a:pt x="139" y="102"/>
                  </a:cubicBezTo>
                  <a:cubicBezTo>
                    <a:pt x="137" y="102"/>
                    <a:pt x="137" y="102"/>
                    <a:pt x="137" y="102"/>
                  </a:cubicBezTo>
                  <a:cubicBezTo>
                    <a:pt x="137" y="97"/>
                    <a:pt x="137" y="97"/>
                    <a:pt x="137" y="97"/>
                  </a:cubicBezTo>
                  <a:cubicBezTo>
                    <a:pt x="139" y="97"/>
                    <a:pt x="139" y="97"/>
                    <a:pt x="139" y="97"/>
                  </a:cubicBezTo>
                  <a:cubicBezTo>
                    <a:pt x="139" y="93"/>
                    <a:pt x="139" y="93"/>
                    <a:pt x="139" y="93"/>
                  </a:cubicBezTo>
                  <a:cubicBezTo>
                    <a:pt x="141" y="91"/>
                    <a:pt x="141" y="91"/>
                    <a:pt x="141" y="91"/>
                  </a:cubicBezTo>
                  <a:cubicBezTo>
                    <a:pt x="141" y="87"/>
                    <a:pt x="141" y="87"/>
                    <a:pt x="141" y="87"/>
                  </a:cubicBezTo>
                  <a:cubicBezTo>
                    <a:pt x="146" y="80"/>
                    <a:pt x="146" y="80"/>
                    <a:pt x="146" y="80"/>
                  </a:cubicBezTo>
                  <a:cubicBezTo>
                    <a:pt x="144" y="89"/>
                    <a:pt x="144" y="89"/>
                    <a:pt x="144" y="89"/>
                  </a:cubicBezTo>
                  <a:cubicBezTo>
                    <a:pt x="144" y="93"/>
                    <a:pt x="144" y="93"/>
                    <a:pt x="144" y="93"/>
                  </a:cubicBezTo>
                  <a:cubicBezTo>
                    <a:pt x="146" y="89"/>
                    <a:pt x="146" y="89"/>
                    <a:pt x="146" y="89"/>
                  </a:cubicBezTo>
                  <a:cubicBezTo>
                    <a:pt x="152" y="89"/>
                    <a:pt x="152" y="89"/>
                    <a:pt x="152" y="89"/>
                  </a:cubicBezTo>
                  <a:cubicBezTo>
                    <a:pt x="150" y="86"/>
                    <a:pt x="150" y="86"/>
                    <a:pt x="150" y="86"/>
                  </a:cubicBezTo>
                  <a:cubicBezTo>
                    <a:pt x="150" y="84"/>
                    <a:pt x="150" y="84"/>
                    <a:pt x="150" y="84"/>
                  </a:cubicBezTo>
                  <a:cubicBezTo>
                    <a:pt x="152" y="86"/>
                    <a:pt x="152" y="86"/>
                    <a:pt x="152" y="86"/>
                  </a:cubicBezTo>
                  <a:close/>
                  <a:moveTo>
                    <a:pt x="152" y="82"/>
                  </a:moveTo>
                  <a:cubicBezTo>
                    <a:pt x="150" y="80"/>
                    <a:pt x="150" y="80"/>
                    <a:pt x="150" y="80"/>
                  </a:cubicBezTo>
                  <a:cubicBezTo>
                    <a:pt x="153" y="78"/>
                    <a:pt x="153" y="78"/>
                    <a:pt x="153" y="78"/>
                  </a:cubicBezTo>
                  <a:cubicBezTo>
                    <a:pt x="157" y="80"/>
                    <a:pt x="157" y="80"/>
                    <a:pt x="157" y="80"/>
                  </a:cubicBezTo>
                  <a:cubicBezTo>
                    <a:pt x="157" y="84"/>
                    <a:pt x="157" y="84"/>
                    <a:pt x="157" y="84"/>
                  </a:cubicBezTo>
                  <a:cubicBezTo>
                    <a:pt x="152" y="82"/>
                    <a:pt x="152" y="82"/>
                    <a:pt x="152" y="82"/>
                  </a:cubicBezTo>
                  <a:close/>
                  <a:moveTo>
                    <a:pt x="161" y="86"/>
                  </a:moveTo>
                  <a:cubicBezTo>
                    <a:pt x="163" y="82"/>
                    <a:pt x="163" y="82"/>
                    <a:pt x="163" y="82"/>
                  </a:cubicBezTo>
                  <a:cubicBezTo>
                    <a:pt x="164" y="86"/>
                    <a:pt x="164" y="86"/>
                    <a:pt x="164" y="86"/>
                  </a:cubicBezTo>
                  <a:cubicBezTo>
                    <a:pt x="161" y="86"/>
                    <a:pt x="161" y="86"/>
                    <a:pt x="161" y="86"/>
                  </a:cubicBezTo>
                  <a:close/>
                  <a:moveTo>
                    <a:pt x="173" y="67"/>
                  </a:moveTo>
                  <a:cubicBezTo>
                    <a:pt x="172" y="69"/>
                    <a:pt x="172" y="69"/>
                    <a:pt x="172" y="69"/>
                  </a:cubicBezTo>
                  <a:cubicBezTo>
                    <a:pt x="173" y="73"/>
                    <a:pt x="173" y="73"/>
                    <a:pt x="173" y="73"/>
                  </a:cubicBezTo>
                  <a:cubicBezTo>
                    <a:pt x="170" y="73"/>
                    <a:pt x="170" y="73"/>
                    <a:pt x="170" y="73"/>
                  </a:cubicBezTo>
                  <a:cubicBezTo>
                    <a:pt x="168" y="75"/>
                    <a:pt x="168" y="75"/>
                    <a:pt x="168" y="75"/>
                  </a:cubicBezTo>
                  <a:cubicBezTo>
                    <a:pt x="164" y="75"/>
                    <a:pt x="164" y="75"/>
                    <a:pt x="164" y="75"/>
                  </a:cubicBezTo>
                  <a:cubicBezTo>
                    <a:pt x="163" y="78"/>
                    <a:pt x="163" y="78"/>
                    <a:pt x="163" y="78"/>
                  </a:cubicBezTo>
                  <a:cubicBezTo>
                    <a:pt x="161" y="78"/>
                    <a:pt x="161" y="78"/>
                    <a:pt x="161" y="78"/>
                  </a:cubicBezTo>
                  <a:cubicBezTo>
                    <a:pt x="161" y="77"/>
                    <a:pt x="161" y="77"/>
                    <a:pt x="161" y="77"/>
                  </a:cubicBezTo>
                  <a:cubicBezTo>
                    <a:pt x="159" y="75"/>
                    <a:pt x="159" y="75"/>
                    <a:pt x="159" y="75"/>
                  </a:cubicBezTo>
                  <a:cubicBezTo>
                    <a:pt x="161" y="71"/>
                    <a:pt x="161" y="71"/>
                    <a:pt x="161" y="71"/>
                  </a:cubicBezTo>
                  <a:cubicBezTo>
                    <a:pt x="157" y="71"/>
                    <a:pt x="157" y="71"/>
                    <a:pt x="157" y="71"/>
                  </a:cubicBezTo>
                  <a:cubicBezTo>
                    <a:pt x="159" y="67"/>
                    <a:pt x="159" y="67"/>
                    <a:pt x="159" y="67"/>
                  </a:cubicBezTo>
                  <a:cubicBezTo>
                    <a:pt x="164" y="67"/>
                    <a:pt x="164" y="67"/>
                    <a:pt x="164" y="67"/>
                  </a:cubicBezTo>
                  <a:cubicBezTo>
                    <a:pt x="159" y="66"/>
                    <a:pt x="159" y="66"/>
                    <a:pt x="159" y="66"/>
                  </a:cubicBezTo>
                  <a:cubicBezTo>
                    <a:pt x="163" y="62"/>
                    <a:pt x="163" y="62"/>
                    <a:pt x="163" y="62"/>
                  </a:cubicBezTo>
                  <a:cubicBezTo>
                    <a:pt x="164" y="64"/>
                    <a:pt x="164" y="64"/>
                    <a:pt x="164" y="64"/>
                  </a:cubicBezTo>
                  <a:cubicBezTo>
                    <a:pt x="164" y="60"/>
                    <a:pt x="164" y="60"/>
                    <a:pt x="164" y="60"/>
                  </a:cubicBezTo>
                  <a:cubicBezTo>
                    <a:pt x="168" y="60"/>
                    <a:pt x="168" y="60"/>
                    <a:pt x="168" y="60"/>
                  </a:cubicBezTo>
                  <a:cubicBezTo>
                    <a:pt x="170" y="64"/>
                    <a:pt x="170" y="64"/>
                    <a:pt x="170" y="64"/>
                  </a:cubicBezTo>
                  <a:cubicBezTo>
                    <a:pt x="172" y="64"/>
                    <a:pt x="172" y="64"/>
                    <a:pt x="172" y="64"/>
                  </a:cubicBezTo>
                  <a:cubicBezTo>
                    <a:pt x="173" y="67"/>
                    <a:pt x="173" y="67"/>
                    <a:pt x="173" y="67"/>
                  </a:cubicBezTo>
                  <a:close/>
                  <a:moveTo>
                    <a:pt x="173" y="58"/>
                  </a:moveTo>
                  <a:cubicBezTo>
                    <a:pt x="177" y="56"/>
                    <a:pt x="177" y="56"/>
                    <a:pt x="177" y="56"/>
                  </a:cubicBezTo>
                  <a:cubicBezTo>
                    <a:pt x="177" y="55"/>
                    <a:pt x="177" y="55"/>
                    <a:pt x="177" y="55"/>
                  </a:cubicBezTo>
                  <a:cubicBezTo>
                    <a:pt x="181" y="55"/>
                    <a:pt x="181" y="55"/>
                    <a:pt x="181" y="55"/>
                  </a:cubicBezTo>
                  <a:cubicBezTo>
                    <a:pt x="184" y="51"/>
                    <a:pt x="184" y="51"/>
                    <a:pt x="184" y="51"/>
                  </a:cubicBezTo>
                  <a:cubicBezTo>
                    <a:pt x="186" y="55"/>
                    <a:pt x="186" y="55"/>
                    <a:pt x="186" y="55"/>
                  </a:cubicBezTo>
                  <a:cubicBezTo>
                    <a:pt x="184" y="58"/>
                    <a:pt x="184" y="58"/>
                    <a:pt x="184" y="58"/>
                  </a:cubicBezTo>
                  <a:cubicBezTo>
                    <a:pt x="184" y="60"/>
                    <a:pt x="184" y="60"/>
                    <a:pt x="184" y="60"/>
                  </a:cubicBezTo>
                  <a:cubicBezTo>
                    <a:pt x="179" y="60"/>
                    <a:pt x="179" y="60"/>
                    <a:pt x="179" y="60"/>
                  </a:cubicBezTo>
                  <a:cubicBezTo>
                    <a:pt x="177" y="62"/>
                    <a:pt x="177" y="62"/>
                    <a:pt x="177" y="62"/>
                  </a:cubicBezTo>
                  <a:cubicBezTo>
                    <a:pt x="173" y="58"/>
                    <a:pt x="173" y="58"/>
                    <a:pt x="173" y="58"/>
                  </a:cubicBezTo>
                  <a:close/>
                  <a:moveTo>
                    <a:pt x="186" y="38"/>
                  </a:moveTo>
                  <a:cubicBezTo>
                    <a:pt x="186" y="36"/>
                    <a:pt x="186" y="36"/>
                    <a:pt x="186" y="36"/>
                  </a:cubicBezTo>
                  <a:cubicBezTo>
                    <a:pt x="188" y="35"/>
                    <a:pt x="188" y="35"/>
                    <a:pt x="188" y="35"/>
                  </a:cubicBezTo>
                  <a:cubicBezTo>
                    <a:pt x="186" y="38"/>
                    <a:pt x="186" y="38"/>
                    <a:pt x="186" y="38"/>
                  </a:cubicBezTo>
                  <a:close/>
                  <a:moveTo>
                    <a:pt x="181" y="46"/>
                  </a:moveTo>
                  <a:cubicBezTo>
                    <a:pt x="181" y="42"/>
                    <a:pt x="181" y="42"/>
                    <a:pt x="181" y="42"/>
                  </a:cubicBezTo>
                  <a:cubicBezTo>
                    <a:pt x="184" y="40"/>
                    <a:pt x="184" y="40"/>
                    <a:pt x="184" y="40"/>
                  </a:cubicBezTo>
                  <a:cubicBezTo>
                    <a:pt x="184" y="42"/>
                    <a:pt x="184" y="42"/>
                    <a:pt x="184" y="42"/>
                  </a:cubicBezTo>
                  <a:cubicBezTo>
                    <a:pt x="181" y="46"/>
                    <a:pt x="181" y="46"/>
                    <a:pt x="181" y="46"/>
                  </a:cubicBezTo>
                  <a:close/>
                  <a:moveTo>
                    <a:pt x="192" y="51"/>
                  </a:moveTo>
                  <a:cubicBezTo>
                    <a:pt x="194" y="47"/>
                    <a:pt x="194" y="47"/>
                    <a:pt x="194" y="47"/>
                  </a:cubicBezTo>
                  <a:cubicBezTo>
                    <a:pt x="195" y="49"/>
                    <a:pt x="195" y="49"/>
                    <a:pt x="195" y="49"/>
                  </a:cubicBezTo>
                  <a:cubicBezTo>
                    <a:pt x="192" y="51"/>
                    <a:pt x="192" y="51"/>
                    <a:pt x="192" y="51"/>
                  </a:cubicBezTo>
                  <a:close/>
                  <a:moveTo>
                    <a:pt x="190" y="51"/>
                  </a:moveTo>
                  <a:cubicBezTo>
                    <a:pt x="190" y="51"/>
                    <a:pt x="190" y="51"/>
                    <a:pt x="190" y="51"/>
                  </a:cubicBezTo>
                  <a:cubicBezTo>
                    <a:pt x="186" y="51"/>
                    <a:pt x="186" y="51"/>
                    <a:pt x="186" y="51"/>
                  </a:cubicBezTo>
                  <a:cubicBezTo>
                    <a:pt x="183" y="47"/>
                    <a:pt x="183" y="47"/>
                    <a:pt x="183" y="47"/>
                  </a:cubicBezTo>
                  <a:cubicBezTo>
                    <a:pt x="188" y="44"/>
                    <a:pt x="188" y="44"/>
                    <a:pt x="188" y="44"/>
                  </a:cubicBezTo>
                  <a:cubicBezTo>
                    <a:pt x="190" y="46"/>
                    <a:pt x="190" y="46"/>
                    <a:pt x="190" y="46"/>
                  </a:cubicBezTo>
                  <a:cubicBezTo>
                    <a:pt x="192" y="44"/>
                    <a:pt x="192" y="44"/>
                    <a:pt x="192" y="44"/>
                  </a:cubicBezTo>
                  <a:cubicBezTo>
                    <a:pt x="192" y="46"/>
                    <a:pt x="192" y="46"/>
                    <a:pt x="192" y="46"/>
                  </a:cubicBezTo>
                  <a:cubicBezTo>
                    <a:pt x="190" y="47"/>
                    <a:pt x="190" y="47"/>
                    <a:pt x="190" y="47"/>
                  </a:cubicBezTo>
                  <a:cubicBezTo>
                    <a:pt x="190" y="51"/>
                    <a:pt x="190" y="51"/>
                    <a:pt x="190" y="51"/>
                  </a:cubicBezTo>
                  <a:close/>
                  <a:moveTo>
                    <a:pt x="199" y="42"/>
                  </a:moveTo>
                  <a:cubicBezTo>
                    <a:pt x="197" y="44"/>
                    <a:pt x="197" y="44"/>
                    <a:pt x="197" y="44"/>
                  </a:cubicBezTo>
                  <a:cubicBezTo>
                    <a:pt x="194" y="42"/>
                    <a:pt x="194" y="42"/>
                    <a:pt x="194" y="42"/>
                  </a:cubicBezTo>
                  <a:cubicBezTo>
                    <a:pt x="194" y="38"/>
                    <a:pt x="194" y="38"/>
                    <a:pt x="194" y="38"/>
                  </a:cubicBezTo>
                  <a:cubicBezTo>
                    <a:pt x="192" y="35"/>
                    <a:pt x="192" y="35"/>
                    <a:pt x="192" y="35"/>
                  </a:cubicBezTo>
                  <a:cubicBezTo>
                    <a:pt x="195" y="33"/>
                    <a:pt x="195" y="33"/>
                    <a:pt x="195" y="33"/>
                  </a:cubicBezTo>
                  <a:cubicBezTo>
                    <a:pt x="195" y="38"/>
                    <a:pt x="195" y="38"/>
                    <a:pt x="195" y="38"/>
                  </a:cubicBezTo>
                  <a:cubicBezTo>
                    <a:pt x="199" y="40"/>
                    <a:pt x="199" y="40"/>
                    <a:pt x="199" y="40"/>
                  </a:cubicBezTo>
                  <a:cubicBezTo>
                    <a:pt x="199" y="42"/>
                    <a:pt x="199" y="42"/>
                    <a:pt x="199" y="42"/>
                  </a:cubicBezTo>
                  <a:close/>
                  <a:moveTo>
                    <a:pt x="208" y="47"/>
                  </a:moveTo>
                  <a:cubicBezTo>
                    <a:pt x="206" y="44"/>
                    <a:pt x="206" y="44"/>
                    <a:pt x="206" y="44"/>
                  </a:cubicBezTo>
                  <a:cubicBezTo>
                    <a:pt x="204" y="44"/>
                    <a:pt x="204" y="44"/>
                    <a:pt x="204" y="44"/>
                  </a:cubicBezTo>
                  <a:cubicBezTo>
                    <a:pt x="204" y="38"/>
                    <a:pt x="204" y="38"/>
                    <a:pt x="204" y="38"/>
                  </a:cubicBezTo>
                  <a:cubicBezTo>
                    <a:pt x="206" y="36"/>
                    <a:pt x="206" y="36"/>
                    <a:pt x="206" y="36"/>
                  </a:cubicBezTo>
                  <a:cubicBezTo>
                    <a:pt x="210" y="38"/>
                    <a:pt x="210" y="38"/>
                    <a:pt x="210" y="38"/>
                  </a:cubicBezTo>
                  <a:cubicBezTo>
                    <a:pt x="208" y="42"/>
                    <a:pt x="208" y="42"/>
                    <a:pt x="208" y="42"/>
                  </a:cubicBezTo>
                  <a:cubicBezTo>
                    <a:pt x="210" y="44"/>
                    <a:pt x="210" y="44"/>
                    <a:pt x="210" y="44"/>
                  </a:cubicBezTo>
                  <a:cubicBezTo>
                    <a:pt x="208" y="47"/>
                    <a:pt x="208" y="47"/>
                    <a:pt x="208" y="47"/>
                  </a:cubicBezTo>
                  <a:close/>
                  <a:moveTo>
                    <a:pt x="236" y="35"/>
                  </a:moveTo>
                  <a:cubicBezTo>
                    <a:pt x="232" y="33"/>
                    <a:pt x="232" y="33"/>
                    <a:pt x="232" y="33"/>
                  </a:cubicBezTo>
                  <a:cubicBezTo>
                    <a:pt x="228" y="31"/>
                    <a:pt x="228" y="31"/>
                    <a:pt x="228" y="31"/>
                  </a:cubicBezTo>
                  <a:cubicBezTo>
                    <a:pt x="230" y="29"/>
                    <a:pt x="230" y="29"/>
                    <a:pt x="230" y="29"/>
                  </a:cubicBezTo>
                  <a:cubicBezTo>
                    <a:pt x="234" y="29"/>
                    <a:pt x="234" y="29"/>
                    <a:pt x="234" y="29"/>
                  </a:cubicBezTo>
                  <a:cubicBezTo>
                    <a:pt x="236" y="31"/>
                    <a:pt x="236" y="31"/>
                    <a:pt x="236" y="31"/>
                  </a:cubicBezTo>
                  <a:cubicBezTo>
                    <a:pt x="236" y="35"/>
                    <a:pt x="236" y="35"/>
                    <a:pt x="236" y="35"/>
                  </a:cubicBezTo>
                  <a:close/>
                  <a:moveTo>
                    <a:pt x="239" y="31"/>
                  </a:moveTo>
                  <a:cubicBezTo>
                    <a:pt x="236" y="27"/>
                    <a:pt x="236" y="27"/>
                    <a:pt x="236" y="27"/>
                  </a:cubicBezTo>
                  <a:cubicBezTo>
                    <a:pt x="241" y="22"/>
                    <a:pt x="241" y="22"/>
                    <a:pt x="241" y="22"/>
                  </a:cubicBezTo>
                  <a:cubicBezTo>
                    <a:pt x="243" y="25"/>
                    <a:pt x="243" y="25"/>
                    <a:pt x="243" y="25"/>
                  </a:cubicBezTo>
                  <a:cubicBezTo>
                    <a:pt x="239" y="29"/>
                    <a:pt x="239" y="29"/>
                    <a:pt x="239" y="29"/>
                  </a:cubicBezTo>
                  <a:cubicBezTo>
                    <a:pt x="239" y="31"/>
                    <a:pt x="239" y="31"/>
                    <a:pt x="239" y="31"/>
                  </a:cubicBezTo>
                  <a:close/>
                  <a:moveTo>
                    <a:pt x="232" y="25"/>
                  </a:moveTo>
                  <a:cubicBezTo>
                    <a:pt x="230" y="25"/>
                    <a:pt x="230" y="25"/>
                    <a:pt x="230" y="25"/>
                  </a:cubicBezTo>
                  <a:cubicBezTo>
                    <a:pt x="225" y="24"/>
                    <a:pt x="225" y="24"/>
                    <a:pt x="225" y="24"/>
                  </a:cubicBezTo>
                  <a:cubicBezTo>
                    <a:pt x="223" y="20"/>
                    <a:pt x="223" y="20"/>
                    <a:pt x="223" y="20"/>
                  </a:cubicBezTo>
                  <a:cubicBezTo>
                    <a:pt x="226" y="22"/>
                    <a:pt x="226" y="22"/>
                    <a:pt x="226" y="22"/>
                  </a:cubicBezTo>
                  <a:cubicBezTo>
                    <a:pt x="228" y="18"/>
                    <a:pt x="228" y="18"/>
                    <a:pt x="228" y="18"/>
                  </a:cubicBezTo>
                  <a:cubicBezTo>
                    <a:pt x="230" y="22"/>
                    <a:pt x="230" y="22"/>
                    <a:pt x="230" y="22"/>
                  </a:cubicBezTo>
                  <a:cubicBezTo>
                    <a:pt x="232" y="18"/>
                    <a:pt x="232" y="18"/>
                    <a:pt x="232" y="18"/>
                  </a:cubicBezTo>
                  <a:cubicBezTo>
                    <a:pt x="234" y="18"/>
                    <a:pt x="234" y="18"/>
                    <a:pt x="234" y="18"/>
                  </a:cubicBezTo>
                  <a:cubicBezTo>
                    <a:pt x="239" y="15"/>
                    <a:pt x="239" y="15"/>
                    <a:pt x="239" y="15"/>
                  </a:cubicBezTo>
                  <a:cubicBezTo>
                    <a:pt x="241" y="16"/>
                    <a:pt x="241" y="16"/>
                    <a:pt x="241" y="16"/>
                  </a:cubicBezTo>
                  <a:cubicBezTo>
                    <a:pt x="232" y="25"/>
                    <a:pt x="232" y="25"/>
                    <a:pt x="232" y="25"/>
                  </a:cubicBezTo>
                  <a:close/>
                  <a:moveTo>
                    <a:pt x="243" y="18"/>
                  </a:moveTo>
                  <a:cubicBezTo>
                    <a:pt x="246" y="16"/>
                    <a:pt x="246" y="16"/>
                    <a:pt x="246" y="16"/>
                  </a:cubicBezTo>
                  <a:cubicBezTo>
                    <a:pt x="252" y="20"/>
                    <a:pt x="252" y="20"/>
                    <a:pt x="252" y="20"/>
                  </a:cubicBezTo>
                  <a:cubicBezTo>
                    <a:pt x="250" y="22"/>
                    <a:pt x="250" y="22"/>
                    <a:pt x="250" y="22"/>
                  </a:cubicBezTo>
                  <a:cubicBezTo>
                    <a:pt x="245" y="24"/>
                    <a:pt x="245" y="24"/>
                    <a:pt x="245" y="24"/>
                  </a:cubicBezTo>
                  <a:cubicBezTo>
                    <a:pt x="245" y="20"/>
                    <a:pt x="245" y="20"/>
                    <a:pt x="245" y="20"/>
                  </a:cubicBezTo>
                  <a:cubicBezTo>
                    <a:pt x="243" y="18"/>
                    <a:pt x="243" y="18"/>
                    <a:pt x="243" y="18"/>
                  </a:cubicBezTo>
                  <a:close/>
                  <a:moveTo>
                    <a:pt x="252" y="9"/>
                  </a:moveTo>
                  <a:cubicBezTo>
                    <a:pt x="250" y="11"/>
                    <a:pt x="250" y="11"/>
                    <a:pt x="250" y="11"/>
                  </a:cubicBezTo>
                  <a:cubicBezTo>
                    <a:pt x="250" y="13"/>
                    <a:pt x="250" y="13"/>
                    <a:pt x="250" y="13"/>
                  </a:cubicBezTo>
                  <a:cubicBezTo>
                    <a:pt x="246" y="9"/>
                    <a:pt x="246" y="9"/>
                    <a:pt x="246" y="9"/>
                  </a:cubicBezTo>
                  <a:cubicBezTo>
                    <a:pt x="250" y="7"/>
                    <a:pt x="250" y="7"/>
                    <a:pt x="250" y="7"/>
                  </a:cubicBezTo>
                  <a:cubicBezTo>
                    <a:pt x="252" y="9"/>
                    <a:pt x="252" y="9"/>
                    <a:pt x="252" y="9"/>
                  </a:cubicBezTo>
                  <a:close/>
                  <a:moveTo>
                    <a:pt x="259" y="4"/>
                  </a:moveTo>
                  <a:cubicBezTo>
                    <a:pt x="257" y="4"/>
                    <a:pt x="257" y="4"/>
                    <a:pt x="257" y="4"/>
                  </a:cubicBezTo>
                  <a:cubicBezTo>
                    <a:pt x="257" y="2"/>
                    <a:pt x="257" y="2"/>
                    <a:pt x="257" y="2"/>
                  </a:cubicBezTo>
                  <a:cubicBezTo>
                    <a:pt x="261" y="2"/>
                    <a:pt x="261" y="2"/>
                    <a:pt x="261" y="2"/>
                  </a:cubicBezTo>
                  <a:cubicBezTo>
                    <a:pt x="259" y="4"/>
                    <a:pt x="259" y="4"/>
                    <a:pt x="259" y="4"/>
                  </a:cubicBezTo>
                  <a:close/>
                  <a:moveTo>
                    <a:pt x="265" y="5"/>
                  </a:moveTo>
                  <a:cubicBezTo>
                    <a:pt x="265" y="4"/>
                    <a:pt x="265" y="4"/>
                    <a:pt x="265" y="4"/>
                  </a:cubicBezTo>
                  <a:cubicBezTo>
                    <a:pt x="267" y="4"/>
                    <a:pt x="267" y="4"/>
                    <a:pt x="267" y="4"/>
                  </a:cubicBezTo>
                  <a:cubicBezTo>
                    <a:pt x="268" y="4"/>
                    <a:pt x="268" y="4"/>
                    <a:pt x="268" y="4"/>
                  </a:cubicBezTo>
                  <a:cubicBezTo>
                    <a:pt x="270" y="2"/>
                    <a:pt x="270" y="2"/>
                    <a:pt x="270" y="2"/>
                  </a:cubicBezTo>
                  <a:cubicBezTo>
                    <a:pt x="270" y="0"/>
                    <a:pt x="270" y="0"/>
                    <a:pt x="270" y="0"/>
                  </a:cubicBezTo>
                  <a:cubicBezTo>
                    <a:pt x="272" y="2"/>
                    <a:pt x="272" y="2"/>
                    <a:pt x="272" y="2"/>
                  </a:cubicBezTo>
                  <a:cubicBezTo>
                    <a:pt x="274" y="2"/>
                    <a:pt x="274" y="2"/>
                    <a:pt x="274" y="2"/>
                  </a:cubicBezTo>
                  <a:cubicBezTo>
                    <a:pt x="272" y="5"/>
                    <a:pt x="272" y="5"/>
                    <a:pt x="272" y="5"/>
                  </a:cubicBezTo>
                  <a:cubicBezTo>
                    <a:pt x="276" y="5"/>
                    <a:pt x="276" y="5"/>
                    <a:pt x="276" y="5"/>
                  </a:cubicBezTo>
                  <a:cubicBezTo>
                    <a:pt x="276" y="9"/>
                    <a:pt x="276" y="9"/>
                    <a:pt x="276" y="9"/>
                  </a:cubicBezTo>
                  <a:cubicBezTo>
                    <a:pt x="272" y="9"/>
                    <a:pt x="272" y="9"/>
                    <a:pt x="272" y="9"/>
                  </a:cubicBezTo>
                  <a:cubicBezTo>
                    <a:pt x="268" y="7"/>
                    <a:pt x="268" y="7"/>
                    <a:pt x="268" y="7"/>
                  </a:cubicBezTo>
                  <a:cubicBezTo>
                    <a:pt x="265" y="5"/>
                    <a:pt x="265" y="5"/>
                    <a:pt x="265" y="5"/>
                  </a:cubicBezTo>
                  <a:cubicBezTo>
                    <a:pt x="265" y="5"/>
                    <a:pt x="265" y="5"/>
                    <a:pt x="265" y="5"/>
                  </a:cubicBezTo>
                  <a:close/>
                </a:path>
              </a:pathLst>
            </a:custGeom>
            <a:solidFill>
              <a:schemeClr val="bg1"/>
            </a:solidFill>
            <a:ln w="6350">
              <a:solidFill>
                <a:schemeClr val="accent2"/>
              </a:solidFill>
              <a:round/>
              <a:headEnd/>
              <a:tailEnd/>
            </a:ln>
          </p:spPr>
          <p:txBody>
            <a:bodyPr/>
            <a:lstStyle/>
            <a:p>
              <a:endParaRPr lang="de-DE"/>
            </a:p>
          </p:txBody>
        </p:sp>
        <p:sp>
          <p:nvSpPr>
            <p:cNvPr id="174" name="Freeform 14"/>
            <p:cNvSpPr>
              <a:spLocks noEditPoints="1"/>
            </p:cNvSpPr>
            <p:nvPr/>
          </p:nvSpPr>
          <p:spPr bwMode="gray">
            <a:xfrm>
              <a:off x="2462" y="-195"/>
              <a:ext cx="1120" cy="1283"/>
            </a:xfrm>
            <a:custGeom>
              <a:avLst/>
              <a:gdLst>
                <a:gd name="T0" fmla="*/ 35928601 w 352"/>
                <a:gd name="T1" fmla="*/ 5446622 h 403"/>
                <a:gd name="T2" fmla="*/ 37103306 w 352"/>
                <a:gd name="T3" fmla="*/ 2890459 h 403"/>
                <a:gd name="T4" fmla="*/ 34362879 w 352"/>
                <a:gd name="T5" fmla="*/ 1909591 h 403"/>
                <a:gd name="T6" fmla="*/ 32861446 w 352"/>
                <a:gd name="T7" fmla="*/ 1909591 h 403"/>
                <a:gd name="T8" fmla="*/ 31682560 w 352"/>
                <a:gd name="T9" fmla="*/ 0 h 403"/>
                <a:gd name="T10" fmla="*/ 30517270 w 352"/>
                <a:gd name="T11" fmla="*/ 2691562 h 403"/>
                <a:gd name="T12" fmla="*/ 28176416 w 352"/>
                <a:gd name="T13" fmla="*/ 3861741 h 403"/>
                <a:gd name="T14" fmla="*/ 27006939 w 352"/>
                <a:gd name="T15" fmla="*/ 1382730 h 403"/>
                <a:gd name="T16" fmla="*/ 26073215 w 352"/>
                <a:gd name="T17" fmla="*/ 4505412 h 403"/>
                <a:gd name="T18" fmla="*/ 23732036 w 352"/>
                <a:gd name="T19" fmla="*/ 4906046 h 403"/>
                <a:gd name="T20" fmla="*/ 21388185 w 352"/>
                <a:gd name="T21" fmla="*/ 7152792 h 403"/>
                <a:gd name="T22" fmla="*/ 20420931 w 352"/>
                <a:gd name="T23" fmla="*/ 8031535 h 403"/>
                <a:gd name="T24" fmla="*/ 18383037 w 352"/>
                <a:gd name="T25" fmla="*/ 8031535 h 403"/>
                <a:gd name="T26" fmla="*/ 16482073 w 352"/>
                <a:gd name="T27" fmla="*/ 10477567 h 403"/>
                <a:gd name="T28" fmla="*/ 16283833 w 352"/>
                <a:gd name="T29" fmla="*/ 11661397 h 403"/>
                <a:gd name="T30" fmla="*/ 14569736 w 352"/>
                <a:gd name="T31" fmla="*/ 13033768 h 403"/>
                <a:gd name="T32" fmla="*/ 14770939 w 352"/>
                <a:gd name="T33" fmla="*/ 14647393 h 403"/>
                <a:gd name="T34" fmla="*/ 12869942 w 352"/>
                <a:gd name="T35" fmla="*/ 16799637 h 403"/>
                <a:gd name="T36" fmla="*/ 12668737 w 352"/>
                <a:gd name="T37" fmla="*/ 18276972 h 403"/>
                <a:gd name="T38" fmla="*/ 11797033 w 352"/>
                <a:gd name="T39" fmla="*/ 20630939 h 403"/>
                <a:gd name="T40" fmla="*/ 9895136 w 352"/>
                <a:gd name="T41" fmla="*/ 23216312 h 403"/>
                <a:gd name="T42" fmla="*/ 7554282 w 352"/>
                <a:gd name="T43" fmla="*/ 26106732 h 403"/>
                <a:gd name="T44" fmla="*/ 10327883 w 352"/>
                <a:gd name="T45" fmla="*/ 25865344 h 403"/>
                <a:gd name="T46" fmla="*/ 6817539 w 352"/>
                <a:gd name="T47" fmla="*/ 26941720 h 403"/>
                <a:gd name="T48" fmla="*/ 5850298 w 352"/>
                <a:gd name="T49" fmla="*/ 28662901 h 403"/>
                <a:gd name="T50" fmla="*/ 4242751 w 352"/>
                <a:gd name="T51" fmla="*/ 29093964 h 403"/>
                <a:gd name="T52" fmla="*/ 3509402 w 352"/>
                <a:gd name="T53" fmla="*/ 30604561 h 403"/>
                <a:gd name="T54" fmla="*/ 631047 w 352"/>
                <a:gd name="T55" fmla="*/ 31002613 h 403"/>
                <a:gd name="T56" fmla="*/ 1165258 w 352"/>
                <a:gd name="T57" fmla="*/ 32955663 h 403"/>
                <a:gd name="T58" fmla="*/ 2879580 w 352"/>
                <a:gd name="T59" fmla="*/ 33601331 h 403"/>
                <a:gd name="T60" fmla="*/ 3509402 w 352"/>
                <a:gd name="T61" fmla="*/ 34340450 h 403"/>
                <a:gd name="T62" fmla="*/ 966929 w 352"/>
                <a:gd name="T63" fmla="*/ 35308771 h 403"/>
                <a:gd name="T64" fmla="*/ 3509402 w 352"/>
                <a:gd name="T65" fmla="*/ 35849093 h 403"/>
                <a:gd name="T66" fmla="*/ 1608444 w 352"/>
                <a:gd name="T67" fmla="*/ 38401056 h 403"/>
                <a:gd name="T68" fmla="*/ 2773604 w 352"/>
                <a:gd name="T69" fmla="*/ 40310647 h 403"/>
                <a:gd name="T70" fmla="*/ 4473366 w 352"/>
                <a:gd name="T71" fmla="*/ 43108529 h 403"/>
                <a:gd name="T72" fmla="*/ 7752195 w 352"/>
                <a:gd name="T73" fmla="*/ 40015949 h 403"/>
                <a:gd name="T74" fmla="*/ 9359608 w 352"/>
                <a:gd name="T75" fmla="*/ 38835280 h 403"/>
                <a:gd name="T76" fmla="*/ 11704773 w 352"/>
                <a:gd name="T77" fmla="*/ 40111779 h 403"/>
                <a:gd name="T78" fmla="*/ 11704773 w 352"/>
                <a:gd name="T79" fmla="*/ 30369428 h 403"/>
                <a:gd name="T80" fmla="*/ 14141177 w 352"/>
                <a:gd name="T81" fmla="*/ 18171966 h 403"/>
                <a:gd name="T82" fmla="*/ 18815777 w 352"/>
                <a:gd name="T83" fmla="*/ 11322914 h 403"/>
                <a:gd name="T84" fmla="*/ 22123987 w 352"/>
                <a:gd name="T85" fmla="*/ 8336756 h 403"/>
                <a:gd name="T86" fmla="*/ 28509425 w 352"/>
                <a:gd name="T87" fmla="*/ 9202131 h 403"/>
                <a:gd name="T88" fmla="*/ 32861446 w 352"/>
                <a:gd name="T89" fmla="*/ 4262658 h 403"/>
                <a:gd name="T90" fmla="*/ 1366464 w 352"/>
                <a:gd name="T91" fmla="*/ 37221329 h 403"/>
                <a:gd name="T92" fmla="*/ 631047 w 352"/>
                <a:gd name="T93" fmla="*/ 36482204 h 403"/>
                <a:gd name="T94" fmla="*/ 1805459 w 352"/>
                <a:gd name="T95" fmla="*/ 30604561 h 403"/>
                <a:gd name="T96" fmla="*/ 6586936 w 352"/>
                <a:gd name="T97" fmla="*/ 26541087 h 403"/>
                <a:gd name="T98" fmla="*/ 10862094 w 352"/>
                <a:gd name="T99" fmla="*/ 20124087 h 403"/>
                <a:gd name="T100" fmla="*/ 11502254 w 352"/>
                <a:gd name="T101" fmla="*/ 13473920 h 403"/>
                <a:gd name="T102" fmla="*/ 13834036 w 352"/>
                <a:gd name="T103" fmla="*/ 10384704 h 403"/>
                <a:gd name="T104" fmla="*/ 15012922 w 352"/>
                <a:gd name="T105" fmla="*/ 8969835 h 403"/>
                <a:gd name="T106" fmla="*/ 14770939 w 352"/>
                <a:gd name="T107" fmla="*/ 9941248 h 403"/>
                <a:gd name="T108" fmla="*/ 18383037 w 352"/>
                <a:gd name="T109" fmla="*/ 7152792 h 403"/>
                <a:gd name="T110" fmla="*/ 18383037 w 352"/>
                <a:gd name="T111" fmla="*/ 7152792 h 403"/>
                <a:gd name="T112" fmla="*/ 20420931 w 352"/>
                <a:gd name="T113" fmla="*/ 5446622 h 403"/>
                <a:gd name="T114" fmla="*/ 21156641 w 352"/>
                <a:gd name="T115" fmla="*/ 4262658 h 403"/>
                <a:gd name="T116" fmla="*/ 25841677 w 352"/>
                <a:gd name="T117" fmla="*/ 2691562 h 403"/>
                <a:gd name="T118" fmla="*/ 25841677 w 352"/>
                <a:gd name="T119" fmla="*/ 1909591 h 403"/>
                <a:gd name="T120" fmla="*/ 29351111 w 352"/>
                <a:gd name="T121" fmla="*/ 537383 h 40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2" h="403">
                  <a:moveTo>
                    <a:pt x="327" y="73"/>
                  </a:moveTo>
                  <a:cubicBezTo>
                    <a:pt x="329" y="71"/>
                    <a:pt x="329" y="71"/>
                    <a:pt x="329" y="71"/>
                  </a:cubicBezTo>
                  <a:cubicBezTo>
                    <a:pt x="329" y="66"/>
                    <a:pt x="329" y="66"/>
                    <a:pt x="329" y="66"/>
                  </a:cubicBezTo>
                  <a:cubicBezTo>
                    <a:pt x="334" y="62"/>
                    <a:pt x="334" y="62"/>
                    <a:pt x="334" y="62"/>
                  </a:cubicBezTo>
                  <a:cubicBezTo>
                    <a:pt x="338" y="60"/>
                    <a:pt x="338" y="60"/>
                    <a:pt x="338" y="60"/>
                  </a:cubicBezTo>
                  <a:cubicBezTo>
                    <a:pt x="340" y="56"/>
                    <a:pt x="340" y="56"/>
                    <a:pt x="340" y="56"/>
                  </a:cubicBezTo>
                  <a:cubicBezTo>
                    <a:pt x="340" y="53"/>
                    <a:pt x="340" y="53"/>
                    <a:pt x="340" y="53"/>
                  </a:cubicBezTo>
                  <a:cubicBezTo>
                    <a:pt x="343" y="53"/>
                    <a:pt x="343" y="53"/>
                    <a:pt x="343" y="53"/>
                  </a:cubicBezTo>
                  <a:cubicBezTo>
                    <a:pt x="347" y="53"/>
                    <a:pt x="347" y="53"/>
                    <a:pt x="347" y="53"/>
                  </a:cubicBezTo>
                  <a:cubicBezTo>
                    <a:pt x="349" y="51"/>
                    <a:pt x="349" y="51"/>
                    <a:pt x="349" y="51"/>
                  </a:cubicBezTo>
                  <a:cubicBezTo>
                    <a:pt x="349" y="47"/>
                    <a:pt x="349" y="47"/>
                    <a:pt x="349" y="47"/>
                  </a:cubicBezTo>
                  <a:cubicBezTo>
                    <a:pt x="347" y="47"/>
                    <a:pt x="347" y="47"/>
                    <a:pt x="347" y="47"/>
                  </a:cubicBezTo>
                  <a:cubicBezTo>
                    <a:pt x="345" y="46"/>
                    <a:pt x="345" y="46"/>
                    <a:pt x="345" y="46"/>
                  </a:cubicBezTo>
                  <a:cubicBezTo>
                    <a:pt x="343" y="46"/>
                    <a:pt x="343" y="46"/>
                    <a:pt x="343" y="46"/>
                  </a:cubicBezTo>
                  <a:cubicBezTo>
                    <a:pt x="341" y="46"/>
                    <a:pt x="341" y="46"/>
                    <a:pt x="341" y="46"/>
                  </a:cubicBezTo>
                  <a:cubicBezTo>
                    <a:pt x="341" y="47"/>
                    <a:pt x="341" y="47"/>
                    <a:pt x="341" y="47"/>
                  </a:cubicBezTo>
                  <a:cubicBezTo>
                    <a:pt x="341" y="47"/>
                    <a:pt x="341" y="47"/>
                    <a:pt x="341" y="47"/>
                  </a:cubicBezTo>
                  <a:cubicBezTo>
                    <a:pt x="340" y="46"/>
                    <a:pt x="340" y="46"/>
                    <a:pt x="340" y="46"/>
                  </a:cubicBezTo>
                  <a:cubicBezTo>
                    <a:pt x="338" y="46"/>
                    <a:pt x="338" y="46"/>
                    <a:pt x="338" y="46"/>
                  </a:cubicBezTo>
                  <a:cubicBezTo>
                    <a:pt x="338" y="47"/>
                    <a:pt x="338" y="47"/>
                    <a:pt x="338" y="47"/>
                  </a:cubicBezTo>
                  <a:cubicBezTo>
                    <a:pt x="338" y="51"/>
                    <a:pt x="338" y="51"/>
                    <a:pt x="338" y="51"/>
                  </a:cubicBezTo>
                  <a:cubicBezTo>
                    <a:pt x="336" y="49"/>
                    <a:pt x="336" y="49"/>
                    <a:pt x="336" y="49"/>
                  </a:cubicBezTo>
                  <a:cubicBezTo>
                    <a:pt x="336" y="47"/>
                    <a:pt x="336" y="47"/>
                    <a:pt x="336" y="47"/>
                  </a:cubicBezTo>
                  <a:cubicBezTo>
                    <a:pt x="332" y="49"/>
                    <a:pt x="332" y="49"/>
                    <a:pt x="332" y="49"/>
                  </a:cubicBezTo>
                  <a:cubicBezTo>
                    <a:pt x="332" y="51"/>
                    <a:pt x="332" y="51"/>
                    <a:pt x="332" y="51"/>
                  </a:cubicBezTo>
                  <a:cubicBezTo>
                    <a:pt x="330" y="47"/>
                    <a:pt x="330" y="47"/>
                    <a:pt x="330" y="47"/>
                  </a:cubicBezTo>
                  <a:cubicBezTo>
                    <a:pt x="330" y="44"/>
                    <a:pt x="330" y="44"/>
                    <a:pt x="330" y="44"/>
                  </a:cubicBezTo>
                  <a:cubicBezTo>
                    <a:pt x="329" y="44"/>
                    <a:pt x="329" y="44"/>
                    <a:pt x="329" y="44"/>
                  </a:cubicBezTo>
                  <a:cubicBezTo>
                    <a:pt x="327" y="40"/>
                    <a:pt x="327" y="40"/>
                    <a:pt x="327" y="40"/>
                  </a:cubicBezTo>
                  <a:cubicBezTo>
                    <a:pt x="327" y="40"/>
                    <a:pt x="327" y="40"/>
                    <a:pt x="327" y="40"/>
                  </a:cubicBezTo>
                  <a:cubicBezTo>
                    <a:pt x="323" y="40"/>
                    <a:pt x="323" y="40"/>
                    <a:pt x="323" y="40"/>
                  </a:cubicBezTo>
                  <a:cubicBezTo>
                    <a:pt x="321" y="38"/>
                    <a:pt x="321" y="38"/>
                    <a:pt x="321" y="38"/>
                  </a:cubicBezTo>
                  <a:cubicBezTo>
                    <a:pt x="316" y="38"/>
                    <a:pt x="316" y="38"/>
                    <a:pt x="316" y="38"/>
                  </a:cubicBezTo>
                  <a:cubicBezTo>
                    <a:pt x="314" y="36"/>
                    <a:pt x="314" y="36"/>
                    <a:pt x="314" y="36"/>
                  </a:cubicBezTo>
                  <a:cubicBezTo>
                    <a:pt x="316" y="35"/>
                    <a:pt x="316" y="35"/>
                    <a:pt x="316" y="35"/>
                  </a:cubicBezTo>
                  <a:cubicBezTo>
                    <a:pt x="319" y="36"/>
                    <a:pt x="319" y="36"/>
                    <a:pt x="319" y="36"/>
                  </a:cubicBezTo>
                  <a:cubicBezTo>
                    <a:pt x="325" y="36"/>
                    <a:pt x="325" y="36"/>
                    <a:pt x="325" y="36"/>
                  </a:cubicBezTo>
                  <a:cubicBezTo>
                    <a:pt x="329" y="36"/>
                    <a:pt x="329" y="36"/>
                    <a:pt x="329" y="36"/>
                  </a:cubicBezTo>
                  <a:cubicBezTo>
                    <a:pt x="334" y="36"/>
                    <a:pt x="334" y="36"/>
                    <a:pt x="334" y="36"/>
                  </a:cubicBezTo>
                  <a:cubicBezTo>
                    <a:pt x="340" y="36"/>
                    <a:pt x="340" y="36"/>
                    <a:pt x="340" y="36"/>
                  </a:cubicBezTo>
                  <a:cubicBezTo>
                    <a:pt x="343" y="29"/>
                    <a:pt x="343" y="29"/>
                    <a:pt x="343" y="29"/>
                  </a:cubicBezTo>
                  <a:cubicBezTo>
                    <a:pt x="349" y="27"/>
                    <a:pt x="349" y="27"/>
                    <a:pt x="349" y="27"/>
                  </a:cubicBezTo>
                  <a:cubicBezTo>
                    <a:pt x="352" y="25"/>
                    <a:pt x="352" y="25"/>
                    <a:pt x="352" y="25"/>
                  </a:cubicBezTo>
                  <a:cubicBezTo>
                    <a:pt x="352" y="24"/>
                    <a:pt x="352" y="24"/>
                    <a:pt x="352" y="24"/>
                  </a:cubicBezTo>
                  <a:cubicBezTo>
                    <a:pt x="350" y="24"/>
                    <a:pt x="350" y="24"/>
                    <a:pt x="350" y="24"/>
                  </a:cubicBezTo>
                  <a:cubicBezTo>
                    <a:pt x="349" y="22"/>
                    <a:pt x="349" y="22"/>
                    <a:pt x="349" y="22"/>
                  </a:cubicBezTo>
                  <a:cubicBezTo>
                    <a:pt x="347" y="22"/>
                    <a:pt x="347" y="22"/>
                    <a:pt x="347" y="22"/>
                  </a:cubicBezTo>
                  <a:cubicBezTo>
                    <a:pt x="343" y="22"/>
                    <a:pt x="343" y="22"/>
                    <a:pt x="343" y="22"/>
                  </a:cubicBezTo>
                  <a:cubicBezTo>
                    <a:pt x="340" y="18"/>
                    <a:pt x="340" y="18"/>
                    <a:pt x="340" y="18"/>
                  </a:cubicBezTo>
                  <a:cubicBezTo>
                    <a:pt x="338" y="18"/>
                    <a:pt x="338" y="18"/>
                    <a:pt x="338" y="18"/>
                  </a:cubicBezTo>
                  <a:cubicBezTo>
                    <a:pt x="334" y="22"/>
                    <a:pt x="334" y="22"/>
                    <a:pt x="334" y="22"/>
                  </a:cubicBezTo>
                  <a:cubicBezTo>
                    <a:pt x="332" y="22"/>
                    <a:pt x="332" y="22"/>
                    <a:pt x="332" y="22"/>
                  </a:cubicBezTo>
                  <a:cubicBezTo>
                    <a:pt x="332" y="20"/>
                    <a:pt x="332" y="20"/>
                    <a:pt x="332" y="20"/>
                  </a:cubicBezTo>
                  <a:cubicBezTo>
                    <a:pt x="336" y="18"/>
                    <a:pt x="336" y="18"/>
                    <a:pt x="336" y="18"/>
                  </a:cubicBezTo>
                  <a:cubicBezTo>
                    <a:pt x="336" y="16"/>
                    <a:pt x="336" y="16"/>
                    <a:pt x="336" y="16"/>
                  </a:cubicBezTo>
                  <a:cubicBezTo>
                    <a:pt x="332" y="15"/>
                    <a:pt x="332" y="15"/>
                    <a:pt x="332" y="15"/>
                  </a:cubicBezTo>
                  <a:cubicBezTo>
                    <a:pt x="332" y="15"/>
                    <a:pt x="332" y="15"/>
                    <a:pt x="332" y="15"/>
                  </a:cubicBezTo>
                  <a:cubicBezTo>
                    <a:pt x="329" y="15"/>
                    <a:pt x="329" y="15"/>
                    <a:pt x="329" y="15"/>
                  </a:cubicBezTo>
                  <a:cubicBezTo>
                    <a:pt x="327" y="18"/>
                    <a:pt x="327" y="18"/>
                    <a:pt x="327" y="18"/>
                  </a:cubicBezTo>
                  <a:cubicBezTo>
                    <a:pt x="325" y="18"/>
                    <a:pt x="325" y="18"/>
                    <a:pt x="325" y="18"/>
                  </a:cubicBezTo>
                  <a:cubicBezTo>
                    <a:pt x="327" y="16"/>
                    <a:pt x="327" y="16"/>
                    <a:pt x="327" y="16"/>
                  </a:cubicBezTo>
                  <a:cubicBezTo>
                    <a:pt x="325" y="16"/>
                    <a:pt x="325" y="16"/>
                    <a:pt x="325" y="16"/>
                  </a:cubicBezTo>
                  <a:cubicBezTo>
                    <a:pt x="323" y="18"/>
                    <a:pt x="323" y="18"/>
                    <a:pt x="323" y="18"/>
                  </a:cubicBezTo>
                  <a:cubicBezTo>
                    <a:pt x="321" y="18"/>
                    <a:pt x="321" y="18"/>
                    <a:pt x="321" y="18"/>
                  </a:cubicBezTo>
                  <a:cubicBezTo>
                    <a:pt x="321" y="16"/>
                    <a:pt x="321" y="16"/>
                    <a:pt x="321" y="16"/>
                  </a:cubicBezTo>
                  <a:cubicBezTo>
                    <a:pt x="323" y="15"/>
                    <a:pt x="323" y="15"/>
                    <a:pt x="323" y="15"/>
                  </a:cubicBezTo>
                  <a:cubicBezTo>
                    <a:pt x="323" y="13"/>
                    <a:pt x="323" y="13"/>
                    <a:pt x="323" y="13"/>
                  </a:cubicBezTo>
                  <a:cubicBezTo>
                    <a:pt x="319" y="11"/>
                    <a:pt x="319" y="11"/>
                    <a:pt x="319" y="11"/>
                  </a:cubicBezTo>
                  <a:cubicBezTo>
                    <a:pt x="316" y="11"/>
                    <a:pt x="316" y="11"/>
                    <a:pt x="316" y="11"/>
                  </a:cubicBezTo>
                  <a:cubicBezTo>
                    <a:pt x="314" y="11"/>
                    <a:pt x="314" y="11"/>
                    <a:pt x="314" y="11"/>
                  </a:cubicBezTo>
                  <a:cubicBezTo>
                    <a:pt x="314" y="16"/>
                    <a:pt x="314" y="16"/>
                    <a:pt x="314" y="16"/>
                  </a:cubicBezTo>
                  <a:cubicBezTo>
                    <a:pt x="312" y="16"/>
                    <a:pt x="312" y="16"/>
                    <a:pt x="312" y="16"/>
                  </a:cubicBezTo>
                  <a:cubicBezTo>
                    <a:pt x="312" y="18"/>
                    <a:pt x="312" y="18"/>
                    <a:pt x="312" y="18"/>
                  </a:cubicBezTo>
                  <a:cubicBezTo>
                    <a:pt x="314" y="24"/>
                    <a:pt x="314" y="24"/>
                    <a:pt x="314" y="24"/>
                  </a:cubicBezTo>
                  <a:cubicBezTo>
                    <a:pt x="314" y="25"/>
                    <a:pt x="314" y="25"/>
                    <a:pt x="314" y="25"/>
                  </a:cubicBezTo>
                  <a:cubicBezTo>
                    <a:pt x="312" y="27"/>
                    <a:pt x="312" y="27"/>
                    <a:pt x="312" y="27"/>
                  </a:cubicBezTo>
                  <a:cubicBezTo>
                    <a:pt x="310" y="24"/>
                    <a:pt x="310" y="24"/>
                    <a:pt x="310" y="24"/>
                  </a:cubicBezTo>
                  <a:cubicBezTo>
                    <a:pt x="309" y="24"/>
                    <a:pt x="309" y="24"/>
                    <a:pt x="309" y="24"/>
                  </a:cubicBezTo>
                  <a:cubicBezTo>
                    <a:pt x="307" y="25"/>
                    <a:pt x="307" y="25"/>
                    <a:pt x="307" y="25"/>
                  </a:cubicBezTo>
                  <a:cubicBezTo>
                    <a:pt x="305" y="25"/>
                    <a:pt x="305" y="25"/>
                    <a:pt x="305" y="25"/>
                  </a:cubicBezTo>
                  <a:cubicBezTo>
                    <a:pt x="301" y="27"/>
                    <a:pt x="301" y="27"/>
                    <a:pt x="301" y="27"/>
                  </a:cubicBezTo>
                  <a:cubicBezTo>
                    <a:pt x="303" y="22"/>
                    <a:pt x="303" y="22"/>
                    <a:pt x="303" y="22"/>
                  </a:cubicBezTo>
                  <a:cubicBezTo>
                    <a:pt x="307" y="22"/>
                    <a:pt x="307" y="22"/>
                    <a:pt x="307" y="22"/>
                  </a:cubicBezTo>
                  <a:cubicBezTo>
                    <a:pt x="309" y="18"/>
                    <a:pt x="309" y="18"/>
                    <a:pt x="309" y="18"/>
                  </a:cubicBezTo>
                  <a:cubicBezTo>
                    <a:pt x="307" y="16"/>
                    <a:pt x="307" y="16"/>
                    <a:pt x="307" y="16"/>
                  </a:cubicBezTo>
                  <a:cubicBezTo>
                    <a:pt x="307" y="16"/>
                    <a:pt x="307" y="16"/>
                    <a:pt x="307" y="16"/>
                  </a:cubicBezTo>
                  <a:cubicBezTo>
                    <a:pt x="303" y="20"/>
                    <a:pt x="303" y="20"/>
                    <a:pt x="303" y="20"/>
                  </a:cubicBezTo>
                  <a:cubicBezTo>
                    <a:pt x="301" y="18"/>
                    <a:pt x="301" y="18"/>
                    <a:pt x="301" y="18"/>
                  </a:cubicBezTo>
                  <a:cubicBezTo>
                    <a:pt x="301" y="18"/>
                    <a:pt x="301" y="18"/>
                    <a:pt x="301" y="18"/>
                  </a:cubicBezTo>
                  <a:cubicBezTo>
                    <a:pt x="303" y="16"/>
                    <a:pt x="303" y="16"/>
                    <a:pt x="303" y="16"/>
                  </a:cubicBezTo>
                  <a:cubicBezTo>
                    <a:pt x="303" y="15"/>
                    <a:pt x="303" y="15"/>
                    <a:pt x="303" y="15"/>
                  </a:cubicBezTo>
                  <a:cubicBezTo>
                    <a:pt x="301" y="13"/>
                    <a:pt x="301" y="13"/>
                    <a:pt x="301" y="13"/>
                  </a:cubicBezTo>
                  <a:cubicBezTo>
                    <a:pt x="299" y="13"/>
                    <a:pt x="299" y="13"/>
                    <a:pt x="299" y="13"/>
                  </a:cubicBezTo>
                  <a:cubicBezTo>
                    <a:pt x="303" y="11"/>
                    <a:pt x="303" y="11"/>
                    <a:pt x="303" y="11"/>
                  </a:cubicBezTo>
                  <a:cubicBezTo>
                    <a:pt x="303" y="13"/>
                    <a:pt x="303" y="13"/>
                    <a:pt x="303" y="13"/>
                  </a:cubicBezTo>
                  <a:cubicBezTo>
                    <a:pt x="307" y="13"/>
                    <a:pt x="307" y="13"/>
                    <a:pt x="307" y="13"/>
                  </a:cubicBezTo>
                  <a:cubicBezTo>
                    <a:pt x="309" y="7"/>
                    <a:pt x="309" y="7"/>
                    <a:pt x="309" y="7"/>
                  </a:cubicBezTo>
                  <a:cubicBezTo>
                    <a:pt x="309" y="5"/>
                    <a:pt x="309" y="5"/>
                    <a:pt x="309" y="5"/>
                  </a:cubicBezTo>
                  <a:cubicBezTo>
                    <a:pt x="305" y="5"/>
                    <a:pt x="305" y="5"/>
                    <a:pt x="305" y="5"/>
                  </a:cubicBezTo>
                  <a:cubicBezTo>
                    <a:pt x="303" y="5"/>
                    <a:pt x="303" y="5"/>
                    <a:pt x="303" y="5"/>
                  </a:cubicBezTo>
                  <a:cubicBezTo>
                    <a:pt x="305" y="2"/>
                    <a:pt x="305" y="2"/>
                    <a:pt x="305" y="2"/>
                  </a:cubicBezTo>
                  <a:cubicBezTo>
                    <a:pt x="303" y="0"/>
                    <a:pt x="303" y="0"/>
                    <a:pt x="303" y="0"/>
                  </a:cubicBezTo>
                  <a:cubicBezTo>
                    <a:pt x="301" y="2"/>
                    <a:pt x="301" y="2"/>
                    <a:pt x="301" y="2"/>
                  </a:cubicBezTo>
                  <a:cubicBezTo>
                    <a:pt x="299" y="2"/>
                    <a:pt x="299" y="2"/>
                    <a:pt x="299" y="2"/>
                  </a:cubicBezTo>
                  <a:cubicBezTo>
                    <a:pt x="298" y="0"/>
                    <a:pt x="298" y="0"/>
                    <a:pt x="298" y="0"/>
                  </a:cubicBezTo>
                  <a:cubicBezTo>
                    <a:pt x="296" y="2"/>
                    <a:pt x="296" y="2"/>
                    <a:pt x="296" y="2"/>
                  </a:cubicBezTo>
                  <a:cubicBezTo>
                    <a:pt x="296" y="4"/>
                    <a:pt x="296" y="4"/>
                    <a:pt x="296" y="4"/>
                  </a:cubicBezTo>
                  <a:cubicBezTo>
                    <a:pt x="298" y="7"/>
                    <a:pt x="298" y="7"/>
                    <a:pt x="298" y="7"/>
                  </a:cubicBezTo>
                  <a:cubicBezTo>
                    <a:pt x="296" y="9"/>
                    <a:pt x="296" y="9"/>
                    <a:pt x="296" y="9"/>
                  </a:cubicBezTo>
                  <a:cubicBezTo>
                    <a:pt x="294" y="9"/>
                    <a:pt x="294" y="9"/>
                    <a:pt x="294" y="9"/>
                  </a:cubicBezTo>
                  <a:cubicBezTo>
                    <a:pt x="292" y="5"/>
                    <a:pt x="292" y="5"/>
                    <a:pt x="292" y="5"/>
                  </a:cubicBezTo>
                  <a:cubicBezTo>
                    <a:pt x="290" y="7"/>
                    <a:pt x="290" y="7"/>
                    <a:pt x="290" y="7"/>
                  </a:cubicBezTo>
                  <a:cubicBezTo>
                    <a:pt x="290" y="9"/>
                    <a:pt x="290" y="9"/>
                    <a:pt x="290" y="9"/>
                  </a:cubicBezTo>
                  <a:cubicBezTo>
                    <a:pt x="290" y="11"/>
                    <a:pt x="290" y="11"/>
                    <a:pt x="290" y="11"/>
                  </a:cubicBezTo>
                  <a:cubicBezTo>
                    <a:pt x="292" y="11"/>
                    <a:pt x="292" y="11"/>
                    <a:pt x="292" y="11"/>
                  </a:cubicBezTo>
                  <a:cubicBezTo>
                    <a:pt x="294" y="13"/>
                    <a:pt x="294" y="13"/>
                    <a:pt x="294" y="13"/>
                  </a:cubicBezTo>
                  <a:cubicBezTo>
                    <a:pt x="294" y="13"/>
                    <a:pt x="294" y="13"/>
                    <a:pt x="294" y="13"/>
                  </a:cubicBezTo>
                  <a:cubicBezTo>
                    <a:pt x="292" y="15"/>
                    <a:pt x="292" y="15"/>
                    <a:pt x="292" y="15"/>
                  </a:cubicBezTo>
                  <a:cubicBezTo>
                    <a:pt x="292" y="16"/>
                    <a:pt x="292" y="16"/>
                    <a:pt x="292" y="16"/>
                  </a:cubicBezTo>
                  <a:cubicBezTo>
                    <a:pt x="290" y="18"/>
                    <a:pt x="290" y="18"/>
                    <a:pt x="290" y="18"/>
                  </a:cubicBezTo>
                  <a:cubicBezTo>
                    <a:pt x="290" y="20"/>
                    <a:pt x="290" y="20"/>
                    <a:pt x="290" y="20"/>
                  </a:cubicBezTo>
                  <a:cubicBezTo>
                    <a:pt x="290" y="20"/>
                    <a:pt x="290" y="20"/>
                    <a:pt x="290" y="20"/>
                  </a:cubicBezTo>
                  <a:cubicBezTo>
                    <a:pt x="288" y="22"/>
                    <a:pt x="288" y="22"/>
                    <a:pt x="288" y="22"/>
                  </a:cubicBezTo>
                  <a:cubicBezTo>
                    <a:pt x="290" y="25"/>
                    <a:pt x="290" y="25"/>
                    <a:pt x="290" y="25"/>
                  </a:cubicBezTo>
                  <a:cubicBezTo>
                    <a:pt x="288" y="27"/>
                    <a:pt x="288" y="27"/>
                    <a:pt x="288" y="27"/>
                  </a:cubicBezTo>
                  <a:cubicBezTo>
                    <a:pt x="287" y="25"/>
                    <a:pt x="287" y="25"/>
                    <a:pt x="287" y="25"/>
                  </a:cubicBezTo>
                  <a:cubicBezTo>
                    <a:pt x="285" y="27"/>
                    <a:pt x="285" y="27"/>
                    <a:pt x="285" y="27"/>
                  </a:cubicBezTo>
                  <a:cubicBezTo>
                    <a:pt x="283" y="27"/>
                    <a:pt x="283" y="27"/>
                    <a:pt x="283" y="27"/>
                  </a:cubicBezTo>
                  <a:cubicBezTo>
                    <a:pt x="281" y="29"/>
                    <a:pt x="281" y="29"/>
                    <a:pt x="281" y="29"/>
                  </a:cubicBezTo>
                  <a:cubicBezTo>
                    <a:pt x="281" y="25"/>
                    <a:pt x="281" y="25"/>
                    <a:pt x="281" y="25"/>
                  </a:cubicBezTo>
                  <a:cubicBezTo>
                    <a:pt x="285" y="20"/>
                    <a:pt x="285" y="20"/>
                    <a:pt x="285" y="20"/>
                  </a:cubicBezTo>
                  <a:cubicBezTo>
                    <a:pt x="281" y="20"/>
                    <a:pt x="281" y="20"/>
                    <a:pt x="281" y="20"/>
                  </a:cubicBezTo>
                  <a:cubicBezTo>
                    <a:pt x="281" y="18"/>
                    <a:pt x="281" y="18"/>
                    <a:pt x="281" y="18"/>
                  </a:cubicBezTo>
                  <a:cubicBezTo>
                    <a:pt x="283" y="16"/>
                    <a:pt x="283" y="16"/>
                    <a:pt x="283" y="16"/>
                  </a:cubicBezTo>
                  <a:cubicBezTo>
                    <a:pt x="283" y="11"/>
                    <a:pt x="283" y="11"/>
                    <a:pt x="283" y="11"/>
                  </a:cubicBezTo>
                  <a:cubicBezTo>
                    <a:pt x="283" y="9"/>
                    <a:pt x="283" y="9"/>
                    <a:pt x="283" y="9"/>
                  </a:cubicBezTo>
                  <a:cubicBezTo>
                    <a:pt x="281" y="9"/>
                    <a:pt x="281" y="9"/>
                    <a:pt x="281" y="9"/>
                  </a:cubicBezTo>
                  <a:cubicBezTo>
                    <a:pt x="277" y="16"/>
                    <a:pt x="277" y="16"/>
                    <a:pt x="277" y="16"/>
                  </a:cubicBezTo>
                  <a:cubicBezTo>
                    <a:pt x="277" y="20"/>
                    <a:pt x="277" y="20"/>
                    <a:pt x="277" y="20"/>
                  </a:cubicBezTo>
                  <a:cubicBezTo>
                    <a:pt x="272" y="25"/>
                    <a:pt x="272" y="25"/>
                    <a:pt x="272" y="25"/>
                  </a:cubicBezTo>
                  <a:cubicBezTo>
                    <a:pt x="272" y="31"/>
                    <a:pt x="272" y="31"/>
                    <a:pt x="272" y="31"/>
                  </a:cubicBezTo>
                  <a:cubicBezTo>
                    <a:pt x="272" y="33"/>
                    <a:pt x="272" y="33"/>
                    <a:pt x="272" y="33"/>
                  </a:cubicBezTo>
                  <a:cubicBezTo>
                    <a:pt x="272" y="35"/>
                    <a:pt x="272" y="35"/>
                    <a:pt x="272" y="35"/>
                  </a:cubicBezTo>
                  <a:cubicBezTo>
                    <a:pt x="267" y="40"/>
                    <a:pt x="267" y="40"/>
                    <a:pt x="267" y="40"/>
                  </a:cubicBezTo>
                  <a:cubicBezTo>
                    <a:pt x="265" y="42"/>
                    <a:pt x="265" y="42"/>
                    <a:pt x="265" y="42"/>
                  </a:cubicBezTo>
                  <a:cubicBezTo>
                    <a:pt x="265" y="38"/>
                    <a:pt x="265" y="38"/>
                    <a:pt x="265" y="38"/>
                  </a:cubicBezTo>
                  <a:cubicBezTo>
                    <a:pt x="265" y="36"/>
                    <a:pt x="265" y="36"/>
                    <a:pt x="265" y="36"/>
                  </a:cubicBezTo>
                  <a:cubicBezTo>
                    <a:pt x="267" y="31"/>
                    <a:pt x="267" y="31"/>
                    <a:pt x="267" y="31"/>
                  </a:cubicBezTo>
                  <a:cubicBezTo>
                    <a:pt x="267" y="29"/>
                    <a:pt x="267" y="29"/>
                    <a:pt x="267" y="29"/>
                  </a:cubicBezTo>
                  <a:cubicBezTo>
                    <a:pt x="267" y="25"/>
                    <a:pt x="267" y="25"/>
                    <a:pt x="267" y="25"/>
                  </a:cubicBezTo>
                  <a:cubicBezTo>
                    <a:pt x="267" y="24"/>
                    <a:pt x="267" y="24"/>
                    <a:pt x="267" y="24"/>
                  </a:cubicBezTo>
                  <a:cubicBezTo>
                    <a:pt x="270" y="18"/>
                    <a:pt x="270" y="18"/>
                    <a:pt x="270" y="18"/>
                  </a:cubicBezTo>
                  <a:cubicBezTo>
                    <a:pt x="272" y="15"/>
                    <a:pt x="272" y="15"/>
                    <a:pt x="272" y="15"/>
                  </a:cubicBezTo>
                  <a:cubicBezTo>
                    <a:pt x="272" y="15"/>
                    <a:pt x="272" y="15"/>
                    <a:pt x="272" y="15"/>
                  </a:cubicBezTo>
                  <a:cubicBezTo>
                    <a:pt x="272" y="13"/>
                    <a:pt x="272" y="13"/>
                    <a:pt x="272" y="13"/>
                  </a:cubicBezTo>
                  <a:cubicBezTo>
                    <a:pt x="270" y="13"/>
                    <a:pt x="270" y="13"/>
                    <a:pt x="270" y="13"/>
                  </a:cubicBezTo>
                  <a:cubicBezTo>
                    <a:pt x="267" y="9"/>
                    <a:pt x="267" y="9"/>
                    <a:pt x="267" y="9"/>
                  </a:cubicBezTo>
                  <a:cubicBezTo>
                    <a:pt x="265" y="9"/>
                    <a:pt x="265" y="9"/>
                    <a:pt x="265" y="9"/>
                  </a:cubicBezTo>
                  <a:cubicBezTo>
                    <a:pt x="267" y="13"/>
                    <a:pt x="267" y="13"/>
                    <a:pt x="267" y="13"/>
                  </a:cubicBezTo>
                  <a:cubicBezTo>
                    <a:pt x="265" y="15"/>
                    <a:pt x="265" y="15"/>
                    <a:pt x="265" y="15"/>
                  </a:cubicBezTo>
                  <a:cubicBezTo>
                    <a:pt x="265" y="11"/>
                    <a:pt x="265" y="11"/>
                    <a:pt x="265" y="11"/>
                  </a:cubicBezTo>
                  <a:cubicBezTo>
                    <a:pt x="261" y="9"/>
                    <a:pt x="261" y="9"/>
                    <a:pt x="261" y="9"/>
                  </a:cubicBezTo>
                  <a:cubicBezTo>
                    <a:pt x="259" y="9"/>
                    <a:pt x="259" y="9"/>
                    <a:pt x="259" y="9"/>
                  </a:cubicBezTo>
                  <a:cubicBezTo>
                    <a:pt x="257" y="11"/>
                    <a:pt x="257" y="11"/>
                    <a:pt x="257" y="11"/>
                  </a:cubicBezTo>
                  <a:cubicBezTo>
                    <a:pt x="257" y="15"/>
                    <a:pt x="257" y="15"/>
                    <a:pt x="257" y="15"/>
                  </a:cubicBezTo>
                  <a:cubicBezTo>
                    <a:pt x="256" y="16"/>
                    <a:pt x="256" y="16"/>
                    <a:pt x="256" y="16"/>
                  </a:cubicBezTo>
                  <a:cubicBezTo>
                    <a:pt x="256" y="15"/>
                    <a:pt x="256" y="15"/>
                    <a:pt x="256" y="15"/>
                  </a:cubicBezTo>
                  <a:cubicBezTo>
                    <a:pt x="254" y="13"/>
                    <a:pt x="254" y="13"/>
                    <a:pt x="254" y="13"/>
                  </a:cubicBezTo>
                  <a:cubicBezTo>
                    <a:pt x="252" y="15"/>
                    <a:pt x="252" y="15"/>
                    <a:pt x="252" y="15"/>
                  </a:cubicBezTo>
                  <a:cubicBezTo>
                    <a:pt x="252" y="16"/>
                    <a:pt x="252" y="16"/>
                    <a:pt x="252" y="16"/>
                  </a:cubicBezTo>
                  <a:cubicBezTo>
                    <a:pt x="256" y="18"/>
                    <a:pt x="256" y="18"/>
                    <a:pt x="256" y="18"/>
                  </a:cubicBezTo>
                  <a:cubicBezTo>
                    <a:pt x="257" y="22"/>
                    <a:pt x="257" y="22"/>
                    <a:pt x="257" y="22"/>
                  </a:cubicBezTo>
                  <a:cubicBezTo>
                    <a:pt x="256" y="22"/>
                    <a:pt x="256" y="22"/>
                    <a:pt x="256" y="22"/>
                  </a:cubicBezTo>
                  <a:cubicBezTo>
                    <a:pt x="254" y="20"/>
                    <a:pt x="254" y="20"/>
                    <a:pt x="254" y="20"/>
                  </a:cubicBezTo>
                  <a:cubicBezTo>
                    <a:pt x="252" y="24"/>
                    <a:pt x="252" y="24"/>
                    <a:pt x="252" y="24"/>
                  </a:cubicBezTo>
                  <a:cubicBezTo>
                    <a:pt x="252" y="25"/>
                    <a:pt x="252" y="25"/>
                    <a:pt x="252" y="25"/>
                  </a:cubicBezTo>
                  <a:cubicBezTo>
                    <a:pt x="252" y="25"/>
                    <a:pt x="252" y="25"/>
                    <a:pt x="252" y="25"/>
                  </a:cubicBezTo>
                  <a:cubicBezTo>
                    <a:pt x="252" y="27"/>
                    <a:pt x="252" y="27"/>
                    <a:pt x="252" y="27"/>
                  </a:cubicBezTo>
                  <a:cubicBezTo>
                    <a:pt x="248" y="25"/>
                    <a:pt x="248" y="25"/>
                    <a:pt x="248" y="25"/>
                  </a:cubicBezTo>
                  <a:cubicBezTo>
                    <a:pt x="246" y="25"/>
                    <a:pt x="246" y="25"/>
                    <a:pt x="246" y="25"/>
                  </a:cubicBezTo>
                  <a:cubicBezTo>
                    <a:pt x="245" y="29"/>
                    <a:pt x="245" y="29"/>
                    <a:pt x="245" y="29"/>
                  </a:cubicBezTo>
                  <a:cubicBezTo>
                    <a:pt x="243" y="29"/>
                    <a:pt x="243" y="29"/>
                    <a:pt x="243" y="29"/>
                  </a:cubicBezTo>
                  <a:cubicBezTo>
                    <a:pt x="243" y="31"/>
                    <a:pt x="243" y="31"/>
                    <a:pt x="243" y="31"/>
                  </a:cubicBezTo>
                  <a:cubicBezTo>
                    <a:pt x="245" y="33"/>
                    <a:pt x="245" y="33"/>
                    <a:pt x="245" y="33"/>
                  </a:cubicBezTo>
                  <a:cubicBezTo>
                    <a:pt x="241" y="35"/>
                    <a:pt x="241" y="35"/>
                    <a:pt x="241" y="35"/>
                  </a:cubicBezTo>
                  <a:cubicBezTo>
                    <a:pt x="241" y="36"/>
                    <a:pt x="241" y="36"/>
                    <a:pt x="241" y="36"/>
                  </a:cubicBezTo>
                  <a:cubicBezTo>
                    <a:pt x="243" y="40"/>
                    <a:pt x="243" y="40"/>
                    <a:pt x="243" y="40"/>
                  </a:cubicBezTo>
                  <a:cubicBezTo>
                    <a:pt x="241" y="42"/>
                    <a:pt x="241" y="42"/>
                    <a:pt x="241" y="42"/>
                  </a:cubicBezTo>
                  <a:cubicBezTo>
                    <a:pt x="245" y="42"/>
                    <a:pt x="245" y="42"/>
                    <a:pt x="245" y="42"/>
                  </a:cubicBezTo>
                  <a:cubicBezTo>
                    <a:pt x="245" y="44"/>
                    <a:pt x="245" y="44"/>
                    <a:pt x="245" y="44"/>
                  </a:cubicBezTo>
                  <a:cubicBezTo>
                    <a:pt x="243" y="46"/>
                    <a:pt x="243" y="46"/>
                    <a:pt x="243" y="46"/>
                  </a:cubicBezTo>
                  <a:cubicBezTo>
                    <a:pt x="239" y="46"/>
                    <a:pt x="239" y="46"/>
                    <a:pt x="239" y="46"/>
                  </a:cubicBezTo>
                  <a:cubicBezTo>
                    <a:pt x="237" y="40"/>
                    <a:pt x="237" y="40"/>
                    <a:pt x="237" y="40"/>
                  </a:cubicBezTo>
                  <a:cubicBezTo>
                    <a:pt x="236" y="40"/>
                    <a:pt x="236" y="40"/>
                    <a:pt x="236" y="40"/>
                  </a:cubicBezTo>
                  <a:cubicBezTo>
                    <a:pt x="237" y="38"/>
                    <a:pt x="237" y="38"/>
                    <a:pt x="237" y="38"/>
                  </a:cubicBezTo>
                  <a:cubicBezTo>
                    <a:pt x="236" y="36"/>
                    <a:pt x="236" y="36"/>
                    <a:pt x="236" y="36"/>
                  </a:cubicBezTo>
                  <a:cubicBezTo>
                    <a:pt x="232" y="36"/>
                    <a:pt x="232" y="36"/>
                    <a:pt x="232" y="36"/>
                  </a:cubicBezTo>
                  <a:cubicBezTo>
                    <a:pt x="228" y="36"/>
                    <a:pt x="228" y="36"/>
                    <a:pt x="228" y="36"/>
                  </a:cubicBezTo>
                  <a:cubicBezTo>
                    <a:pt x="223" y="33"/>
                    <a:pt x="223" y="33"/>
                    <a:pt x="223" y="33"/>
                  </a:cubicBezTo>
                  <a:cubicBezTo>
                    <a:pt x="223" y="33"/>
                    <a:pt x="223" y="33"/>
                    <a:pt x="223" y="33"/>
                  </a:cubicBezTo>
                  <a:cubicBezTo>
                    <a:pt x="221" y="35"/>
                    <a:pt x="221" y="35"/>
                    <a:pt x="221" y="35"/>
                  </a:cubicBezTo>
                  <a:cubicBezTo>
                    <a:pt x="219" y="33"/>
                    <a:pt x="219" y="33"/>
                    <a:pt x="219" y="33"/>
                  </a:cubicBezTo>
                  <a:cubicBezTo>
                    <a:pt x="215" y="35"/>
                    <a:pt x="215" y="35"/>
                    <a:pt x="215" y="35"/>
                  </a:cubicBezTo>
                  <a:cubicBezTo>
                    <a:pt x="214" y="35"/>
                    <a:pt x="214" y="35"/>
                    <a:pt x="214" y="35"/>
                  </a:cubicBezTo>
                  <a:cubicBezTo>
                    <a:pt x="214" y="36"/>
                    <a:pt x="214" y="36"/>
                    <a:pt x="214" y="36"/>
                  </a:cubicBezTo>
                  <a:cubicBezTo>
                    <a:pt x="217" y="40"/>
                    <a:pt x="217" y="40"/>
                    <a:pt x="217" y="40"/>
                  </a:cubicBezTo>
                  <a:cubicBezTo>
                    <a:pt x="219" y="40"/>
                    <a:pt x="219" y="40"/>
                    <a:pt x="219" y="40"/>
                  </a:cubicBezTo>
                  <a:cubicBezTo>
                    <a:pt x="221" y="42"/>
                    <a:pt x="221" y="42"/>
                    <a:pt x="221" y="42"/>
                  </a:cubicBezTo>
                  <a:cubicBezTo>
                    <a:pt x="225" y="44"/>
                    <a:pt x="225" y="44"/>
                    <a:pt x="225" y="44"/>
                  </a:cubicBezTo>
                  <a:cubicBezTo>
                    <a:pt x="223" y="46"/>
                    <a:pt x="223" y="46"/>
                    <a:pt x="223" y="46"/>
                  </a:cubicBezTo>
                  <a:cubicBezTo>
                    <a:pt x="223" y="49"/>
                    <a:pt x="223" y="49"/>
                    <a:pt x="223" y="49"/>
                  </a:cubicBezTo>
                  <a:cubicBezTo>
                    <a:pt x="226" y="53"/>
                    <a:pt x="226" y="53"/>
                    <a:pt x="226" y="53"/>
                  </a:cubicBezTo>
                  <a:cubicBezTo>
                    <a:pt x="226" y="55"/>
                    <a:pt x="226" y="55"/>
                    <a:pt x="226" y="55"/>
                  </a:cubicBezTo>
                  <a:cubicBezTo>
                    <a:pt x="223" y="53"/>
                    <a:pt x="223" y="53"/>
                    <a:pt x="223" y="53"/>
                  </a:cubicBezTo>
                  <a:cubicBezTo>
                    <a:pt x="221" y="49"/>
                    <a:pt x="221" y="49"/>
                    <a:pt x="221" y="49"/>
                  </a:cubicBezTo>
                  <a:cubicBezTo>
                    <a:pt x="217" y="47"/>
                    <a:pt x="217" y="47"/>
                    <a:pt x="217" y="47"/>
                  </a:cubicBezTo>
                  <a:cubicBezTo>
                    <a:pt x="215" y="46"/>
                    <a:pt x="215" y="46"/>
                    <a:pt x="215" y="46"/>
                  </a:cubicBezTo>
                  <a:cubicBezTo>
                    <a:pt x="215" y="49"/>
                    <a:pt x="215" y="49"/>
                    <a:pt x="215" y="49"/>
                  </a:cubicBezTo>
                  <a:cubicBezTo>
                    <a:pt x="214" y="51"/>
                    <a:pt x="214" y="51"/>
                    <a:pt x="214" y="51"/>
                  </a:cubicBezTo>
                  <a:cubicBezTo>
                    <a:pt x="212" y="47"/>
                    <a:pt x="212" y="47"/>
                    <a:pt x="212" y="47"/>
                  </a:cubicBezTo>
                  <a:cubicBezTo>
                    <a:pt x="210" y="49"/>
                    <a:pt x="210" y="49"/>
                    <a:pt x="210" y="49"/>
                  </a:cubicBezTo>
                  <a:cubicBezTo>
                    <a:pt x="210" y="51"/>
                    <a:pt x="210" y="51"/>
                    <a:pt x="210" y="51"/>
                  </a:cubicBezTo>
                  <a:cubicBezTo>
                    <a:pt x="206" y="53"/>
                    <a:pt x="206" y="53"/>
                    <a:pt x="206" y="53"/>
                  </a:cubicBezTo>
                  <a:cubicBezTo>
                    <a:pt x="206" y="56"/>
                    <a:pt x="206" y="56"/>
                    <a:pt x="206" y="56"/>
                  </a:cubicBezTo>
                  <a:cubicBezTo>
                    <a:pt x="210" y="58"/>
                    <a:pt x="210" y="58"/>
                    <a:pt x="210" y="58"/>
                  </a:cubicBezTo>
                  <a:cubicBezTo>
                    <a:pt x="212" y="62"/>
                    <a:pt x="212" y="62"/>
                    <a:pt x="212" y="62"/>
                  </a:cubicBezTo>
                  <a:cubicBezTo>
                    <a:pt x="210" y="60"/>
                    <a:pt x="210" y="60"/>
                    <a:pt x="210" y="60"/>
                  </a:cubicBezTo>
                  <a:cubicBezTo>
                    <a:pt x="208" y="58"/>
                    <a:pt x="208" y="58"/>
                    <a:pt x="208" y="58"/>
                  </a:cubicBezTo>
                  <a:cubicBezTo>
                    <a:pt x="204" y="62"/>
                    <a:pt x="204" y="62"/>
                    <a:pt x="204" y="62"/>
                  </a:cubicBezTo>
                  <a:cubicBezTo>
                    <a:pt x="204" y="66"/>
                    <a:pt x="204" y="66"/>
                    <a:pt x="204" y="66"/>
                  </a:cubicBezTo>
                  <a:cubicBezTo>
                    <a:pt x="201" y="67"/>
                    <a:pt x="201" y="67"/>
                    <a:pt x="201" y="67"/>
                  </a:cubicBezTo>
                  <a:cubicBezTo>
                    <a:pt x="201" y="66"/>
                    <a:pt x="201" y="66"/>
                    <a:pt x="201" y="66"/>
                  </a:cubicBezTo>
                  <a:cubicBezTo>
                    <a:pt x="203" y="64"/>
                    <a:pt x="203" y="64"/>
                    <a:pt x="203" y="64"/>
                  </a:cubicBezTo>
                  <a:cubicBezTo>
                    <a:pt x="203" y="62"/>
                    <a:pt x="203" y="62"/>
                    <a:pt x="203" y="62"/>
                  </a:cubicBezTo>
                  <a:cubicBezTo>
                    <a:pt x="204" y="56"/>
                    <a:pt x="204" y="56"/>
                    <a:pt x="204" y="56"/>
                  </a:cubicBezTo>
                  <a:cubicBezTo>
                    <a:pt x="203" y="47"/>
                    <a:pt x="203" y="47"/>
                    <a:pt x="203" y="47"/>
                  </a:cubicBezTo>
                  <a:cubicBezTo>
                    <a:pt x="201" y="49"/>
                    <a:pt x="201" y="49"/>
                    <a:pt x="201" y="49"/>
                  </a:cubicBezTo>
                  <a:cubicBezTo>
                    <a:pt x="197" y="55"/>
                    <a:pt x="197" y="55"/>
                    <a:pt x="197" y="55"/>
                  </a:cubicBezTo>
                  <a:cubicBezTo>
                    <a:pt x="197" y="60"/>
                    <a:pt x="197" y="60"/>
                    <a:pt x="197" y="60"/>
                  </a:cubicBezTo>
                  <a:cubicBezTo>
                    <a:pt x="197" y="62"/>
                    <a:pt x="197" y="62"/>
                    <a:pt x="197" y="62"/>
                  </a:cubicBezTo>
                  <a:cubicBezTo>
                    <a:pt x="194" y="66"/>
                    <a:pt x="194" y="66"/>
                    <a:pt x="194" y="66"/>
                  </a:cubicBezTo>
                  <a:cubicBezTo>
                    <a:pt x="194" y="62"/>
                    <a:pt x="194" y="62"/>
                    <a:pt x="194" y="62"/>
                  </a:cubicBezTo>
                  <a:cubicBezTo>
                    <a:pt x="195" y="58"/>
                    <a:pt x="195" y="58"/>
                    <a:pt x="195" y="58"/>
                  </a:cubicBezTo>
                  <a:cubicBezTo>
                    <a:pt x="194" y="53"/>
                    <a:pt x="194" y="53"/>
                    <a:pt x="194" y="53"/>
                  </a:cubicBezTo>
                  <a:cubicBezTo>
                    <a:pt x="194" y="53"/>
                    <a:pt x="194" y="53"/>
                    <a:pt x="194" y="53"/>
                  </a:cubicBezTo>
                  <a:cubicBezTo>
                    <a:pt x="190" y="55"/>
                    <a:pt x="190" y="55"/>
                    <a:pt x="190" y="55"/>
                  </a:cubicBezTo>
                  <a:cubicBezTo>
                    <a:pt x="186" y="60"/>
                    <a:pt x="186" y="60"/>
                    <a:pt x="186" y="60"/>
                  </a:cubicBezTo>
                  <a:cubicBezTo>
                    <a:pt x="188" y="62"/>
                    <a:pt x="188" y="62"/>
                    <a:pt x="188" y="62"/>
                  </a:cubicBezTo>
                  <a:cubicBezTo>
                    <a:pt x="188" y="66"/>
                    <a:pt x="188" y="66"/>
                    <a:pt x="188" y="66"/>
                  </a:cubicBezTo>
                  <a:cubicBezTo>
                    <a:pt x="194" y="69"/>
                    <a:pt x="194" y="69"/>
                    <a:pt x="194" y="69"/>
                  </a:cubicBezTo>
                  <a:cubicBezTo>
                    <a:pt x="194" y="71"/>
                    <a:pt x="194" y="71"/>
                    <a:pt x="194" y="71"/>
                  </a:cubicBezTo>
                  <a:cubicBezTo>
                    <a:pt x="192" y="75"/>
                    <a:pt x="192" y="75"/>
                    <a:pt x="192" y="75"/>
                  </a:cubicBezTo>
                  <a:cubicBezTo>
                    <a:pt x="192" y="71"/>
                    <a:pt x="192" y="71"/>
                    <a:pt x="192" y="71"/>
                  </a:cubicBezTo>
                  <a:cubicBezTo>
                    <a:pt x="188" y="69"/>
                    <a:pt x="188" y="69"/>
                    <a:pt x="188" y="69"/>
                  </a:cubicBezTo>
                  <a:cubicBezTo>
                    <a:pt x="184" y="62"/>
                    <a:pt x="184" y="62"/>
                    <a:pt x="184" y="62"/>
                  </a:cubicBezTo>
                  <a:cubicBezTo>
                    <a:pt x="184" y="62"/>
                    <a:pt x="184" y="62"/>
                    <a:pt x="184" y="62"/>
                  </a:cubicBezTo>
                  <a:cubicBezTo>
                    <a:pt x="179" y="64"/>
                    <a:pt x="179" y="64"/>
                    <a:pt x="179" y="64"/>
                  </a:cubicBezTo>
                  <a:cubicBezTo>
                    <a:pt x="179" y="66"/>
                    <a:pt x="179" y="66"/>
                    <a:pt x="179" y="66"/>
                  </a:cubicBezTo>
                  <a:cubicBezTo>
                    <a:pt x="184" y="69"/>
                    <a:pt x="184" y="69"/>
                    <a:pt x="184" y="69"/>
                  </a:cubicBezTo>
                  <a:cubicBezTo>
                    <a:pt x="186" y="69"/>
                    <a:pt x="186" y="69"/>
                    <a:pt x="186" y="69"/>
                  </a:cubicBezTo>
                  <a:cubicBezTo>
                    <a:pt x="186" y="71"/>
                    <a:pt x="186" y="71"/>
                    <a:pt x="186" y="71"/>
                  </a:cubicBezTo>
                  <a:cubicBezTo>
                    <a:pt x="184" y="71"/>
                    <a:pt x="184" y="71"/>
                    <a:pt x="184" y="71"/>
                  </a:cubicBezTo>
                  <a:cubicBezTo>
                    <a:pt x="181" y="71"/>
                    <a:pt x="181" y="71"/>
                    <a:pt x="181" y="71"/>
                  </a:cubicBezTo>
                  <a:cubicBezTo>
                    <a:pt x="183" y="75"/>
                    <a:pt x="183" y="75"/>
                    <a:pt x="183" y="75"/>
                  </a:cubicBezTo>
                  <a:cubicBezTo>
                    <a:pt x="179" y="73"/>
                    <a:pt x="179" y="73"/>
                    <a:pt x="179" y="73"/>
                  </a:cubicBezTo>
                  <a:cubicBezTo>
                    <a:pt x="179" y="67"/>
                    <a:pt x="179" y="67"/>
                    <a:pt x="179" y="67"/>
                  </a:cubicBezTo>
                  <a:cubicBezTo>
                    <a:pt x="177" y="67"/>
                    <a:pt x="177" y="67"/>
                    <a:pt x="177" y="67"/>
                  </a:cubicBezTo>
                  <a:cubicBezTo>
                    <a:pt x="177" y="66"/>
                    <a:pt x="177" y="66"/>
                    <a:pt x="177" y="66"/>
                  </a:cubicBezTo>
                  <a:cubicBezTo>
                    <a:pt x="175" y="66"/>
                    <a:pt x="175" y="66"/>
                    <a:pt x="175" y="66"/>
                  </a:cubicBezTo>
                  <a:cubicBezTo>
                    <a:pt x="175" y="71"/>
                    <a:pt x="175" y="71"/>
                    <a:pt x="175" y="71"/>
                  </a:cubicBezTo>
                  <a:cubicBezTo>
                    <a:pt x="175" y="73"/>
                    <a:pt x="175" y="73"/>
                    <a:pt x="175" y="73"/>
                  </a:cubicBezTo>
                  <a:cubicBezTo>
                    <a:pt x="175" y="77"/>
                    <a:pt x="175" y="77"/>
                    <a:pt x="175" y="77"/>
                  </a:cubicBezTo>
                  <a:cubicBezTo>
                    <a:pt x="173" y="75"/>
                    <a:pt x="173" y="75"/>
                    <a:pt x="173" y="75"/>
                  </a:cubicBezTo>
                  <a:cubicBezTo>
                    <a:pt x="170" y="77"/>
                    <a:pt x="170" y="77"/>
                    <a:pt x="170" y="77"/>
                  </a:cubicBezTo>
                  <a:cubicBezTo>
                    <a:pt x="166" y="80"/>
                    <a:pt x="166" y="80"/>
                    <a:pt x="166" y="80"/>
                  </a:cubicBezTo>
                  <a:cubicBezTo>
                    <a:pt x="168" y="80"/>
                    <a:pt x="168" y="80"/>
                    <a:pt x="168" y="80"/>
                  </a:cubicBezTo>
                  <a:cubicBezTo>
                    <a:pt x="170" y="80"/>
                    <a:pt x="170" y="80"/>
                    <a:pt x="170" y="80"/>
                  </a:cubicBezTo>
                  <a:cubicBezTo>
                    <a:pt x="172" y="82"/>
                    <a:pt x="172" y="82"/>
                    <a:pt x="172" y="82"/>
                  </a:cubicBezTo>
                  <a:cubicBezTo>
                    <a:pt x="170" y="82"/>
                    <a:pt x="170" y="82"/>
                    <a:pt x="170" y="82"/>
                  </a:cubicBezTo>
                  <a:cubicBezTo>
                    <a:pt x="168" y="84"/>
                    <a:pt x="168" y="84"/>
                    <a:pt x="168" y="84"/>
                  </a:cubicBezTo>
                  <a:cubicBezTo>
                    <a:pt x="170" y="86"/>
                    <a:pt x="170" y="86"/>
                    <a:pt x="170" y="86"/>
                  </a:cubicBezTo>
                  <a:cubicBezTo>
                    <a:pt x="168" y="87"/>
                    <a:pt x="168" y="87"/>
                    <a:pt x="168" y="87"/>
                  </a:cubicBezTo>
                  <a:cubicBezTo>
                    <a:pt x="166" y="87"/>
                    <a:pt x="166" y="87"/>
                    <a:pt x="166" y="87"/>
                  </a:cubicBezTo>
                  <a:cubicBezTo>
                    <a:pt x="166" y="89"/>
                    <a:pt x="166" y="89"/>
                    <a:pt x="166" y="89"/>
                  </a:cubicBezTo>
                  <a:cubicBezTo>
                    <a:pt x="166" y="89"/>
                    <a:pt x="166" y="89"/>
                    <a:pt x="166" y="89"/>
                  </a:cubicBezTo>
                  <a:cubicBezTo>
                    <a:pt x="164" y="89"/>
                    <a:pt x="164" y="89"/>
                    <a:pt x="164" y="89"/>
                  </a:cubicBezTo>
                  <a:cubicBezTo>
                    <a:pt x="163" y="87"/>
                    <a:pt x="163" y="87"/>
                    <a:pt x="163" y="87"/>
                  </a:cubicBezTo>
                  <a:cubicBezTo>
                    <a:pt x="161" y="89"/>
                    <a:pt x="161" y="89"/>
                    <a:pt x="161" y="89"/>
                  </a:cubicBezTo>
                  <a:cubicBezTo>
                    <a:pt x="159" y="91"/>
                    <a:pt x="159" y="91"/>
                    <a:pt x="159" y="91"/>
                  </a:cubicBezTo>
                  <a:cubicBezTo>
                    <a:pt x="159" y="93"/>
                    <a:pt x="159" y="93"/>
                    <a:pt x="159" y="93"/>
                  </a:cubicBezTo>
                  <a:cubicBezTo>
                    <a:pt x="159" y="95"/>
                    <a:pt x="159" y="95"/>
                    <a:pt x="159" y="95"/>
                  </a:cubicBezTo>
                  <a:cubicBezTo>
                    <a:pt x="155" y="95"/>
                    <a:pt x="155" y="95"/>
                    <a:pt x="155" y="95"/>
                  </a:cubicBezTo>
                  <a:cubicBezTo>
                    <a:pt x="153" y="98"/>
                    <a:pt x="153" y="98"/>
                    <a:pt x="153" y="98"/>
                  </a:cubicBezTo>
                  <a:cubicBezTo>
                    <a:pt x="155" y="98"/>
                    <a:pt x="155" y="98"/>
                    <a:pt x="155" y="98"/>
                  </a:cubicBezTo>
                  <a:cubicBezTo>
                    <a:pt x="163" y="97"/>
                    <a:pt x="163" y="97"/>
                    <a:pt x="163" y="97"/>
                  </a:cubicBezTo>
                  <a:cubicBezTo>
                    <a:pt x="164" y="98"/>
                    <a:pt x="164" y="98"/>
                    <a:pt x="164" y="98"/>
                  </a:cubicBezTo>
                  <a:cubicBezTo>
                    <a:pt x="168" y="97"/>
                    <a:pt x="168" y="97"/>
                    <a:pt x="168" y="97"/>
                  </a:cubicBezTo>
                  <a:cubicBezTo>
                    <a:pt x="170" y="97"/>
                    <a:pt x="170" y="97"/>
                    <a:pt x="170" y="97"/>
                  </a:cubicBezTo>
                  <a:cubicBezTo>
                    <a:pt x="170" y="98"/>
                    <a:pt x="170" y="98"/>
                    <a:pt x="170" y="98"/>
                  </a:cubicBezTo>
                  <a:cubicBezTo>
                    <a:pt x="168" y="100"/>
                    <a:pt x="168" y="100"/>
                    <a:pt x="168" y="100"/>
                  </a:cubicBezTo>
                  <a:cubicBezTo>
                    <a:pt x="168" y="106"/>
                    <a:pt x="168" y="106"/>
                    <a:pt x="168" y="106"/>
                  </a:cubicBezTo>
                  <a:cubicBezTo>
                    <a:pt x="166" y="106"/>
                    <a:pt x="166" y="106"/>
                    <a:pt x="166" y="106"/>
                  </a:cubicBezTo>
                  <a:cubicBezTo>
                    <a:pt x="164" y="104"/>
                    <a:pt x="164" y="104"/>
                    <a:pt x="164" y="104"/>
                  </a:cubicBezTo>
                  <a:cubicBezTo>
                    <a:pt x="164" y="102"/>
                    <a:pt x="164" y="102"/>
                    <a:pt x="164" y="102"/>
                  </a:cubicBezTo>
                  <a:cubicBezTo>
                    <a:pt x="163" y="104"/>
                    <a:pt x="163" y="104"/>
                    <a:pt x="163" y="104"/>
                  </a:cubicBezTo>
                  <a:cubicBezTo>
                    <a:pt x="161" y="102"/>
                    <a:pt x="161" y="102"/>
                    <a:pt x="161" y="102"/>
                  </a:cubicBezTo>
                  <a:cubicBezTo>
                    <a:pt x="157" y="102"/>
                    <a:pt x="157" y="102"/>
                    <a:pt x="157" y="102"/>
                  </a:cubicBezTo>
                  <a:cubicBezTo>
                    <a:pt x="159" y="102"/>
                    <a:pt x="159" y="102"/>
                    <a:pt x="159" y="102"/>
                  </a:cubicBezTo>
                  <a:cubicBezTo>
                    <a:pt x="157" y="104"/>
                    <a:pt x="157" y="104"/>
                    <a:pt x="157" y="104"/>
                  </a:cubicBezTo>
                  <a:cubicBezTo>
                    <a:pt x="155" y="104"/>
                    <a:pt x="155" y="104"/>
                    <a:pt x="155" y="104"/>
                  </a:cubicBezTo>
                  <a:cubicBezTo>
                    <a:pt x="153" y="104"/>
                    <a:pt x="153" y="104"/>
                    <a:pt x="153" y="104"/>
                  </a:cubicBezTo>
                  <a:cubicBezTo>
                    <a:pt x="155" y="106"/>
                    <a:pt x="155" y="106"/>
                    <a:pt x="155" y="106"/>
                  </a:cubicBezTo>
                  <a:cubicBezTo>
                    <a:pt x="157" y="108"/>
                    <a:pt x="157" y="108"/>
                    <a:pt x="157" y="108"/>
                  </a:cubicBezTo>
                  <a:cubicBezTo>
                    <a:pt x="155" y="108"/>
                    <a:pt x="155" y="108"/>
                    <a:pt x="155" y="108"/>
                  </a:cubicBezTo>
                  <a:cubicBezTo>
                    <a:pt x="153" y="109"/>
                    <a:pt x="153" y="109"/>
                    <a:pt x="153" y="109"/>
                  </a:cubicBezTo>
                  <a:cubicBezTo>
                    <a:pt x="155" y="113"/>
                    <a:pt x="155" y="113"/>
                    <a:pt x="155" y="113"/>
                  </a:cubicBezTo>
                  <a:cubicBezTo>
                    <a:pt x="153" y="115"/>
                    <a:pt x="153" y="115"/>
                    <a:pt x="153" y="115"/>
                  </a:cubicBezTo>
                  <a:cubicBezTo>
                    <a:pt x="152" y="111"/>
                    <a:pt x="152" y="111"/>
                    <a:pt x="152" y="111"/>
                  </a:cubicBezTo>
                  <a:cubicBezTo>
                    <a:pt x="152" y="109"/>
                    <a:pt x="152" y="109"/>
                    <a:pt x="152" y="109"/>
                  </a:cubicBezTo>
                  <a:cubicBezTo>
                    <a:pt x="150" y="106"/>
                    <a:pt x="150" y="106"/>
                    <a:pt x="150" y="106"/>
                  </a:cubicBezTo>
                  <a:cubicBezTo>
                    <a:pt x="148" y="108"/>
                    <a:pt x="148" y="108"/>
                    <a:pt x="148" y="108"/>
                  </a:cubicBezTo>
                  <a:cubicBezTo>
                    <a:pt x="146" y="109"/>
                    <a:pt x="146" y="109"/>
                    <a:pt x="146" y="109"/>
                  </a:cubicBezTo>
                  <a:cubicBezTo>
                    <a:pt x="144" y="108"/>
                    <a:pt x="144" y="108"/>
                    <a:pt x="144" y="108"/>
                  </a:cubicBezTo>
                  <a:cubicBezTo>
                    <a:pt x="144" y="106"/>
                    <a:pt x="144" y="106"/>
                    <a:pt x="144" y="106"/>
                  </a:cubicBezTo>
                  <a:cubicBezTo>
                    <a:pt x="142" y="106"/>
                    <a:pt x="142" y="106"/>
                    <a:pt x="142" y="106"/>
                  </a:cubicBezTo>
                  <a:cubicBezTo>
                    <a:pt x="141" y="108"/>
                    <a:pt x="141" y="108"/>
                    <a:pt x="141" y="108"/>
                  </a:cubicBezTo>
                  <a:cubicBezTo>
                    <a:pt x="142" y="111"/>
                    <a:pt x="142" y="111"/>
                    <a:pt x="142" y="111"/>
                  </a:cubicBezTo>
                  <a:cubicBezTo>
                    <a:pt x="146" y="111"/>
                    <a:pt x="146" y="111"/>
                    <a:pt x="146" y="111"/>
                  </a:cubicBezTo>
                  <a:cubicBezTo>
                    <a:pt x="150" y="113"/>
                    <a:pt x="150" y="113"/>
                    <a:pt x="150" y="113"/>
                  </a:cubicBezTo>
                  <a:cubicBezTo>
                    <a:pt x="148" y="115"/>
                    <a:pt x="148" y="115"/>
                    <a:pt x="148" y="115"/>
                  </a:cubicBezTo>
                  <a:cubicBezTo>
                    <a:pt x="141" y="117"/>
                    <a:pt x="141" y="117"/>
                    <a:pt x="141" y="117"/>
                  </a:cubicBezTo>
                  <a:cubicBezTo>
                    <a:pt x="141" y="115"/>
                    <a:pt x="141" y="115"/>
                    <a:pt x="141" y="115"/>
                  </a:cubicBezTo>
                  <a:cubicBezTo>
                    <a:pt x="137" y="115"/>
                    <a:pt x="137" y="115"/>
                    <a:pt x="137" y="115"/>
                  </a:cubicBezTo>
                  <a:cubicBezTo>
                    <a:pt x="137" y="118"/>
                    <a:pt x="137" y="118"/>
                    <a:pt x="137" y="118"/>
                  </a:cubicBezTo>
                  <a:cubicBezTo>
                    <a:pt x="139" y="120"/>
                    <a:pt x="139" y="120"/>
                    <a:pt x="139" y="120"/>
                  </a:cubicBezTo>
                  <a:cubicBezTo>
                    <a:pt x="137" y="122"/>
                    <a:pt x="137" y="122"/>
                    <a:pt x="137" y="122"/>
                  </a:cubicBezTo>
                  <a:cubicBezTo>
                    <a:pt x="139" y="122"/>
                    <a:pt x="139" y="122"/>
                    <a:pt x="139" y="122"/>
                  </a:cubicBezTo>
                  <a:cubicBezTo>
                    <a:pt x="142" y="118"/>
                    <a:pt x="142" y="118"/>
                    <a:pt x="142" y="118"/>
                  </a:cubicBezTo>
                  <a:cubicBezTo>
                    <a:pt x="144" y="118"/>
                    <a:pt x="144" y="118"/>
                    <a:pt x="144" y="118"/>
                  </a:cubicBezTo>
                  <a:cubicBezTo>
                    <a:pt x="146" y="120"/>
                    <a:pt x="146" y="120"/>
                    <a:pt x="146" y="120"/>
                  </a:cubicBezTo>
                  <a:cubicBezTo>
                    <a:pt x="142" y="122"/>
                    <a:pt x="142" y="122"/>
                    <a:pt x="142" y="122"/>
                  </a:cubicBezTo>
                  <a:cubicBezTo>
                    <a:pt x="141" y="124"/>
                    <a:pt x="141" y="124"/>
                    <a:pt x="141" y="124"/>
                  </a:cubicBezTo>
                  <a:cubicBezTo>
                    <a:pt x="142" y="128"/>
                    <a:pt x="142" y="128"/>
                    <a:pt x="142" y="128"/>
                  </a:cubicBezTo>
                  <a:cubicBezTo>
                    <a:pt x="146" y="129"/>
                    <a:pt x="146" y="129"/>
                    <a:pt x="146" y="129"/>
                  </a:cubicBezTo>
                  <a:cubicBezTo>
                    <a:pt x="146" y="131"/>
                    <a:pt x="146" y="131"/>
                    <a:pt x="146" y="131"/>
                  </a:cubicBezTo>
                  <a:cubicBezTo>
                    <a:pt x="144" y="129"/>
                    <a:pt x="144" y="129"/>
                    <a:pt x="144" y="129"/>
                  </a:cubicBezTo>
                  <a:cubicBezTo>
                    <a:pt x="142" y="131"/>
                    <a:pt x="142" y="131"/>
                    <a:pt x="142" y="131"/>
                  </a:cubicBezTo>
                  <a:cubicBezTo>
                    <a:pt x="139" y="128"/>
                    <a:pt x="139" y="128"/>
                    <a:pt x="139" y="128"/>
                  </a:cubicBezTo>
                  <a:cubicBezTo>
                    <a:pt x="137" y="128"/>
                    <a:pt x="137" y="128"/>
                    <a:pt x="137" y="128"/>
                  </a:cubicBezTo>
                  <a:cubicBezTo>
                    <a:pt x="135" y="129"/>
                    <a:pt x="135" y="129"/>
                    <a:pt x="135" y="129"/>
                  </a:cubicBezTo>
                  <a:cubicBezTo>
                    <a:pt x="137" y="131"/>
                    <a:pt x="137" y="131"/>
                    <a:pt x="137" y="131"/>
                  </a:cubicBezTo>
                  <a:cubicBezTo>
                    <a:pt x="135" y="131"/>
                    <a:pt x="135" y="131"/>
                    <a:pt x="135" y="131"/>
                  </a:cubicBezTo>
                  <a:cubicBezTo>
                    <a:pt x="132" y="133"/>
                    <a:pt x="132" y="133"/>
                    <a:pt x="132" y="133"/>
                  </a:cubicBezTo>
                  <a:cubicBezTo>
                    <a:pt x="132" y="137"/>
                    <a:pt x="132" y="137"/>
                    <a:pt x="132" y="137"/>
                  </a:cubicBezTo>
                  <a:cubicBezTo>
                    <a:pt x="135" y="137"/>
                    <a:pt x="135" y="137"/>
                    <a:pt x="135" y="137"/>
                  </a:cubicBezTo>
                  <a:cubicBezTo>
                    <a:pt x="137" y="135"/>
                    <a:pt x="137" y="135"/>
                    <a:pt x="137" y="135"/>
                  </a:cubicBezTo>
                  <a:cubicBezTo>
                    <a:pt x="139" y="137"/>
                    <a:pt x="139" y="137"/>
                    <a:pt x="139" y="137"/>
                  </a:cubicBezTo>
                  <a:cubicBezTo>
                    <a:pt x="142" y="137"/>
                    <a:pt x="142" y="137"/>
                    <a:pt x="142" y="137"/>
                  </a:cubicBezTo>
                  <a:cubicBezTo>
                    <a:pt x="142" y="139"/>
                    <a:pt x="142" y="139"/>
                    <a:pt x="142" y="139"/>
                  </a:cubicBezTo>
                  <a:cubicBezTo>
                    <a:pt x="146" y="140"/>
                    <a:pt x="146" y="140"/>
                    <a:pt x="146" y="140"/>
                  </a:cubicBezTo>
                  <a:cubicBezTo>
                    <a:pt x="146" y="142"/>
                    <a:pt x="146" y="142"/>
                    <a:pt x="146" y="142"/>
                  </a:cubicBezTo>
                  <a:cubicBezTo>
                    <a:pt x="141" y="139"/>
                    <a:pt x="141" y="139"/>
                    <a:pt x="141" y="139"/>
                  </a:cubicBezTo>
                  <a:cubicBezTo>
                    <a:pt x="137" y="139"/>
                    <a:pt x="137" y="139"/>
                    <a:pt x="137" y="139"/>
                  </a:cubicBezTo>
                  <a:cubicBezTo>
                    <a:pt x="135" y="140"/>
                    <a:pt x="135" y="140"/>
                    <a:pt x="135" y="140"/>
                  </a:cubicBezTo>
                  <a:cubicBezTo>
                    <a:pt x="132" y="140"/>
                    <a:pt x="132" y="140"/>
                    <a:pt x="132" y="140"/>
                  </a:cubicBezTo>
                  <a:cubicBezTo>
                    <a:pt x="132" y="144"/>
                    <a:pt x="132" y="144"/>
                    <a:pt x="132" y="144"/>
                  </a:cubicBezTo>
                  <a:cubicBezTo>
                    <a:pt x="128" y="146"/>
                    <a:pt x="128" y="146"/>
                    <a:pt x="128" y="146"/>
                  </a:cubicBezTo>
                  <a:cubicBezTo>
                    <a:pt x="126" y="144"/>
                    <a:pt x="126" y="144"/>
                    <a:pt x="126" y="144"/>
                  </a:cubicBezTo>
                  <a:cubicBezTo>
                    <a:pt x="122" y="146"/>
                    <a:pt x="122" y="146"/>
                    <a:pt x="122" y="146"/>
                  </a:cubicBezTo>
                  <a:cubicBezTo>
                    <a:pt x="121" y="146"/>
                    <a:pt x="121" y="146"/>
                    <a:pt x="121" y="146"/>
                  </a:cubicBezTo>
                  <a:cubicBezTo>
                    <a:pt x="121" y="148"/>
                    <a:pt x="121" y="148"/>
                    <a:pt x="121" y="148"/>
                  </a:cubicBezTo>
                  <a:cubicBezTo>
                    <a:pt x="122" y="149"/>
                    <a:pt x="122" y="149"/>
                    <a:pt x="122" y="149"/>
                  </a:cubicBezTo>
                  <a:cubicBezTo>
                    <a:pt x="124" y="151"/>
                    <a:pt x="124" y="151"/>
                    <a:pt x="124" y="151"/>
                  </a:cubicBezTo>
                  <a:cubicBezTo>
                    <a:pt x="122" y="153"/>
                    <a:pt x="122" y="153"/>
                    <a:pt x="122" y="153"/>
                  </a:cubicBezTo>
                  <a:cubicBezTo>
                    <a:pt x="121" y="151"/>
                    <a:pt x="121" y="151"/>
                    <a:pt x="121" y="151"/>
                  </a:cubicBezTo>
                  <a:cubicBezTo>
                    <a:pt x="121" y="153"/>
                    <a:pt x="121" y="153"/>
                    <a:pt x="121" y="153"/>
                  </a:cubicBezTo>
                  <a:cubicBezTo>
                    <a:pt x="122" y="155"/>
                    <a:pt x="122" y="155"/>
                    <a:pt x="122" y="155"/>
                  </a:cubicBezTo>
                  <a:cubicBezTo>
                    <a:pt x="121" y="157"/>
                    <a:pt x="121" y="157"/>
                    <a:pt x="121" y="157"/>
                  </a:cubicBezTo>
                  <a:cubicBezTo>
                    <a:pt x="119" y="155"/>
                    <a:pt x="119" y="155"/>
                    <a:pt x="119" y="155"/>
                  </a:cubicBezTo>
                  <a:cubicBezTo>
                    <a:pt x="117" y="155"/>
                    <a:pt x="117" y="155"/>
                    <a:pt x="117" y="155"/>
                  </a:cubicBezTo>
                  <a:cubicBezTo>
                    <a:pt x="117" y="155"/>
                    <a:pt x="117" y="155"/>
                    <a:pt x="117" y="155"/>
                  </a:cubicBezTo>
                  <a:cubicBezTo>
                    <a:pt x="119" y="157"/>
                    <a:pt x="119" y="157"/>
                    <a:pt x="119" y="157"/>
                  </a:cubicBezTo>
                  <a:cubicBezTo>
                    <a:pt x="117" y="159"/>
                    <a:pt x="117" y="159"/>
                    <a:pt x="117" y="159"/>
                  </a:cubicBezTo>
                  <a:cubicBezTo>
                    <a:pt x="119" y="160"/>
                    <a:pt x="119" y="160"/>
                    <a:pt x="119" y="160"/>
                  </a:cubicBezTo>
                  <a:cubicBezTo>
                    <a:pt x="121" y="160"/>
                    <a:pt x="121" y="160"/>
                    <a:pt x="121" y="160"/>
                  </a:cubicBezTo>
                  <a:cubicBezTo>
                    <a:pt x="119" y="162"/>
                    <a:pt x="119" y="162"/>
                    <a:pt x="119" y="162"/>
                  </a:cubicBezTo>
                  <a:cubicBezTo>
                    <a:pt x="115" y="162"/>
                    <a:pt x="115" y="162"/>
                    <a:pt x="115" y="162"/>
                  </a:cubicBezTo>
                  <a:cubicBezTo>
                    <a:pt x="115" y="160"/>
                    <a:pt x="115" y="160"/>
                    <a:pt x="115" y="160"/>
                  </a:cubicBezTo>
                  <a:cubicBezTo>
                    <a:pt x="115" y="162"/>
                    <a:pt x="115" y="162"/>
                    <a:pt x="115" y="162"/>
                  </a:cubicBezTo>
                  <a:cubicBezTo>
                    <a:pt x="113" y="164"/>
                    <a:pt x="113" y="164"/>
                    <a:pt x="113" y="164"/>
                  </a:cubicBezTo>
                  <a:cubicBezTo>
                    <a:pt x="115" y="166"/>
                    <a:pt x="115" y="166"/>
                    <a:pt x="115" y="166"/>
                  </a:cubicBezTo>
                  <a:cubicBezTo>
                    <a:pt x="121" y="168"/>
                    <a:pt x="121" y="168"/>
                    <a:pt x="121" y="168"/>
                  </a:cubicBezTo>
                  <a:cubicBezTo>
                    <a:pt x="121" y="170"/>
                    <a:pt x="121" y="170"/>
                    <a:pt x="121" y="170"/>
                  </a:cubicBezTo>
                  <a:cubicBezTo>
                    <a:pt x="122" y="170"/>
                    <a:pt x="122" y="170"/>
                    <a:pt x="122" y="170"/>
                  </a:cubicBezTo>
                  <a:cubicBezTo>
                    <a:pt x="124" y="168"/>
                    <a:pt x="124" y="168"/>
                    <a:pt x="124" y="168"/>
                  </a:cubicBezTo>
                  <a:cubicBezTo>
                    <a:pt x="122" y="170"/>
                    <a:pt x="122" y="170"/>
                    <a:pt x="122" y="170"/>
                  </a:cubicBezTo>
                  <a:cubicBezTo>
                    <a:pt x="122" y="171"/>
                    <a:pt x="122" y="171"/>
                    <a:pt x="122" y="171"/>
                  </a:cubicBezTo>
                  <a:cubicBezTo>
                    <a:pt x="121" y="171"/>
                    <a:pt x="121" y="171"/>
                    <a:pt x="121" y="171"/>
                  </a:cubicBezTo>
                  <a:cubicBezTo>
                    <a:pt x="119" y="171"/>
                    <a:pt x="119" y="171"/>
                    <a:pt x="119" y="171"/>
                  </a:cubicBezTo>
                  <a:cubicBezTo>
                    <a:pt x="113" y="171"/>
                    <a:pt x="113" y="171"/>
                    <a:pt x="113" y="171"/>
                  </a:cubicBezTo>
                  <a:cubicBezTo>
                    <a:pt x="111" y="173"/>
                    <a:pt x="111" y="173"/>
                    <a:pt x="111" y="173"/>
                  </a:cubicBezTo>
                  <a:cubicBezTo>
                    <a:pt x="111" y="175"/>
                    <a:pt x="111" y="175"/>
                    <a:pt x="111" y="175"/>
                  </a:cubicBezTo>
                  <a:cubicBezTo>
                    <a:pt x="115" y="175"/>
                    <a:pt x="115" y="175"/>
                    <a:pt x="115" y="175"/>
                  </a:cubicBezTo>
                  <a:cubicBezTo>
                    <a:pt x="115" y="177"/>
                    <a:pt x="115" y="177"/>
                    <a:pt x="115" y="177"/>
                  </a:cubicBezTo>
                  <a:cubicBezTo>
                    <a:pt x="117" y="179"/>
                    <a:pt x="117" y="179"/>
                    <a:pt x="117" y="179"/>
                  </a:cubicBezTo>
                  <a:cubicBezTo>
                    <a:pt x="117" y="180"/>
                    <a:pt x="117" y="180"/>
                    <a:pt x="117" y="180"/>
                  </a:cubicBezTo>
                  <a:cubicBezTo>
                    <a:pt x="115" y="179"/>
                    <a:pt x="115" y="179"/>
                    <a:pt x="115" y="179"/>
                  </a:cubicBezTo>
                  <a:cubicBezTo>
                    <a:pt x="113" y="179"/>
                    <a:pt x="113" y="179"/>
                    <a:pt x="113" y="179"/>
                  </a:cubicBezTo>
                  <a:cubicBezTo>
                    <a:pt x="111" y="180"/>
                    <a:pt x="111" y="180"/>
                    <a:pt x="111" y="180"/>
                  </a:cubicBezTo>
                  <a:cubicBezTo>
                    <a:pt x="111" y="184"/>
                    <a:pt x="111" y="184"/>
                    <a:pt x="111" y="184"/>
                  </a:cubicBezTo>
                  <a:cubicBezTo>
                    <a:pt x="111" y="184"/>
                    <a:pt x="111" y="184"/>
                    <a:pt x="111" y="184"/>
                  </a:cubicBezTo>
                  <a:cubicBezTo>
                    <a:pt x="113" y="186"/>
                    <a:pt x="113" y="186"/>
                    <a:pt x="113" y="186"/>
                  </a:cubicBezTo>
                  <a:cubicBezTo>
                    <a:pt x="113" y="188"/>
                    <a:pt x="113" y="188"/>
                    <a:pt x="113" y="188"/>
                  </a:cubicBezTo>
                  <a:cubicBezTo>
                    <a:pt x="111" y="188"/>
                    <a:pt x="111" y="188"/>
                    <a:pt x="111" y="188"/>
                  </a:cubicBezTo>
                  <a:cubicBezTo>
                    <a:pt x="110" y="186"/>
                    <a:pt x="110" y="186"/>
                    <a:pt x="110" y="186"/>
                  </a:cubicBezTo>
                  <a:cubicBezTo>
                    <a:pt x="110" y="188"/>
                    <a:pt x="110" y="188"/>
                    <a:pt x="110" y="188"/>
                  </a:cubicBezTo>
                  <a:cubicBezTo>
                    <a:pt x="110" y="190"/>
                    <a:pt x="110" y="190"/>
                    <a:pt x="110" y="190"/>
                  </a:cubicBezTo>
                  <a:cubicBezTo>
                    <a:pt x="111" y="191"/>
                    <a:pt x="111" y="191"/>
                    <a:pt x="111" y="191"/>
                  </a:cubicBezTo>
                  <a:cubicBezTo>
                    <a:pt x="111" y="191"/>
                    <a:pt x="111" y="191"/>
                    <a:pt x="111" y="191"/>
                  </a:cubicBezTo>
                  <a:cubicBezTo>
                    <a:pt x="111" y="193"/>
                    <a:pt x="111" y="193"/>
                    <a:pt x="111" y="193"/>
                  </a:cubicBezTo>
                  <a:cubicBezTo>
                    <a:pt x="108" y="191"/>
                    <a:pt x="108" y="191"/>
                    <a:pt x="108" y="191"/>
                  </a:cubicBezTo>
                  <a:cubicBezTo>
                    <a:pt x="106" y="193"/>
                    <a:pt x="106" y="193"/>
                    <a:pt x="106" y="193"/>
                  </a:cubicBezTo>
                  <a:cubicBezTo>
                    <a:pt x="106" y="195"/>
                    <a:pt x="106" y="195"/>
                    <a:pt x="106" y="195"/>
                  </a:cubicBezTo>
                  <a:cubicBezTo>
                    <a:pt x="108" y="195"/>
                    <a:pt x="108" y="195"/>
                    <a:pt x="108" y="195"/>
                  </a:cubicBezTo>
                  <a:cubicBezTo>
                    <a:pt x="108" y="199"/>
                    <a:pt x="108" y="199"/>
                    <a:pt x="108" y="199"/>
                  </a:cubicBezTo>
                  <a:cubicBezTo>
                    <a:pt x="110" y="200"/>
                    <a:pt x="110" y="200"/>
                    <a:pt x="110" y="200"/>
                  </a:cubicBezTo>
                  <a:cubicBezTo>
                    <a:pt x="111" y="200"/>
                    <a:pt x="111" y="200"/>
                    <a:pt x="111" y="200"/>
                  </a:cubicBezTo>
                  <a:cubicBezTo>
                    <a:pt x="111" y="199"/>
                    <a:pt x="111" y="199"/>
                    <a:pt x="111" y="199"/>
                  </a:cubicBezTo>
                  <a:cubicBezTo>
                    <a:pt x="113" y="199"/>
                    <a:pt x="113" y="199"/>
                    <a:pt x="113" y="199"/>
                  </a:cubicBezTo>
                  <a:cubicBezTo>
                    <a:pt x="111" y="202"/>
                    <a:pt x="111" y="202"/>
                    <a:pt x="111" y="202"/>
                  </a:cubicBezTo>
                  <a:cubicBezTo>
                    <a:pt x="110" y="202"/>
                    <a:pt x="110" y="202"/>
                    <a:pt x="110" y="202"/>
                  </a:cubicBezTo>
                  <a:cubicBezTo>
                    <a:pt x="108" y="206"/>
                    <a:pt x="108" y="206"/>
                    <a:pt x="108" y="206"/>
                  </a:cubicBezTo>
                  <a:cubicBezTo>
                    <a:pt x="104" y="206"/>
                    <a:pt x="104" y="206"/>
                    <a:pt x="104" y="206"/>
                  </a:cubicBezTo>
                  <a:cubicBezTo>
                    <a:pt x="102" y="206"/>
                    <a:pt x="102" y="206"/>
                    <a:pt x="102" y="206"/>
                  </a:cubicBezTo>
                  <a:cubicBezTo>
                    <a:pt x="102" y="208"/>
                    <a:pt x="102" y="208"/>
                    <a:pt x="102" y="208"/>
                  </a:cubicBezTo>
                  <a:cubicBezTo>
                    <a:pt x="100" y="210"/>
                    <a:pt x="100" y="210"/>
                    <a:pt x="100" y="210"/>
                  </a:cubicBezTo>
                  <a:cubicBezTo>
                    <a:pt x="97" y="211"/>
                    <a:pt x="97" y="211"/>
                    <a:pt x="97" y="211"/>
                  </a:cubicBezTo>
                  <a:cubicBezTo>
                    <a:pt x="100" y="213"/>
                    <a:pt x="100" y="213"/>
                    <a:pt x="100" y="213"/>
                  </a:cubicBezTo>
                  <a:cubicBezTo>
                    <a:pt x="99" y="213"/>
                    <a:pt x="99" y="213"/>
                    <a:pt x="99" y="213"/>
                  </a:cubicBezTo>
                  <a:cubicBezTo>
                    <a:pt x="95" y="215"/>
                    <a:pt x="95" y="215"/>
                    <a:pt x="95" y="215"/>
                  </a:cubicBezTo>
                  <a:cubicBezTo>
                    <a:pt x="93" y="217"/>
                    <a:pt x="93" y="217"/>
                    <a:pt x="93" y="217"/>
                  </a:cubicBezTo>
                  <a:cubicBezTo>
                    <a:pt x="93" y="219"/>
                    <a:pt x="93" y="219"/>
                    <a:pt x="93" y="219"/>
                  </a:cubicBezTo>
                  <a:cubicBezTo>
                    <a:pt x="97" y="219"/>
                    <a:pt x="97" y="219"/>
                    <a:pt x="97" y="219"/>
                  </a:cubicBezTo>
                  <a:cubicBezTo>
                    <a:pt x="93" y="221"/>
                    <a:pt x="93" y="221"/>
                    <a:pt x="93" y="221"/>
                  </a:cubicBezTo>
                  <a:cubicBezTo>
                    <a:pt x="93" y="224"/>
                    <a:pt x="93" y="224"/>
                    <a:pt x="93" y="224"/>
                  </a:cubicBezTo>
                  <a:cubicBezTo>
                    <a:pt x="90" y="224"/>
                    <a:pt x="90" y="224"/>
                    <a:pt x="90" y="224"/>
                  </a:cubicBezTo>
                  <a:cubicBezTo>
                    <a:pt x="90" y="221"/>
                    <a:pt x="90" y="221"/>
                    <a:pt x="90" y="221"/>
                  </a:cubicBezTo>
                  <a:cubicBezTo>
                    <a:pt x="88" y="221"/>
                    <a:pt x="88" y="221"/>
                    <a:pt x="88" y="221"/>
                  </a:cubicBezTo>
                  <a:cubicBezTo>
                    <a:pt x="88" y="222"/>
                    <a:pt x="88" y="222"/>
                    <a:pt x="88" y="222"/>
                  </a:cubicBezTo>
                  <a:cubicBezTo>
                    <a:pt x="84" y="222"/>
                    <a:pt x="84" y="222"/>
                    <a:pt x="84" y="222"/>
                  </a:cubicBezTo>
                  <a:cubicBezTo>
                    <a:pt x="86" y="224"/>
                    <a:pt x="86" y="224"/>
                    <a:pt x="86" y="224"/>
                  </a:cubicBezTo>
                  <a:cubicBezTo>
                    <a:pt x="84" y="226"/>
                    <a:pt x="84" y="226"/>
                    <a:pt x="84" y="226"/>
                  </a:cubicBezTo>
                  <a:cubicBezTo>
                    <a:pt x="84" y="228"/>
                    <a:pt x="84" y="228"/>
                    <a:pt x="84" y="228"/>
                  </a:cubicBezTo>
                  <a:cubicBezTo>
                    <a:pt x="84" y="230"/>
                    <a:pt x="84" y="230"/>
                    <a:pt x="84" y="230"/>
                  </a:cubicBezTo>
                  <a:cubicBezTo>
                    <a:pt x="80" y="230"/>
                    <a:pt x="80" y="230"/>
                    <a:pt x="80" y="230"/>
                  </a:cubicBezTo>
                  <a:cubicBezTo>
                    <a:pt x="79" y="230"/>
                    <a:pt x="79" y="230"/>
                    <a:pt x="79" y="230"/>
                  </a:cubicBezTo>
                  <a:cubicBezTo>
                    <a:pt x="79" y="233"/>
                    <a:pt x="79" y="233"/>
                    <a:pt x="79" y="233"/>
                  </a:cubicBezTo>
                  <a:cubicBezTo>
                    <a:pt x="77" y="235"/>
                    <a:pt x="77" y="235"/>
                    <a:pt x="77" y="235"/>
                  </a:cubicBezTo>
                  <a:cubicBezTo>
                    <a:pt x="77" y="237"/>
                    <a:pt x="77" y="237"/>
                    <a:pt x="77" y="237"/>
                  </a:cubicBezTo>
                  <a:cubicBezTo>
                    <a:pt x="77" y="241"/>
                    <a:pt x="77" y="241"/>
                    <a:pt x="77" y="241"/>
                  </a:cubicBezTo>
                  <a:cubicBezTo>
                    <a:pt x="73" y="242"/>
                    <a:pt x="73" y="242"/>
                    <a:pt x="73" y="242"/>
                  </a:cubicBezTo>
                  <a:cubicBezTo>
                    <a:pt x="71" y="244"/>
                    <a:pt x="71" y="244"/>
                    <a:pt x="71" y="244"/>
                  </a:cubicBezTo>
                  <a:cubicBezTo>
                    <a:pt x="71" y="246"/>
                    <a:pt x="71" y="246"/>
                    <a:pt x="71" y="246"/>
                  </a:cubicBezTo>
                  <a:cubicBezTo>
                    <a:pt x="75" y="244"/>
                    <a:pt x="75" y="244"/>
                    <a:pt x="75" y="244"/>
                  </a:cubicBezTo>
                  <a:cubicBezTo>
                    <a:pt x="77" y="244"/>
                    <a:pt x="77" y="244"/>
                    <a:pt x="77" y="244"/>
                  </a:cubicBezTo>
                  <a:cubicBezTo>
                    <a:pt x="77" y="246"/>
                    <a:pt x="77" y="246"/>
                    <a:pt x="77" y="246"/>
                  </a:cubicBezTo>
                  <a:cubicBezTo>
                    <a:pt x="75" y="246"/>
                    <a:pt x="75" y="246"/>
                    <a:pt x="75" y="246"/>
                  </a:cubicBezTo>
                  <a:cubicBezTo>
                    <a:pt x="75" y="250"/>
                    <a:pt x="75" y="250"/>
                    <a:pt x="75" y="250"/>
                  </a:cubicBezTo>
                  <a:cubicBezTo>
                    <a:pt x="77" y="253"/>
                    <a:pt x="77" y="253"/>
                    <a:pt x="77" y="253"/>
                  </a:cubicBezTo>
                  <a:cubicBezTo>
                    <a:pt x="80" y="252"/>
                    <a:pt x="80" y="252"/>
                    <a:pt x="80" y="252"/>
                  </a:cubicBezTo>
                  <a:cubicBezTo>
                    <a:pt x="84" y="250"/>
                    <a:pt x="84" y="250"/>
                    <a:pt x="84" y="250"/>
                  </a:cubicBezTo>
                  <a:cubicBezTo>
                    <a:pt x="90" y="244"/>
                    <a:pt x="90" y="244"/>
                    <a:pt x="90" y="244"/>
                  </a:cubicBezTo>
                  <a:cubicBezTo>
                    <a:pt x="90" y="242"/>
                    <a:pt x="90" y="242"/>
                    <a:pt x="90" y="242"/>
                  </a:cubicBezTo>
                  <a:cubicBezTo>
                    <a:pt x="86" y="244"/>
                    <a:pt x="86" y="244"/>
                    <a:pt x="86" y="244"/>
                  </a:cubicBezTo>
                  <a:cubicBezTo>
                    <a:pt x="88" y="241"/>
                    <a:pt x="88" y="241"/>
                    <a:pt x="88" y="241"/>
                  </a:cubicBezTo>
                  <a:cubicBezTo>
                    <a:pt x="90" y="237"/>
                    <a:pt x="90" y="237"/>
                    <a:pt x="90" y="237"/>
                  </a:cubicBezTo>
                  <a:cubicBezTo>
                    <a:pt x="90" y="237"/>
                    <a:pt x="90" y="237"/>
                    <a:pt x="90" y="237"/>
                  </a:cubicBezTo>
                  <a:cubicBezTo>
                    <a:pt x="91" y="235"/>
                    <a:pt x="91" y="235"/>
                    <a:pt x="91" y="235"/>
                  </a:cubicBezTo>
                  <a:cubicBezTo>
                    <a:pt x="95" y="235"/>
                    <a:pt x="95" y="235"/>
                    <a:pt x="95" y="235"/>
                  </a:cubicBezTo>
                  <a:cubicBezTo>
                    <a:pt x="97" y="235"/>
                    <a:pt x="97" y="235"/>
                    <a:pt x="97" y="235"/>
                  </a:cubicBezTo>
                  <a:cubicBezTo>
                    <a:pt x="91" y="239"/>
                    <a:pt x="91" y="239"/>
                    <a:pt x="91" y="239"/>
                  </a:cubicBezTo>
                  <a:cubicBezTo>
                    <a:pt x="91" y="241"/>
                    <a:pt x="91" y="241"/>
                    <a:pt x="91" y="241"/>
                  </a:cubicBezTo>
                  <a:cubicBezTo>
                    <a:pt x="97" y="242"/>
                    <a:pt x="97" y="242"/>
                    <a:pt x="97" y="242"/>
                  </a:cubicBezTo>
                  <a:cubicBezTo>
                    <a:pt x="95" y="244"/>
                    <a:pt x="95" y="244"/>
                    <a:pt x="95" y="244"/>
                  </a:cubicBezTo>
                  <a:cubicBezTo>
                    <a:pt x="93" y="244"/>
                    <a:pt x="93" y="244"/>
                    <a:pt x="93" y="244"/>
                  </a:cubicBezTo>
                  <a:cubicBezTo>
                    <a:pt x="88" y="250"/>
                    <a:pt x="88" y="250"/>
                    <a:pt x="88" y="250"/>
                  </a:cubicBezTo>
                  <a:cubicBezTo>
                    <a:pt x="91" y="252"/>
                    <a:pt x="91" y="252"/>
                    <a:pt x="91" y="252"/>
                  </a:cubicBezTo>
                  <a:cubicBezTo>
                    <a:pt x="90" y="253"/>
                    <a:pt x="90" y="253"/>
                    <a:pt x="90" y="253"/>
                  </a:cubicBezTo>
                  <a:cubicBezTo>
                    <a:pt x="90" y="257"/>
                    <a:pt x="90" y="257"/>
                    <a:pt x="90" y="257"/>
                  </a:cubicBezTo>
                  <a:cubicBezTo>
                    <a:pt x="86" y="257"/>
                    <a:pt x="86" y="257"/>
                    <a:pt x="86" y="257"/>
                  </a:cubicBezTo>
                  <a:cubicBezTo>
                    <a:pt x="84" y="253"/>
                    <a:pt x="84" y="253"/>
                    <a:pt x="84" y="253"/>
                  </a:cubicBezTo>
                  <a:cubicBezTo>
                    <a:pt x="80" y="253"/>
                    <a:pt x="80" y="253"/>
                    <a:pt x="80" y="253"/>
                  </a:cubicBezTo>
                  <a:cubicBezTo>
                    <a:pt x="79" y="255"/>
                    <a:pt x="79" y="255"/>
                    <a:pt x="79" y="255"/>
                  </a:cubicBezTo>
                  <a:cubicBezTo>
                    <a:pt x="79" y="259"/>
                    <a:pt x="79" y="259"/>
                    <a:pt x="79" y="259"/>
                  </a:cubicBezTo>
                  <a:cubicBezTo>
                    <a:pt x="75" y="261"/>
                    <a:pt x="75" y="261"/>
                    <a:pt x="75" y="261"/>
                  </a:cubicBezTo>
                  <a:cubicBezTo>
                    <a:pt x="73" y="261"/>
                    <a:pt x="73" y="261"/>
                    <a:pt x="73" y="261"/>
                  </a:cubicBezTo>
                  <a:cubicBezTo>
                    <a:pt x="75" y="259"/>
                    <a:pt x="75" y="259"/>
                    <a:pt x="75" y="259"/>
                  </a:cubicBezTo>
                  <a:cubicBezTo>
                    <a:pt x="75" y="259"/>
                    <a:pt x="75" y="259"/>
                    <a:pt x="75" y="259"/>
                  </a:cubicBezTo>
                  <a:cubicBezTo>
                    <a:pt x="73" y="255"/>
                    <a:pt x="73" y="255"/>
                    <a:pt x="73" y="255"/>
                  </a:cubicBezTo>
                  <a:cubicBezTo>
                    <a:pt x="73" y="252"/>
                    <a:pt x="73" y="252"/>
                    <a:pt x="73" y="252"/>
                  </a:cubicBezTo>
                  <a:cubicBezTo>
                    <a:pt x="71" y="250"/>
                    <a:pt x="71" y="250"/>
                    <a:pt x="71" y="250"/>
                  </a:cubicBezTo>
                  <a:cubicBezTo>
                    <a:pt x="69" y="250"/>
                    <a:pt x="69" y="250"/>
                    <a:pt x="69" y="250"/>
                  </a:cubicBezTo>
                  <a:cubicBezTo>
                    <a:pt x="68" y="252"/>
                    <a:pt x="68" y="252"/>
                    <a:pt x="68" y="252"/>
                  </a:cubicBezTo>
                  <a:cubicBezTo>
                    <a:pt x="64" y="252"/>
                    <a:pt x="64" y="252"/>
                    <a:pt x="64" y="252"/>
                  </a:cubicBezTo>
                  <a:cubicBezTo>
                    <a:pt x="64" y="253"/>
                    <a:pt x="64" y="253"/>
                    <a:pt x="64" y="253"/>
                  </a:cubicBezTo>
                  <a:cubicBezTo>
                    <a:pt x="69" y="253"/>
                    <a:pt x="69" y="253"/>
                    <a:pt x="69" y="253"/>
                  </a:cubicBezTo>
                  <a:cubicBezTo>
                    <a:pt x="64" y="257"/>
                    <a:pt x="64" y="257"/>
                    <a:pt x="64" y="257"/>
                  </a:cubicBezTo>
                  <a:cubicBezTo>
                    <a:pt x="62" y="255"/>
                    <a:pt x="62" y="255"/>
                    <a:pt x="62" y="255"/>
                  </a:cubicBezTo>
                  <a:cubicBezTo>
                    <a:pt x="59" y="257"/>
                    <a:pt x="59" y="257"/>
                    <a:pt x="59" y="257"/>
                  </a:cubicBezTo>
                  <a:cubicBezTo>
                    <a:pt x="55" y="259"/>
                    <a:pt x="55" y="259"/>
                    <a:pt x="55" y="259"/>
                  </a:cubicBezTo>
                  <a:cubicBezTo>
                    <a:pt x="57" y="259"/>
                    <a:pt x="57" y="259"/>
                    <a:pt x="57" y="259"/>
                  </a:cubicBezTo>
                  <a:cubicBezTo>
                    <a:pt x="59" y="259"/>
                    <a:pt x="59" y="259"/>
                    <a:pt x="59" y="259"/>
                  </a:cubicBezTo>
                  <a:cubicBezTo>
                    <a:pt x="60" y="261"/>
                    <a:pt x="60" y="261"/>
                    <a:pt x="60" y="261"/>
                  </a:cubicBezTo>
                  <a:cubicBezTo>
                    <a:pt x="57" y="262"/>
                    <a:pt x="57" y="262"/>
                    <a:pt x="57" y="262"/>
                  </a:cubicBezTo>
                  <a:cubicBezTo>
                    <a:pt x="55" y="264"/>
                    <a:pt x="55" y="264"/>
                    <a:pt x="55" y="264"/>
                  </a:cubicBezTo>
                  <a:cubicBezTo>
                    <a:pt x="53" y="262"/>
                    <a:pt x="53" y="262"/>
                    <a:pt x="53" y="262"/>
                  </a:cubicBezTo>
                  <a:cubicBezTo>
                    <a:pt x="51" y="262"/>
                    <a:pt x="51" y="262"/>
                    <a:pt x="51" y="262"/>
                  </a:cubicBezTo>
                  <a:cubicBezTo>
                    <a:pt x="51" y="264"/>
                    <a:pt x="51" y="264"/>
                    <a:pt x="51" y="264"/>
                  </a:cubicBezTo>
                  <a:cubicBezTo>
                    <a:pt x="55" y="266"/>
                    <a:pt x="55" y="266"/>
                    <a:pt x="55" y="266"/>
                  </a:cubicBezTo>
                  <a:cubicBezTo>
                    <a:pt x="59" y="266"/>
                    <a:pt x="59" y="266"/>
                    <a:pt x="59" y="266"/>
                  </a:cubicBezTo>
                  <a:cubicBezTo>
                    <a:pt x="59" y="268"/>
                    <a:pt x="59" y="268"/>
                    <a:pt x="59" y="268"/>
                  </a:cubicBezTo>
                  <a:cubicBezTo>
                    <a:pt x="60" y="270"/>
                    <a:pt x="60" y="270"/>
                    <a:pt x="60" y="270"/>
                  </a:cubicBezTo>
                  <a:cubicBezTo>
                    <a:pt x="60" y="272"/>
                    <a:pt x="60" y="272"/>
                    <a:pt x="60" y="272"/>
                  </a:cubicBezTo>
                  <a:cubicBezTo>
                    <a:pt x="57" y="270"/>
                    <a:pt x="57" y="270"/>
                    <a:pt x="57" y="270"/>
                  </a:cubicBezTo>
                  <a:cubicBezTo>
                    <a:pt x="55" y="268"/>
                    <a:pt x="55" y="268"/>
                    <a:pt x="55" y="268"/>
                  </a:cubicBezTo>
                  <a:cubicBezTo>
                    <a:pt x="53" y="268"/>
                    <a:pt x="53" y="268"/>
                    <a:pt x="53" y="268"/>
                  </a:cubicBezTo>
                  <a:cubicBezTo>
                    <a:pt x="49" y="266"/>
                    <a:pt x="49" y="266"/>
                    <a:pt x="49" y="266"/>
                  </a:cubicBezTo>
                  <a:cubicBezTo>
                    <a:pt x="49" y="262"/>
                    <a:pt x="49" y="262"/>
                    <a:pt x="49" y="262"/>
                  </a:cubicBezTo>
                  <a:cubicBezTo>
                    <a:pt x="48" y="262"/>
                    <a:pt x="48" y="262"/>
                    <a:pt x="48" y="262"/>
                  </a:cubicBezTo>
                  <a:cubicBezTo>
                    <a:pt x="48" y="266"/>
                    <a:pt x="48" y="266"/>
                    <a:pt x="48" y="266"/>
                  </a:cubicBezTo>
                  <a:cubicBezTo>
                    <a:pt x="49" y="270"/>
                    <a:pt x="49" y="270"/>
                    <a:pt x="49" y="270"/>
                  </a:cubicBezTo>
                  <a:cubicBezTo>
                    <a:pt x="53" y="272"/>
                    <a:pt x="53" y="272"/>
                    <a:pt x="53" y="272"/>
                  </a:cubicBezTo>
                  <a:cubicBezTo>
                    <a:pt x="57" y="273"/>
                    <a:pt x="57" y="273"/>
                    <a:pt x="57" y="273"/>
                  </a:cubicBezTo>
                  <a:cubicBezTo>
                    <a:pt x="57" y="273"/>
                    <a:pt x="57" y="273"/>
                    <a:pt x="57" y="273"/>
                  </a:cubicBezTo>
                  <a:cubicBezTo>
                    <a:pt x="55" y="275"/>
                    <a:pt x="55" y="275"/>
                    <a:pt x="55" y="275"/>
                  </a:cubicBezTo>
                  <a:cubicBezTo>
                    <a:pt x="49" y="273"/>
                    <a:pt x="49" y="273"/>
                    <a:pt x="49" y="273"/>
                  </a:cubicBezTo>
                  <a:cubicBezTo>
                    <a:pt x="46" y="268"/>
                    <a:pt x="46" y="268"/>
                    <a:pt x="46" y="268"/>
                  </a:cubicBezTo>
                  <a:cubicBezTo>
                    <a:pt x="44" y="270"/>
                    <a:pt x="44" y="270"/>
                    <a:pt x="44" y="270"/>
                  </a:cubicBezTo>
                  <a:cubicBezTo>
                    <a:pt x="40" y="266"/>
                    <a:pt x="40" y="266"/>
                    <a:pt x="40" y="266"/>
                  </a:cubicBezTo>
                  <a:cubicBezTo>
                    <a:pt x="37" y="266"/>
                    <a:pt x="37" y="266"/>
                    <a:pt x="37" y="266"/>
                  </a:cubicBezTo>
                  <a:cubicBezTo>
                    <a:pt x="35" y="266"/>
                    <a:pt x="35" y="266"/>
                    <a:pt x="35" y="266"/>
                  </a:cubicBezTo>
                  <a:cubicBezTo>
                    <a:pt x="35" y="266"/>
                    <a:pt x="35" y="266"/>
                    <a:pt x="35" y="266"/>
                  </a:cubicBezTo>
                  <a:cubicBezTo>
                    <a:pt x="35" y="270"/>
                    <a:pt x="35" y="270"/>
                    <a:pt x="35" y="270"/>
                  </a:cubicBezTo>
                  <a:cubicBezTo>
                    <a:pt x="33" y="272"/>
                    <a:pt x="33" y="272"/>
                    <a:pt x="33" y="272"/>
                  </a:cubicBezTo>
                  <a:cubicBezTo>
                    <a:pt x="35" y="273"/>
                    <a:pt x="35" y="273"/>
                    <a:pt x="35" y="273"/>
                  </a:cubicBezTo>
                  <a:cubicBezTo>
                    <a:pt x="40" y="272"/>
                    <a:pt x="40" y="272"/>
                    <a:pt x="40" y="272"/>
                  </a:cubicBezTo>
                  <a:cubicBezTo>
                    <a:pt x="42" y="273"/>
                    <a:pt x="42" y="273"/>
                    <a:pt x="42" y="273"/>
                  </a:cubicBezTo>
                  <a:cubicBezTo>
                    <a:pt x="40" y="275"/>
                    <a:pt x="40" y="275"/>
                    <a:pt x="40" y="275"/>
                  </a:cubicBezTo>
                  <a:cubicBezTo>
                    <a:pt x="40" y="275"/>
                    <a:pt x="40" y="275"/>
                    <a:pt x="40" y="275"/>
                  </a:cubicBezTo>
                  <a:cubicBezTo>
                    <a:pt x="46" y="273"/>
                    <a:pt x="46" y="273"/>
                    <a:pt x="46" y="273"/>
                  </a:cubicBezTo>
                  <a:cubicBezTo>
                    <a:pt x="48" y="273"/>
                    <a:pt x="48" y="273"/>
                    <a:pt x="48" y="273"/>
                  </a:cubicBezTo>
                  <a:cubicBezTo>
                    <a:pt x="46" y="275"/>
                    <a:pt x="46" y="275"/>
                    <a:pt x="46" y="275"/>
                  </a:cubicBezTo>
                  <a:cubicBezTo>
                    <a:pt x="40" y="277"/>
                    <a:pt x="40" y="277"/>
                    <a:pt x="40" y="277"/>
                  </a:cubicBezTo>
                  <a:cubicBezTo>
                    <a:pt x="38" y="281"/>
                    <a:pt x="38" y="281"/>
                    <a:pt x="38" y="281"/>
                  </a:cubicBezTo>
                  <a:cubicBezTo>
                    <a:pt x="35" y="279"/>
                    <a:pt x="35" y="279"/>
                    <a:pt x="35" y="279"/>
                  </a:cubicBezTo>
                  <a:cubicBezTo>
                    <a:pt x="33" y="275"/>
                    <a:pt x="33" y="275"/>
                    <a:pt x="33" y="275"/>
                  </a:cubicBezTo>
                  <a:cubicBezTo>
                    <a:pt x="31" y="275"/>
                    <a:pt x="31" y="275"/>
                    <a:pt x="31" y="275"/>
                  </a:cubicBezTo>
                  <a:cubicBezTo>
                    <a:pt x="29" y="277"/>
                    <a:pt x="29" y="277"/>
                    <a:pt x="29" y="277"/>
                  </a:cubicBezTo>
                  <a:cubicBezTo>
                    <a:pt x="27" y="275"/>
                    <a:pt x="27" y="275"/>
                    <a:pt x="27" y="275"/>
                  </a:cubicBezTo>
                  <a:cubicBezTo>
                    <a:pt x="26" y="277"/>
                    <a:pt x="26" y="277"/>
                    <a:pt x="26" y="277"/>
                  </a:cubicBezTo>
                  <a:cubicBezTo>
                    <a:pt x="24" y="275"/>
                    <a:pt x="24" y="275"/>
                    <a:pt x="24" y="275"/>
                  </a:cubicBezTo>
                  <a:cubicBezTo>
                    <a:pt x="20" y="277"/>
                    <a:pt x="20" y="277"/>
                    <a:pt x="20" y="277"/>
                  </a:cubicBezTo>
                  <a:cubicBezTo>
                    <a:pt x="22" y="279"/>
                    <a:pt x="22" y="279"/>
                    <a:pt x="22" y="279"/>
                  </a:cubicBezTo>
                  <a:cubicBezTo>
                    <a:pt x="27" y="279"/>
                    <a:pt x="27" y="279"/>
                    <a:pt x="27" y="279"/>
                  </a:cubicBezTo>
                  <a:cubicBezTo>
                    <a:pt x="31" y="281"/>
                    <a:pt x="31" y="281"/>
                    <a:pt x="31" y="281"/>
                  </a:cubicBezTo>
                  <a:cubicBezTo>
                    <a:pt x="35" y="284"/>
                    <a:pt x="35" y="284"/>
                    <a:pt x="35" y="284"/>
                  </a:cubicBezTo>
                  <a:cubicBezTo>
                    <a:pt x="33" y="286"/>
                    <a:pt x="33" y="286"/>
                    <a:pt x="33" y="286"/>
                  </a:cubicBezTo>
                  <a:cubicBezTo>
                    <a:pt x="35" y="288"/>
                    <a:pt x="35" y="288"/>
                    <a:pt x="35" y="288"/>
                  </a:cubicBezTo>
                  <a:cubicBezTo>
                    <a:pt x="33" y="290"/>
                    <a:pt x="33" y="290"/>
                    <a:pt x="33" y="290"/>
                  </a:cubicBezTo>
                  <a:cubicBezTo>
                    <a:pt x="31" y="288"/>
                    <a:pt x="31" y="288"/>
                    <a:pt x="31" y="288"/>
                  </a:cubicBezTo>
                  <a:cubicBezTo>
                    <a:pt x="31" y="284"/>
                    <a:pt x="31" y="284"/>
                    <a:pt x="31" y="284"/>
                  </a:cubicBezTo>
                  <a:cubicBezTo>
                    <a:pt x="27" y="283"/>
                    <a:pt x="27" y="283"/>
                    <a:pt x="27" y="283"/>
                  </a:cubicBezTo>
                  <a:cubicBezTo>
                    <a:pt x="26" y="284"/>
                    <a:pt x="26" y="284"/>
                    <a:pt x="26" y="284"/>
                  </a:cubicBezTo>
                  <a:cubicBezTo>
                    <a:pt x="26" y="286"/>
                    <a:pt x="26" y="286"/>
                    <a:pt x="26" y="286"/>
                  </a:cubicBezTo>
                  <a:cubicBezTo>
                    <a:pt x="26" y="288"/>
                    <a:pt x="26" y="288"/>
                    <a:pt x="26" y="288"/>
                  </a:cubicBezTo>
                  <a:cubicBezTo>
                    <a:pt x="22" y="284"/>
                    <a:pt x="22" y="284"/>
                    <a:pt x="22" y="284"/>
                  </a:cubicBezTo>
                  <a:cubicBezTo>
                    <a:pt x="18" y="288"/>
                    <a:pt x="18" y="288"/>
                    <a:pt x="18" y="288"/>
                  </a:cubicBezTo>
                  <a:cubicBezTo>
                    <a:pt x="22" y="292"/>
                    <a:pt x="22" y="292"/>
                    <a:pt x="22" y="292"/>
                  </a:cubicBezTo>
                  <a:cubicBezTo>
                    <a:pt x="20" y="292"/>
                    <a:pt x="20" y="292"/>
                    <a:pt x="20" y="292"/>
                  </a:cubicBezTo>
                  <a:cubicBezTo>
                    <a:pt x="18" y="292"/>
                    <a:pt x="18" y="292"/>
                    <a:pt x="18" y="292"/>
                  </a:cubicBezTo>
                  <a:cubicBezTo>
                    <a:pt x="17" y="288"/>
                    <a:pt x="17" y="288"/>
                    <a:pt x="17" y="288"/>
                  </a:cubicBezTo>
                  <a:cubicBezTo>
                    <a:pt x="11" y="288"/>
                    <a:pt x="11" y="288"/>
                    <a:pt x="11" y="288"/>
                  </a:cubicBezTo>
                  <a:cubicBezTo>
                    <a:pt x="13" y="292"/>
                    <a:pt x="13" y="292"/>
                    <a:pt x="13" y="292"/>
                  </a:cubicBezTo>
                  <a:cubicBezTo>
                    <a:pt x="11" y="293"/>
                    <a:pt x="11" y="293"/>
                    <a:pt x="11" y="293"/>
                  </a:cubicBezTo>
                  <a:cubicBezTo>
                    <a:pt x="11" y="290"/>
                    <a:pt x="11" y="290"/>
                    <a:pt x="11" y="290"/>
                  </a:cubicBezTo>
                  <a:cubicBezTo>
                    <a:pt x="7" y="288"/>
                    <a:pt x="7" y="288"/>
                    <a:pt x="7" y="288"/>
                  </a:cubicBezTo>
                  <a:cubicBezTo>
                    <a:pt x="6" y="288"/>
                    <a:pt x="6" y="288"/>
                    <a:pt x="6" y="288"/>
                  </a:cubicBezTo>
                  <a:cubicBezTo>
                    <a:pt x="6" y="290"/>
                    <a:pt x="6" y="290"/>
                    <a:pt x="6" y="290"/>
                  </a:cubicBezTo>
                  <a:cubicBezTo>
                    <a:pt x="9" y="293"/>
                    <a:pt x="9" y="293"/>
                    <a:pt x="9" y="293"/>
                  </a:cubicBezTo>
                  <a:cubicBezTo>
                    <a:pt x="7" y="295"/>
                    <a:pt x="7" y="295"/>
                    <a:pt x="7" y="295"/>
                  </a:cubicBezTo>
                  <a:cubicBezTo>
                    <a:pt x="9" y="295"/>
                    <a:pt x="9" y="295"/>
                    <a:pt x="9" y="295"/>
                  </a:cubicBezTo>
                  <a:cubicBezTo>
                    <a:pt x="13" y="295"/>
                    <a:pt x="13" y="295"/>
                    <a:pt x="13" y="295"/>
                  </a:cubicBezTo>
                  <a:cubicBezTo>
                    <a:pt x="18" y="295"/>
                    <a:pt x="18" y="295"/>
                    <a:pt x="18" y="295"/>
                  </a:cubicBezTo>
                  <a:cubicBezTo>
                    <a:pt x="22" y="299"/>
                    <a:pt x="22" y="299"/>
                    <a:pt x="22" y="299"/>
                  </a:cubicBezTo>
                  <a:cubicBezTo>
                    <a:pt x="27" y="299"/>
                    <a:pt x="27" y="299"/>
                    <a:pt x="27" y="299"/>
                  </a:cubicBezTo>
                  <a:cubicBezTo>
                    <a:pt x="27" y="297"/>
                    <a:pt x="27" y="297"/>
                    <a:pt x="27" y="297"/>
                  </a:cubicBezTo>
                  <a:cubicBezTo>
                    <a:pt x="31" y="297"/>
                    <a:pt x="31" y="297"/>
                    <a:pt x="31" y="297"/>
                  </a:cubicBezTo>
                  <a:cubicBezTo>
                    <a:pt x="27" y="301"/>
                    <a:pt x="27" y="301"/>
                    <a:pt x="27" y="301"/>
                  </a:cubicBezTo>
                  <a:cubicBezTo>
                    <a:pt x="24" y="299"/>
                    <a:pt x="24" y="299"/>
                    <a:pt x="24" y="299"/>
                  </a:cubicBezTo>
                  <a:cubicBezTo>
                    <a:pt x="22" y="301"/>
                    <a:pt x="22" y="301"/>
                    <a:pt x="22" y="301"/>
                  </a:cubicBezTo>
                  <a:cubicBezTo>
                    <a:pt x="17" y="297"/>
                    <a:pt x="17" y="297"/>
                    <a:pt x="17" y="297"/>
                  </a:cubicBezTo>
                  <a:cubicBezTo>
                    <a:pt x="13" y="299"/>
                    <a:pt x="13" y="299"/>
                    <a:pt x="13" y="299"/>
                  </a:cubicBezTo>
                  <a:cubicBezTo>
                    <a:pt x="11" y="297"/>
                    <a:pt x="11" y="297"/>
                    <a:pt x="11" y="297"/>
                  </a:cubicBezTo>
                  <a:cubicBezTo>
                    <a:pt x="9" y="301"/>
                    <a:pt x="9" y="301"/>
                    <a:pt x="9" y="301"/>
                  </a:cubicBezTo>
                  <a:cubicBezTo>
                    <a:pt x="6" y="301"/>
                    <a:pt x="6" y="301"/>
                    <a:pt x="6" y="301"/>
                  </a:cubicBezTo>
                  <a:cubicBezTo>
                    <a:pt x="4" y="303"/>
                    <a:pt x="4" y="303"/>
                    <a:pt x="4" y="303"/>
                  </a:cubicBezTo>
                  <a:cubicBezTo>
                    <a:pt x="9" y="304"/>
                    <a:pt x="9" y="304"/>
                    <a:pt x="9" y="304"/>
                  </a:cubicBezTo>
                  <a:cubicBezTo>
                    <a:pt x="7" y="306"/>
                    <a:pt x="7" y="306"/>
                    <a:pt x="7" y="306"/>
                  </a:cubicBezTo>
                  <a:cubicBezTo>
                    <a:pt x="11" y="308"/>
                    <a:pt x="11" y="308"/>
                    <a:pt x="11" y="308"/>
                  </a:cubicBezTo>
                  <a:cubicBezTo>
                    <a:pt x="13" y="306"/>
                    <a:pt x="13" y="306"/>
                    <a:pt x="13" y="306"/>
                  </a:cubicBezTo>
                  <a:cubicBezTo>
                    <a:pt x="17" y="306"/>
                    <a:pt x="17" y="306"/>
                    <a:pt x="17" y="306"/>
                  </a:cubicBezTo>
                  <a:cubicBezTo>
                    <a:pt x="13" y="308"/>
                    <a:pt x="13" y="308"/>
                    <a:pt x="13" y="308"/>
                  </a:cubicBezTo>
                  <a:cubicBezTo>
                    <a:pt x="9" y="308"/>
                    <a:pt x="9" y="308"/>
                    <a:pt x="9" y="308"/>
                  </a:cubicBezTo>
                  <a:cubicBezTo>
                    <a:pt x="7" y="310"/>
                    <a:pt x="7" y="310"/>
                    <a:pt x="7" y="310"/>
                  </a:cubicBezTo>
                  <a:cubicBezTo>
                    <a:pt x="6" y="308"/>
                    <a:pt x="6" y="308"/>
                    <a:pt x="6" y="308"/>
                  </a:cubicBezTo>
                  <a:cubicBezTo>
                    <a:pt x="6" y="310"/>
                    <a:pt x="6" y="310"/>
                    <a:pt x="6" y="310"/>
                  </a:cubicBezTo>
                  <a:cubicBezTo>
                    <a:pt x="9" y="312"/>
                    <a:pt x="9" y="312"/>
                    <a:pt x="9" y="312"/>
                  </a:cubicBezTo>
                  <a:cubicBezTo>
                    <a:pt x="11" y="312"/>
                    <a:pt x="11" y="312"/>
                    <a:pt x="11" y="312"/>
                  </a:cubicBezTo>
                  <a:cubicBezTo>
                    <a:pt x="7" y="314"/>
                    <a:pt x="7" y="314"/>
                    <a:pt x="7" y="314"/>
                  </a:cubicBezTo>
                  <a:cubicBezTo>
                    <a:pt x="6" y="314"/>
                    <a:pt x="6" y="314"/>
                    <a:pt x="6" y="314"/>
                  </a:cubicBezTo>
                  <a:cubicBezTo>
                    <a:pt x="7" y="315"/>
                    <a:pt x="7" y="315"/>
                    <a:pt x="7" y="315"/>
                  </a:cubicBezTo>
                  <a:cubicBezTo>
                    <a:pt x="7" y="315"/>
                    <a:pt x="7" y="315"/>
                    <a:pt x="7" y="315"/>
                  </a:cubicBezTo>
                  <a:cubicBezTo>
                    <a:pt x="9" y="317"/>
                    <a:pt x="9" y="317"/>
                    <a:pt x="9" y="317"/>
                  </a:cubicBezTo>
                  <a:cubicBezTo>
                    <a:pt x="13" y="317"/>
                    <a:pt x="13" y="317"/>
                    <a:pt x="13" y="317"/>
                  </a:cubicBezTo>
                  <a:cubicBezTo>
                    <a:pt x="15" y="315"/>
                    <a:pt x="15" y="315"/>
                    <a:pt x="15" y="315"/>
                  </a:cubicBezTo>
                  <a:cubicBezTo>
                    <a:pt x="20" y="315"/>
                    <a:pt x="20" y="315"/>
                    <a:pt x="20" y="315"/>
                  </a:cubicBezTo>
                  <a:cubicBezTo>
                    <a:pt x="24" y="315"/>
                    <a:pt x="24" y="315"/>
                    <a:pt x="24" y="315"/>
                  </a:cubicBezTo>
                  <a:cubicBezTo>
                    <a:pt x="26" y="317"/>
                    <a:pt x="26" y="317"/>
                    <a:pt x="26" y="317"/>
                  </a:cubicBezTo>
                  <a:cubicBezTo>
                    <a:pt x="27" y="315"/>
                    <a:pt x="27" y="315"/>
                    <a:pt x="27" y="315"/>
                  </a:cubicBezTo>
                  <a:cubicBezTo>
                    <a:pt x="27" y="314"/>
                    <a:pt x="27" y="314"/>
                    <a:pt x="27" y="314"/>
                  </a:cubicBezTo>
                  <a:cubicBezTo>
                    <a:pt x="29" y="314"/>
                    <a:pt x="29" y="314"/>
                    <a:pt x="29" y="314"/>
                  </a:cubicBezTo>
                  <a:cubicBezTo>
                    <a:pt x="31" y="315"/>
                    <a:pt x="31" y="315"/>
                    <a:pt x="31" y="315"/>
                  </a:cubicBezTo>
                  <a:cubicBezTo>
                    <a:pt x="33" y="315"/>
                    <a:pt x="33" y="315"/>
                    <a:pt x="33" y="315"/>
                  </a:cubicBezTo>
                  <a:cubicBezTo>
                    <a:pt x="37" y="312"/>
                    <a:pt x="37" y="312"/>
                    <a:pt x="37" y="312"/>
                  </a:cubicBezTo>
                  <a:cubicBezTo>
                    <a:pt x="38" y="312"/>
                    <a:pt x="38" y="312"/>
                    <a:pt x="38" y="312"/>
                  </a:cubicBezTo>
                  <a:cubicBezTo>
                    <a:pt x="38" y="314"/>
                    <a:pt x="38" y="314"/>
                    <a:pt x="38" y="314"/>
                  </a:cubicBezTo>
                  <a:cubicBezTo>
                    <a:pt x="37" y="315"/>
                    <a:pt x="37" y="315"/>
                    <a:pt x="37" y="315"/>
                  </a:cubicBezTo>
                  <a:cubicBezTo>
                    <a:pt x="40" y="315"/>
                    <a:pt x="40" y="315"/>
                    <a:pt x="40" y="315"/>
                  </a:cubicBezTo>
                  <a:cubicBezTo>
                    <a:pt x="40" y="314"/>
                    <a:pt x="40" y="314"/>
                    <a:pt x="40" y="314"/>
                  </a:cubicBezTo>
                  <a:cubicBezTo>
                    <a:pt x="40" y="312"/>
                    <a:pt x="40" y="312"/>
                    <a:pt x="40" y="312"/>
                  </a:cubicBezTo>
                  <a:cubicBezTo>
                    <a:pt x="42" y="308"/>
                    <a:pt x="42" y="308"/>
                    <a:pt x="42" y="308"/>
                  </a:cubicBezTo>
                  <a:cubicBezTo>
                    <a:pt x="42" y="312"/>
                    <a:pt x="42" y="312"/>
                    <a:pt x="42" y="312"/>
                  </a:cubicBezTo>
                  <a:cubicBezTo>
                    <a:pt x="46" y="315"/>
                    <a:pt x="46" y="315"/>
                    <a:pt x="46" y="315"/>
                  </a:cubicBezTo>
                  <a:cubicBezTo>
                    <a:pt x="42" y="317"/>
                    <a:pt x="42" y="317"/>
                    <a:pt x="42" y="317"/>
                  </a:cubicBezTo>
                  <a:cubicBezTo>
                    <a:pt x="38" y="319"/>
                    <a:pt x="38" y="319"/>
                    <a:pt x="38" y="319"/>
                  </a:cubicBezTo>
                  <a:cubicBezTo>
                    <a:pt x="37" y="321"/>
                    <a:pt x="37" y="321"/>
                    <a:pt x="37" y="321"/>
                  </a:cubicBezTo>
                  <a:cubicBezTo>
                    <a:pt x="37" y="321"/>
                    <a:pt x="37" y="321"/>
                    <a:pt x="37" y="321"/>
                  </a:cubicBezTo>
                  <a:cubicBezTo>
                    <a:pt x="37" y="324"/>
                    <a:pt x="37" y="324"/>
                    <a:pt x="37" y="324"/>
                  </a:cubicBezTo>
                  <a:cubicBezTo>
                    <a:pt x="31" y="324"/>
                    <a:pt x="31" y="324"/>
                    <a:pt x="31" y="324"/>
                  </a:cubicBezTo>
                  <a:cubicBezTo>
                    <a:pt x="31" y="323"/>
                    <a:pt x="31" y="323"/>
                    <a:pt x="31" y="323"/>
                  </a:cubicBezTo>
                  <a:cubicBezTo>
                    <a:pt x="33" y="321"/>
                    <a:pt x="33" y="321"/>
                    <a:pt x="33" y="321"/>
                  </a:cubicBezTo>
                  <a:cubicBezTo>
                    <a:pt x="33" y="317"/>
                    <a:pt x="33" y="317"/>
                    <a:pt x="33" y="317"/>
                  </a:cubicBezTo>
                  <a:cubicBezTo>
                    <a:pt x="29" y="317"/>
                    <a:pt x="29" y="317"/>
                    <a:pt x="29" y="317"/>
                  </a:cubicBezTo>
                  <a:cubicBezTo>
                    <a:pt x="27" y="321"/>
                    <a:pt x="27" y="321"/>
                    <a:pt x="27" y="321"/>
                  </a:cubicBezTo>
                  <a:cubicBezTo>
                    <a:pt x="26" y="323"/>
                    <a:pt x="26" y="323"/>
                    <a:pt x="26" y="323"/>
                  </a:cubicBezTo>
                  <a:cubicBezTo>
                    <a:pt x="24" y="319"/>
                    <a:pt x="24" y="319"/>
                    <a:pt x="24" y="319"/>
                  </a:cubicBezTo>
                  <a:cubicBezTo>
                    <a:pt x="20" y="319"/>
                    <a:pt x="20" y="319"/>
                    <a:pt x="20" y="319"/>
                  </a:cubicBezTo>
                  <a:cubicBezTo>
                    <a:pt x="17" y="319"/>
                    <a:pt x="17" y="319"/>
                    <a:pt x="17" y="319"/>
                  </a:cubicBezTo>
                  <a:cubicBezTo>
                    <a:pt x="15" y="319"/>
                    <a:pt x="15" y="319"/>
                    <a:pt x="15" y="319"/>
                  </a:cubicBezTo>
                  <a:cubicBezTo>
                    <a:pt x="11" y="321"/>
                    <a:pt x="11" y="321"/>
                    <a:pt x="11" y="321"/>
                  </a:cubicBezTo>
                  <a:cubicBezTo>
                    <a:pt x="9" y="321"/>
                    <a:pt x="9" y="321"/>
                    <a:pt x="9" y="321"/>
                  </a:cubicBezTo>
                  <a:cubicBezTo>
                    <a:pt x="6" y="319"/>
                    <a:pt x="6" y="319"/>
                    <a:pt x="6" y="319"/>
                  </a:cubicBezTo>
                  <a:cubicBezTo>
                    <a:pt x="6" y="319"/>
                    <a:pt x="6" y="319"/>
                    <a:pt x="6" y="319"/>
                  </a:cubicBezTo>
                  <a:cubicBezTo>
                    <a:pt x="7" y="323"/>
                    <a:pt x="7" y="323"/>
                    <a:pt x="7" y="323"/>
                  </a:cubicBezTo>
                  <a:cubicBezTo>
                    <a:pt x="6" y="324"/>
                    <a:pt x="6" y="324"/>
                    <a:pt x="6" y="324"/>
                  </a:cubicBezTo>
                  <a:cubicBezTo>
                    <a:pt x="7" y="326"/>
                    <a:pt x="7" y="326"/>
                    <a:pt x="7" y="326"/>
                  </a:cubicBezTo>
                  <a:cubicBezTo>
                    <a:pt x="9" y="324"/>
                    <a:pt x="9" y="324"/>
                    <a:pt x="9" y="324"/>
                  </a:cubicBezTo>
                  <a:cubicBezTo>
                    <a:pt x="11" y="323"/>
                    <a:pt x="11" y="323"/>
                    <a:pt x="11" y="323"/>
                  </a:cubicBezTo>
                  <a:cubicBezTo>
                    <a:pt x="13" y="324"/>
                    <a:pt x="13" y="324"/>
                    <a:pt x="13" y="324"/>
                  </a:cubicBezTo>
                  <a:cubicBezTo>
                    <a:pt x="11" y="326"/>
                    <a:pt x="11" y="326"/>
                    <a:pt x="11" y="326"/>
                  </a:cubicBezTo>
                  <a:cubicBezTo>
                    <a:pt x="11" y="328"/>
                    <a:pt x="11" y="328"/>
                    <a:pt x="11" y="328"/>
                  </a:cubicBezTo>
                  <a:cubicBezTo>
                    <a:pt x="9" y="330"/>
                    <a:pt x="9" y="330"/>
                    <a:pt x="9" y="330"/>
                  </a:cubicBezTo>
                  <a:cubicBezTo>
                    <a:pt x="7" y="328"/>
                    <a:pt x="7" y="328"/>
                    <a:pt x="7" y="328"/>
                  </a:cubicBezTo>
                  <a:cubicBezTo>
                    <a:pt x="9" y="332"/>
                    <a:pt x="9" y="332"/>
                    <a:pt x="9" y="332"/>
                  </a:cubicBezTo>
                  <a:cubicBezTo>
                    <a:pt x="11" y="334"/>
                    <a:pt x="11" y="334"/>
                    <a:pt x="11" y="334"/>
                  </a:cubicBezTo>
                  <a:cubicBezTo>
                    <a:pt x="15" y="328"/>
                    <a:pt x="15" y="328"/>
                    <a:pt x="15" y="328"/>
                  </a:cubicBezTo>
                  <a:cubicBezTo>
                    <a:pt x="18" y="330"/>
                    <a:pt x="18" y="330"/>
                    <a:pt x="18" y="330"/>
                  </a:cubicBezTo>
                  <a:cubicBezTo>
                    <a:pt x="17" y="332"/>
                    <a:pt x="17" y="332"/>
                    <a:pt x="17" y="332"/>
                  </a:cubicBezTo>
                  <a:cubicBezTo>
                    <a:pt x="18" y="334"/>
                    <a:pt x="18" y="334"/>
                    <a:pt x="18" y="334"/>
                  </a:cubicBezTo>
                  <a:cubicBezTo>
                    <a:pt x="13" y="337"/>
                    <a:pt x="13" y="337"/>
                    <a:pt x="13" y="337"/>
                  </a:cubicBezTo>
                  <a:cubicBezTo>
                    <a:pt x="15" y="337"/>
                    <a:pt x="15" y="337"/>
                    <a:pt x="15" y="337"/>
                  </a:cubicBezTo>
                  <a:cubicBezTo>
                    <a:pt x="17" y="337"/>
                    <a:pt x="17" y="337"/>
                    <a:pt x="17" y="337"/>
                  </a:cubicBezTo>
                  <a:cubicBezTo>
                    <a:pt x="15" y="341"/>
                    <a:pt x="15" y="341"/>
                    <a:pt x="15" y="341"/>
                  </a:cubicBezTo>
                  <a:cubicBezTo>
                    <a:pt x="17" y="343"/>
                    <a:pt x="17" y="343"/>
                    <a:pt x="17" y="343"/>
                  </a:cubicBezTo>
                  <a:cubicBezTo>
                    <a:pt x="17" y="346"/>
                    <a:pt x="17" y="346"/>
                    <a:pt x="17" y="346"/>
                  </a:cubicBezTo>
                  <a:cubicBezTo>
                    <a:pt x="17" y="346"/>
                    <a:pt x="17" y="346"/>
                    <a:pt x="17" y="346"/>
                  </a:cubicBezTo>
                  <a:cubicBezTo>
                    <a:pt x="20" y="343"/>
                    <a:pt x="20" y="343"/>
                    <a:pt x="20" y="343"/>
                  </a:cubicBezTo>
                  <a:cubicBezTo>
                    <a:pt x="22" y="341"/>
                    <a:pt x="22" y="341"/>
                    <a:pt x="22" y="341"/>
                  </a:cubicBezTo>
                  <a:cubicBezTo>
                    <a:pt x="22" y="337"/>
                    <a:pt x="22" y="337"/>
                    <a:pt x="22" y="337"/>
                  </a:cubicBezTo>
                  <a:cubicBezTo>
                    <a:pt x="29" y="335"/>
                    <a:pt x="29" y="335"/>
                    <a:pt x="29" y="335"/>
                  </a:cubicBezTo>
                  <a:cubicBezTo>
                    <a:pt x="31" y="335"/>
                    <a:pt x="31" y="335"/>
                    <a:pt x="31" y="335"/>
                  </a:cubicBezTo>
                  <a:cubicBezTo>
                    <a:pt x="35" y="334"/>
                    <a:pt x="35" y="334"/>
                    <a:pt x="35" y="334"/>
                  </a:cubicBezTo>
                  <a:cubicBezTo>
                    <a:pt x="33" y="335"/>
                    <a:pt x="33" y="335"/>
                    <a:pt x="33" y="335"/>
                  </a:cubicBezTo>
                  <a:cubicBezTo>
                    <a:pt x="29" y="337"/>
                    <a:pt x="29" y="337"/>
                    <a:pt x="29" y="337"/>
                  </a:cubicBezTo>
                  <a:cubicBezTo>
                    <a:pt x="29" y="343"/>
                    <a:pt x="29" y="343"/>
                    <a:pt x="29" y="343"/>
                  </a:cubicBezTo>
                  <a:cubicBezTo>
                    <a:pt x="31" y="344"/>
                    <a:pt x="31" y="344"/>
                    <a:pt x="31" y="344"/>
                  </a:cubicBezTo>
                  <a:cubicBezTo>
                    <a:pt x="27" y="343"/>
                    <a:pt x="27" y="343"/>
                    <a:pt x="27" y="343"/>
                  </a:cubicBezTo>
                  <a:cubicBezTo>
                    <a:pt x="27" y="339"/>
                    <a:pt x="27" y="339"/>
                    <a:pt x="27" y="339"/>
                  </a:cubicBezTo>
                  <a:cubicBezTo>
                    <a:pt x="26" y="339"/>
                    <a:pt x="26" y="339"/>
                    <a:pt x="26" y="339"/>
                  </a:cubicBezTo>
                  <a:cubicBezTo>
                    <a:pt x="24" y="343"/>
                    <a:pt x="24" y="343"/>
                    <a:pt x="24" y="343"/>
                  </a:cubicBezTo>
                  <a:cubicBezTo>
                    <a:pt x="22" y="343"/>
                    <a:pt x="22" y="343"/>
                    <a:pt x="22" y="343"/>
                  </a:cubicBezTo>
                  <a:cubicBezTo>
                    <a:pt x="26" y="344"/>
                    <a:pt x="26" y="344"/>
                    <a:pt x="26" y="344"/>
                  </a:cubicBezTo>
                  <a:cubicBezTo>
                    <a:pt x="22" y="348"/>
                    <a:pt x="22" y="348"/>
                    <a:pt x="22" y="348"/>
                  </a:cubicBezTo>
                  <a:cubicBezTo>
                    <a:pt x="20" y="348"/>
                    <a:pt x="20" y="348"/>
                    <a:pt x="20" y="348"/>
                  </a:cubicBezTo>
                  <a:cubicBezTo>
                    <a:pt x="18" y="350"/>
                    <a:pt x="18" y="350"/>
                    <a:pt x="18" y="350"/>
                  </a:cubicBezTo>
                  <a:cubicBezTo>
                    <a:pt x="20" y="352"/>
                    <a:pt x="20" y="352"/>
                    <a:pt x="20" y="352"/>
                  </a:cubicBezTo>
                  <a:cubicBezTo>
                    <a:pt x="26" y="352"/>
                    <a:pt x="26" y="352"/>
                    <a:pt x="26" y="352"/>
                  </a:cubicBezTo>
                  <a:cubicBezTo>
                    <a:pt x="26" y="354"/>
                    <a:pt x="26" y="354"/>
                    <a:pt x="26" y="354"/>
                  </a:cubicBezTo>
                  <a:cubicBezTo>
                    <a:pt x="24" y="354"/>
                    <a:pt x="24" y="354"/>
                    <a:pt x="24" y="354"/>
                  </a:cubicBezTo>
                  <a:cubicBezTo>
                    <a:pt x="22" y="355"/>
                    <a:pt x="22" y="355"/>
                    <a:pt x="22" y="355"/>
                  </a:cubicBezTo>
                  <a:cubicBezTo>
                    <a:pt x="22" y="357"/>
                    <a:pt x="22" y="357"/>
                    <a:pt x="22" y="357"/>
                  </a:cubicBezTo>
                  <a:cubicBezTo>
                    <a:pt x="18" y="355"/>
                    <a:pt x="18" y="355"/>
                    <a:pt x="18" y="355"/>
                  </a:cubicBezTo>
                  <a:cubicBezTo>
                    <a:pt x="17" y="355"/>
                    <a:pt x="17" y="355"/>
                    <a:pt x="17" y="355"/>
                  </a:cubicBezTo>
                  <a:cubicBezTo>
                    <a:pt x="15" y="359"/>
                    <a:pt x="15" y="359"/>
                    <a:pt x="15" y="359"/>
                  </a:cubicBezTo>
                  <a:cubicBezTo>
                    <a:pt x="15" y="355"/>
                    <a:pt x="15" y="355"/>
                    <a:pt x="15" y="355"/>
                  </a:cubicBezTo>
                  <a:cubicBezTo>
                    <a:pt x="13" y="357"/>
                    <a:pt x="13" y="357"/>
                    <a:pt x="13" y="357"/>
                  </a:cubicBezTo>
                  <a:cubicBezTo>
                    <a:pt x="9" y="361"/>
                    <a:pt x="9" y="361"/>
                    <a:pt x="9" y="361"/>
                  </a:cubicBezTo>
                  <a:cubicBezTo>
                    <a:pt x="11" y="365"/>
                    <a:pt x="11" y="365"/>
                    <a:pt x="11" y="365"/>
                  </a:cubicBezTo>
                  <a:cubicBezTo>
                    <a:pt x="15" y="368"/>
                    <a:pt x="15" y="368"/>
                    <a:pt x="15" y="368"/>
                  </a:cubicBezTo>
                  <a:cubicBezTo>
                    <a:pt x="17" y="366"/>
                    <a:pt x="17" y="366"/>
                    <a:pt x="17" y="366"/>
                  </a:cubicBezTo>
                  <a:cubicBezTo>
                    <a:pt x="17" y="368"/>
                    <a:pt x="17" y="368"/>
                    <a:pt x="17" y="368"/>
                  </a:cubicBezTo>
                  <a:cubicBezTo>
                    <a:pt x="20" y="366"/>
                    <a:pt x="20" y="366"/>
                    <a:pt x="20" y="366"/>
                  </a:cubicBezTo>
                  <a:cubicBezTo>
                    <a:pt x="18" y="365"/>
                    <a:pt x="18" y="365"/>
                    <a:pt x="18" y="365"/>
                  </a:cubicBezTo>
                  <a:cubicBezTo>
                    <a:pt x="20" y="361"/>
                    <a:pt x="20" y="361"/>
                    <a:pt x="20" y="361"/>
                  </a:cubicBezTo>
                  <a:cubicBezTo>
                    <a:pt x="24" y="365"/>
                    <a:pt x="24" y="365"/>
                    <a:pt x="24" y="365"/>
                  </a:cubicBezTo>
                  <a:cubicBezTo>
                    <a:pt x="22" y="365"/>
                    <a:pt x="22" y="365"/>
                    <a:pt x="22" y="365"/>
                  </a:cubicBezTo>
                  <a:cubicBezTo>
                    <a:pt x="24" y="368"/>
                    <a:pt x="24" y="368"/>
                    <a:pt x="24" y="368"/>
                  </a:cubicBezTo>
                  <a:cubicBezTo>
                    <a:pt x="24" y="370"/>
                    <a:pt x="24" y="370"/>
                    <a:pt x="24" y="370"/>
                  </a:cubicBezTo>
                  <a:cubicBezTo>
                    <a:pt x="22" y="372"/>
                    <a:pt x="22" y="372"/>
                    <a:pt x="22" y="372"/>
                  </a:cubicBezTo>
                  <a:cubicBezTo>
                    <a:pt x="24" y="377"/>
                    <a:pt x="24" y="377"/>
                    <a:pt x="24" y="377"/>
                  </a:cubicBezTo>
                  <a:cubicBezTo>
                    <a:pt x="26" y="375"/>
                    <a:pt x="26" y="375"/>
                    <a:pt x="26" y="375"/>
                  </a:cubicBezTo>
                  <a:cubicBezTo>
                    <a:pt x="29" y="374"/>
                    <a:pt x="29" y="374"/>
                    <a:pt x="29" y="374"/>
                  </a:cubicBezTo>
                  <a:cubicBezTo>
                    <a:pt x="31" y="375"/>
                    <a:pt x="31" y="375"/>
                    <a:pt x="31" y="375"/>
                  </a:cubicBezTo>
                  <a:cubicBezTo>
                    <a:pt x="27" y="375"/>
                    <a:pt x="27" y="375"/>
                    <a:pt x="27" y="375"/>
                  </a:cubicBezTo>
                  <a:cubicBezTo>
                    <a:pt x="26" y="377"/>
                    <a:pt x="26" y="377"/>
                    <a:pt x="26" y="377"/>
                  </a:cubicBezTo>
                  <a:cubicBezTo>
                    <a:pt x="27" y="381"/>
                    <a:pt x="27" y="381"/>
                    <a:pt x="27" y="381"/>
                  </a:cubicBezTo>
                  <a:cubicBezTo>
                    <a:pt x="27" y="381"/>
                    <a:pt x="27" y="381"/>
                    <a:pt x="27" y="381"/>
                  </a:cubicBezTo>
                  <a:cubicBezTo>
                    <a:pt x="20" y="377"/>
                    <a:pt x="20" y="377"/>
                    <a:pt x="20" y="377"/>
                  </a:cubicBezTo>
                  <a:cubicBezTo>
                    <a:pt x="18" y="377"/>
                    <a:pt x="18" y="377"/>
                    <a:pt x="18" y="377"/>
                  </a:cubicBezTo>
                  <a:cubicBezTo>
                    <a:pt x="17" y="377"/>
                    <a:pt x="17" y="377"/>
                    <a:pt x="17" y="377"/>
                  </a:cubicBezTo>
                  <a:cubicBezTo>
                    <a:pt x="15" y="377"/>
                    <a:pt x="15" y="377"/>
                    <a:pt x="15" y="377"/>
                  </a:cubicBezTo>
                  <a:cubicBezTo>
                    <a:pt x="15" y="379"/>
                    <a:pt x="15" y="379"/>
                    <a:pt x="15" y="379"/>
                  </a:cubicBezTo>
                  <a:cubicBezTo>
                    <a:pt x="13" y="381"/>
                    <a:pt x="13" y="381"/>
                    <a:pt x="13" y="381"/>
                  </a:cubicBezTo>
                  <a:cubicBezTo>
                    <a:pt x="17" y="388"/>
                    <a:pt x="17" y="388"/>
                    <a:pt x="17" y="388"/>
                  </a:cubicBezTo>
                  <a:cubicBezTo>
                    <a:pt x="20" y="388"/>
                    <a:pt x="20" y="388"/>
                    <a:pt x="20" y="388"/>
                  </a:cubicBezTo>
                  <a:cubicBezTo>
                    <a:pt x="26" y="394"/>
                    <a:pt x="26" y="394"/>
                    <a:pt x="26" y="394"/>
                  </a:cubicBezTo>
                  <a:cubicBezTo>
                    <a:pt x="31" y="396"/>
                    <a:pt x="31" y="396"/>
                    <a:pt x="31" y="396"/>
                  </a:cubicBezTo>
                  <a:cubicBezTo>
                    <a:pt x="33" y="397"/>
                    <a:pt x="33" y="397"/>
                    <a:pt x="33" y="397"/>
                  </a:cubicBezTo>
                  <a:cubicBezTo>
                    <a:pt x="31" y="399"/>
                    <a:pt x="31" y="399"/>
                    <a:pt x="31" y="399"/>
                  </a:cubicBezTo>
                  <a:cubicBezTo>
                    <a:pt x="33" y="401"/>
                    <a:pt x="33" y="401"/>
                    <a:pt x="33" y="401"/>
                  </a:cubicBezTo>
                  <a:cubicBezTo>
                    <a:pt x="35" y="399"/>
                    <a:pt x="35" y="399"/>
                    <a:pt x="35" y="399"/>
                  </a:cubicBezTo>
                  <a:cubicBezTo>
                    <a:pt x="35" y="397"/>
                    <a:pt x="35" y="397"/>
                    <a:pt x="35" y="397"/>
                  </a:cubicBezTo>
                  <a:cubicBezTo>
                    <a:pt x="37" y="396"/>
                    <a:pt x="37" y="396"/>
                    <a:pt x="37" y="396"/>
                  </a:cubicBezTo>
                  <a:cubicBezTo>
                    <a:pt x="38" y="397"/>
                    <a:pt x="38" y="397"/>
                    <a:pt x="38" y="397"/>
                  </a:cubicBezTo>
                  <a:cubicBezTo>
                    <a:pt x="38" y="399"/>
                    <a:pt x="38" y="399"/>
                    <a:pt x="38" y="399"/>
                  </a:cubicBezTo>
                  <a:cubicBezTo>
                    <a:pt x="42" y="403"/>
                    <a:pt x="42" y="403"/>
                    <a:pt x="42" y="403"/>
                  </a:cubicBezTo>
                  <a:cubicBezTo>
                    <a:pt x="44" y="401"/>
                    <a:pt x="44" y="401"/>
                    <a:pt x="44" y="401"/>
                  </a:cubicBezTo>
                  <a:cubicBezTo>
                    <a:pt x="44" y="403"/>
                    <a:pt x="44" y="403"/>
                    <a:pt x="44" y="403"/>
                  </a:cubicBezTo>
                  <a:cubicBezTo>
                    <a:pt x="48" y="401"/>
                    <a:pt x="48" y="401"/>
                    <a:pt x="48" y="401"/>
                  </a:cubicBezTo>
                  <a:cubicBezTo>
                    <a:pt x="51" y="397"/>
                    <a:pt x="51" y="397"/>
                    <a:pt x="51" y="397"/>
                  </a:cubicBezTo>
                  <a:cubicBezTo>
                    <a:pt x="53" y="397"/>
                    <a:pt x="53" y="397"/>
                    <a:pt x="53" y="397"/>
                  </a:cubicBezTo>
                  <a:cubicBezTo>
                    <a:pt x="55" y="396"/>
                    <a:pt x="55" y="396"/>
                    <a:pt x="55" y="396"/>
                  </a:cubicBezTo>
                  <a:cubicBezTo>
                    <a:pt x="55" y="396"/>
                    <a:pt x="55" y="396"/>
                    <a:pt x="55" y="396"/>
                  </a:cubicBezTo>
                  <a:cubicBezTo>
                    <a:pt x="57" y="397"/>
                    <a:pt x="57" y="397"/>
                    <a:pt x="57" y="397"/>
                  </a:cubicBezTo>
                  <a:cubicBezTo>
                    <a:pt x="59" y="399"/>
                    <a:pt x="59" y="399"/>
                    <a:pt x="59" y="399"/>
                  </a:cubicBezTo>
                  <a:cubicBezTo>
                    <a:pt x="64" y="392"/>
                    <a:pt x="64" y="392"/>
                    <a:pt x="64" y="392"/>
                  </a:cubicBezTo>
                  <a:cubicBezTo>
                    <a:pt x="64" y="390"/>
                    <a:pt x="64" y="390"/>
                    <a:pt x="64" y="390"/>
                  </a:cubicBezTo>
                  <a:cubicBezTo>
                    <a:pt x="60" y="386"/>
                    <a:pt x="60" y="386"/>
                    <a:pt x="60" y="386"/>
                  </a:cubicBezTo>
                  <a:cubicBezTo>
                    <a:pt x="66" y="390"/>
                    <a:pt x="66" y="390"/>
                    <a:pt x="66" y="390"/>
                  </a:cubicBezTo>
                  <a:cubicBezTo>
                    <a:pt x="69" y="386"/>
                    <a:pt x="69" y="386"/>
                    <a:pt x="69" y="386"/>
                  </a:cubicBezTo>
                  <a:cubicBezTo>
                    <a:pt x="68" y="385"/>
                    <a:pt x="68" y="385"/>
                    <a:pt x="68" y="385"/>
                  </a:cubicBezTo>
                  <a:cubicBezTo>
                    <a:pt x="71" y="383"/>
                    <a:pt x="71" y="383"/>
                    <a:pt x="71" y="383"/>
                  </a:cubicBezTo>
                  <a:cubicBezTo>
                    <a:pt x="69" y="381"/>
                    <a:pt x="69" y="381"/>
                    <a:pt x="69" y="381"/>
                  </a:cubicBezTo>
                  <a:cubicBezTo>
                    <a:pt x="73" y="379"/>
                    <a:pt x="73" y="379"/>
                    <a:pt x="73" y="379"/>
                  </a:cubicBezTo>
                  <a:cubicBezTo>
                    <a:pt x="75" y="379"/>
                    <a:pt x="75" y="379"/>
                    <a:pt x="75" y="379"/>
                  </a:cubicBezTo>
                  <a:cubicBezTo>
                    <a:pt x="77" y="377"/>
                    <a:pt x="77" y="377"/>
                    <a:pt x="77" y="377"/>
                  </a:cubicBezTo>
                  <a:cubicBezTo>
                    <a:pt x="73" y="374"/>
                    <a:pt x="73" y="374"/>
                    <a:pt x="73" y="374"/>
                  </a:cubicBezTo>
                  <a:cubicBezTo>
                    <a:pt x="75" y="372"/>
                    <a:pt x="75" y="372"/>
                    <a:pt x="75" y="372"/>
                  </a:cubicBezTo>
                  <a:cubicBezTo>
                    <a:pt x="71" y="368"/>
                    <a:pt x="71" y="368"/>
                    <a:pt x="71" y="368"/>
                  </a:cubicBezTo>
                  <a:cubicBezTo>
                    <a:pt x="69" y="366"/>
                    <a:pt x="69" y="366"/>
                    <a:pt x="69" y="366"/>
                  </a:cubicBezTo>
                  <a:cubicBezTo>
                    <a:pt x="69" y="363"/>
                    <a:pt x="69" y="363"/>
                    <a:pt x="69" y="363"/>
                  </a:cubicBezTo>
                  <a:cubicBezTo>
                    <a:pt x="71" y="365"/>
                    <a:pt x="71" y="365"/>
                    <a:pt x="71" y="365"/>
                  </a:cubicBezTo>
                  <a:cubicBezTo>
                    <a:pt x="75" y="368"/>
                    <a:pt x="75" y="368"/>
                    <a:pt x="75" y="368"/>
                  </a:cubicBezTo>
                  <a:cubicBezTo>
                    <a:pt x="75" y="372"/>
                    <a:pt x="75" y="372"/>
                    <a:pt x="75" y="372"/>
                  </a:cubicBezTo>
                  <a:cubicBezTo>
                    <a:pt x="77" y="374"/>
                    <a:pt x="77" y="374"/>
                    <a:pt x="77" y="374"/>
                  </a:cubicBezTo>
                  <a:cubicBezTo>
                    <a:pt x="79" y="374"/>
                    <a:pt x="79" y="374"/>
                    <a:pt x="79" y="374"/>
                  </a:cubicBezTo>
                  <a:cubicBezTo>
                    <a:pt x="79" y="375"/>
                    <a:pt x="79" y="375"/>
                    <a:pt x="79" y="375"/>
                  </a:cubicBezTo>
                  <a:cubicBezTo>
                    <a:pt x="80" y="377"/>
                    <a:pt x="80" y="377"/>
                    <a:pt x="80" y="377"/>
                  </a:cubicBezTo>
                  <a:cubicBezTo>
                    <a:pt x="84" y="375"/>
                    <a:pt x="84" y="375"/>
                    <a:pt x="84" y="375"/>
                  </a:cubicBezTo>
                  <a:cubicBezTo>
                    <a:pt x="82" y="374"/>
                    <a:pt x="82" y="374"/>
                    <a:pt x="82" y="374"/>
                  </a:cubicBezTo>
                  <a:cubicBezTo>
                    <a:pt x="80" y="374"/>
                    <a:pt x="80" y="374"/>
                    <a:pt x="80" y="374"/>
                  </a:cubicBezTo>
                  <a:cubicBezTo>
                    <a:pt x="82" y="372"/>
                    <a:pt x="82" y="372"/>
                    <a:pt x="82" y="372"/>
                  </a:cubicBezTo>
                  <a:cubicBezTo>
                    <a:pt x="84" y="374"/>
                    <a:pt x="84" y="374"/>
                    <a:pt x="84" y="374"/>
                  </a:cubicBezTo>
                  <a:cubicBezTo>
                    <a:pt x="86" y="375"/>
                    <a:pt x="86" y="375"/>
                    <a:pt x="86" y="375"/>
                  </a:cubicBezTo>
                  <a:cubicBezTo>
                    <a:pt x="90" y="370"/>
                    <a:pt x="90" y="370"/>
                    <a:pt x="90" y="370"/>
                  </a:cubicBezTo>
                  <a:cubicBezTo>
                    <a:pt x="90" y="366"/>
                    <a:pt x="90" y="366"/>
                    <a:pt x="90" y="366"/>
                  </a:cubicBezTo>
                  <a:cubicBezTo>
                    <a:pt x="90" y="365"/>
                    <a:pt x="90" y="365"/>
                    <a:pt x="90" y="365"/>
                  </a:cubicBezTo>
                  <a:cubicBezTo>
                    <a:pt x="88" y="363"/>
                    <a:pt x="88" y="363"/>
                    <a:pt x="88" y="363"/>
                  </a:cubicBezTo>
                  <a:cubicBezTo>
                    <a:pt x="86" y="361"/>
                    <a:pt x="86" y="361"/>
                    <a:pt x="86" y="361"/>
                  </a:cubicBezTo>
                  <a:cubicBezTo>
                    <a:pt x="88" y="359"/>
                    <a:pt x="88" y="359"/>
                    <a:pt x="88" y="359"/>
                  </a:cubicBezTo>
                  <a:cubicBezTo>
                    <a:pt x="88" y="359"/>
                    <a:pt x="88" y="359"/>
                    <a:pt x="88" y="359"/>
                  </a:cubicBezTo>
                  <a:cubicBezTo>
                    <a:pt x="90" y="359"/>
                    <a:pt x="90" y="359"/>
                    <a:pt x="90" y="359"/>
                  </a:cubicBezTo>
                  <a:cubicBezTo>
                    <a:pt x="91" y="357"/>
                    <a:pt x="91" y="357"/>
                    <a:pt x="91" y="357"/>
                  </a:cubicBezTo>
                  <a:cubicBezTo>
                    <a:pt x="90" y="355"/>
                    <a:pt x="90" y="355"/>
                    <a:pt x="90" y="355"/>
                  </a:cubicBezTo>
                  <a:cubicBezTo>
                    <a:pt x="90" y="352"/>
                    <a:pt x="90" y="352"/>
                    <a:pt x="90" y="352"/>
                  </a:cubicBezTo>
                  <a:cubicBezTo>
                    <a:pt x="91" y="350"/>
                    <a:pt x="91" y="350"/>
                    <a:pt x="91" y="350"/>
                  </a:cubicBezTo>
                  <a:cubicBezTo>
                    <a:pt x="95" y="352"/>
                    <a:pt x="95" y="352"/>
                    <a:pt x="95" y="352"/>
                  </a:cubicBezTo>
                  <a:cubicBezTo>
                    <a:pt x="91" y="355"/>
                    <a:pt x="91" y="355"/>
                    <a:pt x="91" y="355"/>
                  </a:cubicBezTo>
                  <a:cubicBezTo>
                    <a:pt x="93" y="359"/>
                    <a:pt x="93" y="359"/>
                    <a:pt x="93" y="359"/>
                  </a:cubicBezTo>
                  <a:cubicBezTo>
                    <a:pt x="91" y="363"/>
                    <a:pt x="91" y="363"/>
                    <a:pt x="91" y="363"/>
                  </a:cubicBezTo>
                  <a:cubicBezTo>
                    <a:pt x="93" y="365"/>
                    <a:pt x="93" y="365"/>
                    <a:pt x="93" y="365"/>
                  </a:cubicBezTo>
                  <a:cubicBezTo>
                    <a:pt x="95" y="368"/>
                    <a:pt x="95" y="368"/>
                    <a:pt x="95" y="368"/>
                  </a:cubicBezTo>
                  <a:cubicBezTo>
                    <a:pt x="99" y="372"/>
                    <a:pt x="99" y="372"/>
                    <a:pt x="99" y="372"/>
                  </a:cubicBezTo>
                  <a:cubicBezTo>
                    <a:pt x="102" y="370"/>
                    <a:pt x="102" y="370"/>
                    <a:pt x="102" y="370"/>
                  </a:cubicBezTo>
                  <a:cubicBezTo>
                    <a:pt x="104" y="372"/>
                    <a:pt x="104" y="372"/>
                    <a:pt x="104" y="372"/>
                  </a:cubicBezTo>
                  <a:cubicBezTo>
                    <a:pt x="102" y="374"/>
                    <a:pt x="102" y="374"/>
                    <a:pt x="102" y="374"/>
                  </a:cubicBezTo>
                  <a:cubicBezTo>
                    <a:pt x="104" y="375"/>
                    <a:pt x="104" y="375"/>
                    <a:pt x="104" y="375"/>
                  </a:cubicBezTo>
                  <a:cubicBezTo>
                    <a:pt x="108" y="379"/>
                    <a:pt x="108" y="379"/>
                    <a:pt x="108" y="379"/>
                  </a:cubicBezTo>
                  <a:cubicBezTo>
                    <a:pt x="110" y="375"/>
                    <a:pt x="110" y="375"/>
                    <a:pt x="110" y="375"/>
                  </a:cubicBezTo>
                  <a:cubicBezTo>
                    <a:pt x="108" y="365"/>
                    <a:pt x="108" y="365"/>
                    <a:pt x="108" y="365"/>
                  </a:cubicBezTo>
                  <a:cubicBezTo>
                    <a:pt x="106" y="359"/>
                    <a:pt x="106" y="359"/>
                    <a:pt x="106" y="359"/>
                  </a:cubicBezTo>
                  <a:cubicBezTo>
                    <a:pt x="108" y="357"/>
                    <a:pt x="108" y="357"/>
                    <a:pt x="108" y="357"/>
                  </a:cubicBezTo>
                  <a:cubicBezTo>
                    <a:pt x="110" y="355"/>
                    <a:pt x="110" y="355"/>
                    <a:pt x="110" y="355"/>
                  </a:cubicBezTo>
                  <a:cubicBezTo>
                    <a:pt x="108" y="352"/>
                    <a:pt x="108" y="352"/>
                    <a:pt x="108" y="352"/>
                  </a:cubicBezTo>
                  <a:cubicBezTo>
                    <a:pt x="108" y="350"/>
                    <a:pt x="108" y="350"/>
                    <a:pt x="108" y="350"/>
                  </a:cubicBezTo>
                  <a:cubicBezTo>
                    <a:pt x="113" y="350"/>
                    <a:pt x="113" y="350"/>
                    <a:pt x="113" y="350"/>
                  </a:cubicBezTo>
                  <a:cubicBezTo>
                    <a:pt x="115" y="346"/>
                    <a:pt x="115" y="346"/>
                    <a:pt x="115" y="346"/>
                  </a:cubicBezTo>
                  <a:cubicBezTo>
                    <a:pt x="115" y="343"/>
                    <a:pt x="115" y="343"/>
                    <a:pt x="115" y="343"/>
                  </a:cubicBezTo>
                  <a:cubicBezTo>
                    <a:pt x="117" y="337"/>
                    <a:pt x="117" y="337"/>
                    <a:pt x="117" y="337"/>
                  </a:cubicBezTo>
                  <a:cubicBezTo>
                    <a:pt x="115" y="334"/>
                    <a:pt x="115" y="334"/>
                    <a:pt x="115" y="334"/>
                  </a:cubicBezTo>
                  <a:cubicBezTo>
                    <a:pt x="113" y="326"/>
                    <a:pt x="113" y="326"/>
                    <a:pt x="113" y="326"/>
                  </a:cubicBezTo>
                  <a:cubicBezTo>
                    <a:pt x="111" y="321"/>
                    <a:pt x="111" y="321"/>
                    <a:pt x="111" y="321"/>
                  </a:cubicBezTo>
                  <a:cubicBezTo>
                    <a:pt x="111" y="317"/>
                    <a:pt x="111" y="317"/>
                    <a:pt x="111" y="317"/>
                  </a:cubicBezTo>
                  <a:cubicBezTo>
                    <a:pt x="119" y="315"/>
                    <a:pt x="119" y="315"/>
                    <a:pt x="119" y="315"/>
                  </a:cubicBezTo>
                  <a:cubicBezTo>
                    <a:pt x="119" y="310"/>
                    <a:pt x="119" y="310"/>
                    <a:pt x="119" y="310"/>
                  </a:cubicBezTo>
                  <a:cubicBezTo>
                    <a:pt x="121" y="304"/>
                    <a:pt x="121" y="304"/>
                    <a:pt x="121" y="304"/>
                  </a:cubicBezTo>
                  <a:cubicBezTo>
                    <a:pt x="115" y="299"/>
                    <a:pt x="115" y="299"/>
                    <a:pt x="115" y="299"/>
                  </a:cubicBezTo>
                  <a:cubicBezTo>
                    <a:pt x="110" y="297"/>
                    <a:pt x="110" y="297"/>
                    <a:pt x="110" y="297"/>
                  </a:cubicBezTo>
                  <a:cubicBezTo>
                    <a:pt x="110" y="290"/>
                    <a:pt x="110" y="290"/>
                    <a:pt x="110" y="290"/>
                  </a:cubicBezTo>
                  <a:cubicBezTo>
                    <a:pt x="110" y="284"/>
                    <a:pt x="110" y="284"/>
                    <a:pt x="110" y="284"/>
                  </a:cubicBezTo>
                  <a:cubicBezTo>
                    <a:pt x="110" y="277"/>
                    <a:pt x="110" y="277"/>
                    <a:pt x="110" y="277"/>
                  </a:cubicBezTo>
                  <a:cubicBezTo>
                    <a:pt x="108" y="272"/>
                    <a:pt x="108" y="272"/>
                    <a:pt x="108" y="272"/>
                  </a:cubicBezTo>
                  <a:cubicBezTo>
                    <a:pt x="110" y="266"/>
                    <a:pt x="110" y="266"/>
                    <a:pt x="110" y="266"/>
                  </a:cubicBezTo>
                  <a:cubicBezTo>
                    <a:pt x="108" y="257"/>
                    <a:pt x="108" y="257"/>
                    <a:pt x="108" y="257"/>
                  </a:cubicBezTo>
                  <a:cubicBezTo>
                    <a:pt x="106" y="248"/>
                    <a:pt x="106" y="248"/>
                    <a:pt x="106" y="248"/>
                  </a:cubicBezTo>
                  <a:cubicBezTo>
                    <a:pt x="108" y="241"/>
                    <a:pt x="108" y="241"/>
                    <a:pt x="108" y="241"/>
                  </a:cubicBezTo>
                  <a:cubicBezTo>
                    <a:pt x="111" y="233"/>
                    <a:pt x="111" y="233"/>
                    <a:pt x="111" y="233"/>
                  </a:cubicBezTo>
                  <a:cubicBezTo>
                    <a:pt x="115" y="231"/>
                    <a:pt x="115" y="231"/>
                    <a:pt x="115" y="231"/>
                  </a:cubicBezTo>
                  <a:cubicBezTo>
                    <a:pt x="121" y="233"/>
                    <a:pt x="121" y="233"/>
                    <a:pt x="121" y="233"/>
                  </a:cubicBezTo>
                  <a:cubicBezTo>
                    <a:pt x="126" y="233"/>
                    <a:pt x="126" y="233"/>
                    <a:pt x="126" y="233"/>
                  </a:cubicBezTo>
                  <a:cubicBezTo>
                    <a:pt x="130" y="230"/>
                    <a:pt x="130" y="230"/>
                    <a:pt x="130" y="230"/>
                  </a:cubicBezTo>
                  <a:cubicBezTo>
                    <a:pt x="128" y="222"/>
                    <a:pt x="128" y="222"/>
                    <a:pt x="128" y="222"/>
                  </a:cubicBezTo>
                  <a:cubicBezTo>
                    <a:pt x="126" y="221"/>
                    <a:pt x="126" y="221"/>
                    <a:pt x="126" y="221"/>
                  </a:cubicBezTo>
                  <a:cubicBezTo>
                    <a:pt x="128" y="215"/>
                    <a:pt x="128" y="215"/>
                    <a:pt x="128" y="215"/>
                  </a:cubicBezTo>
                  <a:cubicBezTo>
                    <a:pt x="133" y="202"/>
                    <a:pt x="133" y="202"/>
                    <a:pt x="133" y="202"/>
                  </a:cubicBezTo>
                  <a:cubicBezTo>
                    <a:pt x="133" y="193"/>
                    <a:pt x="133" y="193"/>
                    <a:pt x="133" y="193"/>
                  </a:cubicBezTo>
                  <a:cubicBezTo>
                    <a:pt x="135" y="186"/>
                    <a:pt x="135" y="186"/>
                    <a:pt x="135" y="186"/>
                  </a:cubicBezTo>
                  <a:cubicBezTo>
                    <a:pt x="137" y="180"/>
                    <a:pt x="137" y="180"/>
                    <a:pt x="137" y="180"/>
                  </a:cubicBezTo>
                  <a:cubicBezTo>
                    <a:pt x="137" y="177"/>
                    <a:pt x="137" y="177"/>
                    <a:pt x="137" y="177"/>
                  </a:cubicBezTo>
                  <a:cubicBezTo>
                    <a:pt x="133" y="173"/>
                    <a:pt x="133" y="173"/>
                    <a:pt x="133" y="173"/>
                  </a:cubicBezTo>
                  <a:cubicBezTo>
                    <a:pt x="133" y="170"/>
                    <a:pt x="133" y="170"/>
                    <a:pt x="133" y="170"/>
                  </a:cubicBezTo>
                  <a:cubicBezTo>
                    <a:pt x="139" y="168"/>
                    <a:pt x="139" y="168"/>
                    <a:pt x="139" y="168"/>
                  </a:cubicBezTo>
                  <a:cubicBezTo>
                    <a:pt x="146" y="166"/>
                    <a:pt x="146" y="166"/>
                    <a:pt x="146" y="166"/>
                  </a:cubicBezTo>
                  <a:cubicBezTo>
                    <a:pt x="148" y="164"/>
                    <a:pt x="148" y="164"/>
                    <a:pt x="148" y="164"/>
                  </a:cubicBezTo>
                  <a:cubicBezTo>
                    <a:pt x="148" y="160"/>
                    <a:pt x="148" y="160"/>
                    <a:pt x="148" y="160"/>
                  </a:cubicBezTo>
                  <a:cubicBezTo>
                    <a:pt x="153" y="151"/>
                    <a:pt x="153" y="151"/>
                    <a:pt x="153" y="151"/>
                  </a:cubicBezTo>
                  <a:cubicBezTo>
                    <a:pt x="159" y="146"/>
                    <a:pt x="159" y="146"/>
                    <a:pt x="159" y="146"/>
                  </a:cubicBezTo>
                  <a:cubicBezTo>
                    <a:pt x="159" y="140"/>
                    <a:pt x="159" y="140"/>
                    <a:pt x="159" y="140"/>
                  </a:cubicBezTo>
                  <a:cubicBezTo>
                    <a:pt x="157" y="137"/>
                    <a:pt x="157" y="137"/>
                    <a:pt x="157" y="137"/>
                  </a:cubicBezTo>
                  <a:cubicBezTo>
                    <a:pt x="155" y="133"/>
                    <a:pt x="155" y="133"/>
                    <a:pt x="155" y="133"/>
                  </a:cubicBezTo>
                  <a:cubicBezTo>
                    <a:pt x="155" y="126"/>
                    <a:pt x="155" y="126"/>
                    <a:pt x="155" y="126"/>
                  </a:cubicBezTo>
                  <a:cubicBezTo>
                    <a:pt x="157" y="124"/>
                    <a:pt x="157" y="124"/>
                    <a:pt x="157" y="124"/>
                  </a:cubicBezTo>
                  <a:cubicBezTo>
                    <a:pt x="161" y="122"/>
                    <a:pt x="161" y="122"/>
                    <a:pt x="161" y="122"/>
                  </a:cubicBezTo>
                  <a:cubicBezTo>
                    <a:pt x="161" y="117"/>
                    <a:pt x="161" y="117"/>
                    <a:pt x="161" y="117"/>
                  </a:cubicBezTo>
                  <a:cubicBezTo>
                    <a:pt x="163" y="117"/>
                    <a:pt x="163" y="117"/>
                    <a:pt x="163" y="117"/>
                  </a:cubicBezTo>
                  <a:cubicBezTo>
                    <a:pt x="166" y="111"/>
                    <a:pt x="166" y="111"/>
                    <a:pt x="166" y="111"/>
                  </a:cubicBezTo>
                  <a:cubicBezTo>
                    <a:pt x="170" y="108"/>
                    <a:pt x="170" y="108"/>
                    <a:pt x="170" y="108"/>
                  </a:cubicBezTo>
                  <a:cubicBezTo>
                    <a:pt x="173" y="109"/>
                    <a:pt x="173" y="109"/>
                    <a:pt x="173" y="109"/>
                  </a:cubicBezTo>
                  <a:cubicBezTo>
                    <a:pt x="175" y="111"/>
                    <a:pt x="175" y="111"/>
                    <a:pt x="175" y="111"/>
                  </a:cubicBezTo>
                  <a:cubicBezTo>
                    <a:pt x="177" y="111"/>
                    <a:pt x="177" y="111"/>
                    <a:pt x="177" y="111"/>
                  </a:cubicBezTo>
                  <a:cubicBezTo>
                    <a:pt x="179" y="109"/>
                    <a:pt x="179" y="109"/>
                    <a:pt x="179" y="109"/>
                  </a:cubicBezTo>
                  <a:cubicBezTo>
                    <a:pt x="177" y="106"/>
                    <a:pt x="177" y="106"/>
                    <a:pt x="177" y="106"/>
                  </a:cubicBezTo>
                  <a:cubicBezTo>
                    <a:pt x="179" y="104"/>
                    <a:pt x="179" y="104"/>
                    <a:pt x="179" y="104"/>
                  </a:cubicBezTo>
                  <a:cubicBezTo>
                    <a:pt x="179" y="102"/>
                    <a:pt x="179" y="102"/>
                    <a:pt x="179" y="102"/>
                  </a:cubicBezTo>
                  <a:cubicBezTo>
                    <a:pt x="181" y="100"/>
                    <a:pt x="181" y="100"/>
                    <a:pt x="181" y="100"/>
                  </a:cubicBezTo>
                  <a:cubicBezTo>
                    <a:pt x="177" y="95"/>
                    <a:pt x="177" y="95"/>
                    <a:pt x="177" y="95"/>
                  </a:cubicBezTo>
                  <a:cubicBezTo>
                    <a:pt x="179" y="95"/>
                    <a:pt x="179" y="95"/>
                    <a:pt x="179" y="95"/>
                  </a:cubicBezTo>
                  <a:cubicBezTo>
                    <a:pt x="184" y="95"/>
                    <a:pt x="184" y="95"/>
                    <a:pt x="184" y="95"/>
                  </a:cubicBezTo>
                  <a:cubicBezTo>
                    <a:pt x="188" y="93"/>
                    <a:pt x="188" y="93"/>
                    <a:pt x="188" y="93"/>
                  </a:cubicBezTo>
                  <a:cubicBezTo>
                    <a:pt x="194" y="93"/>
                    <a:pt x="194" y="93"/>
                    <a:pt x="194" y="93"/>
                  </a:cubicBezTo>
                  <a:cubicBezTo>
                    <a:pt x="197" y="97"/>
                    <a:pt x="197" y="97"/>
                    <a:pt x="197" y="97"/>
                  </a:cubicBezTo>
                  <a:cubicBezTo>
                    <a:pt x="201" y="97"/>
                    <a:pt x="201" y="97"/>
                    <a:pt x="201" y="97"/>
                  </a:cubicBezTo>
                  <a:cubicBezTo>
                    <a:pt x="204" y="98"/>
                    <a:pt x="204" y="98"/>
                    <a:pt x="204" y="98"/>
                  </a:cubicBezTo>
                  <a:cubicBezTo>
                    <a:pt x="206" y="98"/>
                    <a:pt x="206" y="98"/>
                    <a:pt x="206" y="98"/>
                  </a:cubicBezTo>
                  <a:cubicBezTo>
                    <a:pt x="206" y="98"/>
                    <a:pt x="206" y="98"/>
                    <a:pt x="206" y="98"/>
                  </a:cubicBezTo>
                  <a:cubicBezTo>
                    <a:pt x="206" y="95"/>
                    <a:pt x="206" y="95"/>
                    <a:pt x="206" y="95"/>
                  </a:cubicBezTo>
                  <a:cubicBezTo>
                    <a:pt x="204" y="91"/>
                    <a:pt x="204" y="91"/>
                    <a:pt x="204" y="91"/>
                  </a:cubicBezTo>
                  <a:cubicBezTo>
                    <a:pt x="206" y="86"/>
                    <a:pt x="206" y="86"/>
                    <a:pt x="206" y="86"/>
                  </a:cubicBezTo>
                  <a:cubicBezTo>
                    <a:pt x="208" y="86"/>
                    <a:pt x="208" y="86"/>
                    <a:pt x="208" y="86"/>
                  </a:cubicBezTo>
                  <a:cubicBezTo>
                    <a:pt x="208" y="82"/>
                    <a:pt x="208" y="82"/>
                    <a:pt x="208" y="82"/>
                  </a:cubicBezTo>
                  <a:cubicBezTo>
                    <a:pt x="204" y="80"/>
                    <a:pt x="204" y="80"/>
                    <a:pt x="204" y="80"/>
                  </a:cubicBezTo>
                  <a:cubicBezTo>
                    <a:pt x="204" y="77"/>
                    <a:pt x="204" y="77"/>
                    <a:pt x="204" y="77"/>
                  </a:cubicBezTo>
                  <a:cubicBezTo>
                    <a:pt x="208" y="78"/>
                    <a:pt x="208" y="78"/>
                    <a:pt x="208" y="78"/>
                  </a:cubicBezTo>
                  <a:cubicBezTo>
                    <a:pt x="212" y="77"/>
                    <a:pt x="212" y="77"/>
                    <a:pt x="212" y="77"/>
                  </a:cubicBezTo>
                  <a:cubicBezTo>
                    <a:pt x="214" y="77"/>
                    <a:pt x="214" y="77"/>
                    <a:pt x="214" y="77"/>
                  </a:cubicBezTo>
                  <a:cubicBezTo>
                    <a:pt x="214" y="77"/>
                    <a:pt x="214" y="77"/>
                    <a:pt x="214" y="77"/>
                  </a:cubicBezTo>
                  <a:cubicBezTo>
                    <a:pt x="214" y="75"/>
                    <a:pt x="214" y="75"/>
                    <a:pt x="214" y="75"/>
                  </a:cubicBezTo>
                  <a:cubicBezTo>
                    <a:pt x="215" y="77"/>
                    <a:pt x="215" y="77"/>
                    <a:pt x="215" y="77"/>
                  </a:cubicBezTo>
                  <a:cubicBezTo>
                    <a:pt x="217" y="75"/>
                    <a:pt x="217" y="75"/>
                    <a:pt x="217" y="75"/>
                  </a:cubicBezTo>
                  <a:cubicBezTo>
                    <a:pt x="215" y="73"/>
                    <a:pt x="215" y="73"/>
                    <a:pt x="215" y="73"/>
                  </a:cubicBezTo>
                  <a:cubicBezTo>
                    <a:pt x="217" y="69"/>
                    <a:pt x="217" y="69"/>
                    <a:pt x="217" y="69"/>
                  </a:cubicBezTo>
                  <a:cubicBezTo>
                    <a:pt x="219" y="67"/>
                    <a:pt x="219" y="67"/>
                    <a:pt x="219" y="67"/>
                  </a:cubicBezTo>
                  <a:cubicBezTo>
                    <a:pt x="223" y="67"/>
                    <a:pt x="223" y="67"/>
                    <a:pt x="223" y="67"/>
                  </a:cubicBezTo>
                  <a:cubicBezTo>
                    <a:pt x="225" y="71"/>
                    <a:pt x="225" y="71"/>
                    <a:pt x="225" y="71"/>
                  </a:cubicBezTo>
                  <a:cubicBezTo>
                    <a:pt x="232" y="78"/>
                    <a:pt x="232" y="78"/>
                    <a:pt x="232" y="78"/>
                  </a:cubicBezTo>
                  <a:cubicBezTo>
                    <a:pt x="234" y="82"/>
                    <a:pt x="234" y="82"/>
                    <a:pt x="234" y="82"/>
                  </a:cubicBezTo>
                  <a:cubicBezTo>
                    <a:pt x="236" y="86"/>
                    <a:pt x="236" y="86"/>
                    <a:pt x="236" y="86"/>
                  </a:cubicBezTo>
                  <a:cubicBezTo>
                    <a:pt x="241" y="87"/>
                    <a:pt x="241" y="87"/>
                    <a:pt x="241" y="87"/>
                  </a:cubicBezTo>
                  <a:cubicBezTo>
                    <a:pt x="250" y="87"/>
                    <a:pt x="250" y="87"/>
                    <a:pt x="250" y="87"/>
                  </a:cubicBezTo>
                  <a:cubicBezTo>
                    <a:pt x="254" y="84"/>
                    <a:pt x="254" y="84"/>
                    <a:pt x="254" y="84"/>
                  </a:cubicBezTo>
                  <a:cubicBezTo>
                    <a:pt x="256" y="80"/>
                    <a:pt x="256" y="80"/>
                    <a:pt x="256" y="80"/>
                  </a:cubicBezTo>
                  <a:cubicBezTo>
                    <a:pt x="259" y="80"/>
                    <a:pt x="259" y="80"/>
                    <a:pt x="259" y="80"/>
                  </a:cubicBezTo>
                  <a:cubicBezTo>
                    <a:pt x="265" y="86"/>
                    <a:pt x="265" y="86"/>
                    <a:pt x="265" y="86"/>
                  </a:cubicBezTo>
                  <a:cubicBezTo>
                    <a:pt x="268" y="86"/>
                    <a:pt x="268" y="86"/>
                    <a:pt x="268" y="86"/>
                  </a:cubicBezTo>
                  <a:cubicBezTo>
                    <a:pt x="270" y="82"/>
                    <a:pt x="270" y="82"/>
                    <a:pt x="270" y="82"/>
                  </a:cubicBezTo>
                  <a:cubicBezTo>
                    <a:pt x="274" y="80"/>
                    <a:pt x="274" y="80"/>
                    <a:pt x="274" y="80"/>
                  </a:cubicBezTo>
                  <a:cubicBezTo>
                    <a:pt x="276" y="78"/>
                    <a:pt x="276" y="78"/>
                    <a:pt x="276" y="78"/>
                  </a:cubicBezTo>
                  <a:cubicBezTo>
                    <a:pt x="279" y="78"/>
                    <a:pt x="279" y="78"/>
                    <a:pt x="279" y="78"/>
                  </a:cubicBezTo>
                  <a:cubicBezTo>
                    <a:pt x="281" y="77"/>
                    <a:pt x="281" y="77"/>
                    <a:pt x="281" y="77"/>
                  </a:cubicBezTo>
                  <a:cubicBezTo>
                    <a:pt x="283" y="75"/>
                    <a:pt x="283" y="75"/>
                    <a:pt x="283" y="75"/>
                  </a:cubicBezTo>
                  <a:cubicBezTo>
                    <a:pt x="281" y="71"/>
                    <a:pt x="281" y="71"/>
                    <a:pt x="281" y="71"/>
                  </a:cubicBezTo>
                  <a:cubicBezTo>
                    <a:pt x="281" y="66"/>
                    <a:pt x="281" y="66"/>
                    <a:pt x="281" y="66"/>
                  </a:cubicBezTo>
                  <a:cubicBezTo>
                    <a:pt x="281" y="56"/>
                    <a:pt x="281" y="56"/>
                    <a:pt x="281" y="56"/>
                  </a:cubicBezTo>
                  <a:cubicBezTo>
                    <a:pt x="283" y="55"/>
                    <a:pt x="283" y="55"/>
                    <a:pt x="283" y="55"/>
                  </a:cubicBezTo>
                  <a:cubicBezTo>
                    <a:pt x="281" y="51"/>
                    <a:pt x="281" y="51"/>
                    <a:pt x="281" y="51"/>
                  </a:cubicBezTo>
                  <a:cubicBezTo>
                    <a:pt x="283" y="51"/>
                    <a:pt x="283" y="51"/>
                    <a:pt x="283" y="51"/>
                  </a:cubicBezTo>
                  <a:cubicBezTo>
                    <a:pt x="285" y="47"/>
                    <a:pt x="285" y="47"/>
                    <a:pt x="285" y="47"/>
                  </a:cubicBezTo>
                  <a:cubicBezTo>
                    <a:pt x="285" y="44"/>
                    <a:pt x="285" y="44"/>
                    <a:pt x="285" y="44"/>
                  </a:cubicBezTo>
                  <a:cubicBezTo>
                    <a:pt x="288" y="44"/>
                    <a:pt x="288" y="44"/>
                    <a:pt x="288" y="44"/>
                  </a:cubicBezTo>
                  <a:cubicBezTo>
                    <a:pt x="294" y="44"/>
                    <a:pt x="294" y="44"/>
                    <a:pt x="294" y="44"/>
                  </a:cubicBezTo>
                  <a:cubicBezTo>
                    <a:pt x="296" y="44"/>
                    <a:pt x="296" y="44"/>
                    <a:pt x="296" y="44"/>
                  </a:cubicBezTo>
                  <a:cubicBezTo>
                    <a:pt x="296" y="42"/>
                    <a:pt x="296" y="42"/>
                    <a:pt x="296" y="42"/>
                  </a:cubicBezTo>
                  <a:cubicBezTo>
                    <a:pt x="298" y="38"/>
                    <a:pt x="298" y="38"/>
                    <a:pt x="298" y="38"/>
                  </a:cubicBezTo>
                  <a:cubicBezTo>
                    <a:pt x="305" y="38"/>
                    <a:pt x="305" y="38"/>
                    <a:pt x="305" y="38"/>
                  </a:cubicBezTo>
                  <a:cubicBezTo>
                    <a:pt x="309" y="40"/>
                    <a:pt x="309" y="40"/>
                    <a:pt x="309" y="40"/>
                  </a:cubicBezTo>
                  <a:cubicBezTo>
                    <a:pt x="314" y="46"/>
                    <a:pt x="314" y="46"/>
                    <a:pt x="314" y="46"/>
                  </a:cubicBezTo>
                  <a:cubicBezTo>
                    <a:pt x="316" y="49"/>
                    <a:pt x="316" y="49"/>
                    <a:pt x="316" y="49"/>
                  </a:cubicBezTo>
                  <a:cubicBezTo>
                    <a:pt x="319" y="49"/>
                    <a:pt x="319" y="49"/>
                    <a:pt x="319" y="49"/>
                  </a:cubicBezTo>
                  <a:cubicBezTo>
                    <a:pt x="325" y="51"/>
                    <a:pt x="325" y="51"/>
                    <a:pt x="325" y="51"/>
                  </a:cubicBezTo>
                  <a:cubicBezTo>
                    <a:pt x="327" y="53"/>
                    <a:pt x="327" y="53"/>
                    <a:pt x="327" y="53"/>
                  </a:cubicBezTo>
                  <a:cubicBezTo>
                    <a:pt x="329" y="56"/>
                    <a:pt x="329" y="56"/>
                    <a:pt x="329" y="56"/>
                  </a:cubicBezTo>
                  <a:cubicBezTo>
                    <a:pt x="329" y="60"/>
                    <a:pt x="329" y="60"/>
                    <a:pt x="329" y="60"/>
                  </a:cubicBezTo>
                  <a:cubicBezTo>
                    <a:pt x="327" y="66"/>
                    <a:pt x="327" y="66"/>
                    <a:pt x="327" y="66"/>
                  </a:cubicBezTo>
                  <a:cubicBezTo>
                    <a:pt x="327" y="73"/>
                    <a:pt x="327" y="73"/>
                    <a:pt x="327" y="73"/>
                  </a:cubicBezTo>
                  <a:close/>
                  <a:moveTo>
                    <a:pt x="17" y="372"/>
                  </a:moveTo>
                  <a:cubicBezTo>
                    <a:pt x="18" y="374"/>
                    <a:pt x="18" y="374"/>
                    <a:pt x="18" y="374"/>
                  </a:cubicBezTo>
                  <a:cubicBezTo>
                    <a:pt x="17" y="374"/>
                    <a:pt x="17" y="374"/>
                    <a:pt x="17" y="374"/>
                  </a:cubicBezTo>
                  <a:cubicBezTo>
                    <a:pt x="17" y="372"/>
                    <a:pt x="17" y="372"/>
                    <a:pt x="17" y="372"/>
                  </a:cubicBezTo>
                  <a:close/>
                  <a:moveTo>
                    <a:pt x="9" y="352"/>
                  </a:moveTo>
                  <a:cubicBezTo>
                    <a:pt x="7" y="352"/>
                    <a:pt x="11" y="352"/>
                    <a:pt x="11" y="352"/>
                  </a:cubicBezTo>
                  <a:cubicBezTo>
                    <a:pt x="13" y="354"/>
                    <a:pt x="13" y="354"/>
                    <a:pt x="13" y="354"/>
                  </a:cubicBezTo>
                  <a:cubicBezTo>
                    <a:pt x="11" y="355"/>
                    <a:pt x="11" y="355"/>
                    <a:pt x="11" y="355"/>
                  </a:cubicBezTo>
                  <a:cubicBezTo>
                    <a:pt x="9" y="352"/>
                    <a:pt x="9" y="352"/>
                    <a:pt x="9" y="352"/>
                  </a:cubicBezTo>
                  <a:close/>
                  <a:moveTo>
                    <a:pt x="15" y="344"/>
                  </a:moveTo>
                  <a:cubicBezTo>
                    <a:pt x="15" y="348"/>
                    <a:pt x="15" y="348"/>
                    <a:pt x="15" y="348"/>
                  </a:cubicBezTo>
                  <a:cubicBezTo>
                    <a:pt x="13" y="348"/>
                    <a:pt x="13" y="348"/>
                    <a:pt x="13" y="348"/>
                  </a:cubicBezTo>
                  <a:cubicBezTo>
                    <a:pt x="15" y="344"/>
                    <a:pt x="15" y="344"/>
                    <a:pt x="15" y="344"/>
                  </a:cubicBezTo>
                  <a:close/>
                  <a:moveTo>
                    <a:pt x="11" y="344"/>
                  </a:moveTo>
                  <a:cubicBezTo>
                    <a:pt x="11" y="346"/>
                    <a:pt x="11" y="346"/>
                    <a:pt x="11" y="346"/>
                  </a:cubicBezTo>
                  <a:cubicBezTo>
                    <a:pt x="7" y="346"/>
                    <a:pt x="7" y="346"/>
                    <a:pt x="7" y="346"/>
                  </a:cubicBezTo>
                  <a:cubicBezTo>
                    <a:pt x="11" y="344"/>
                    <a:pt x="11" y="344"/>
                    <a:pt x="11" y="344"/>
                  </a:cubicBezTo>
                  <a:close/>
                  <a:moveTo>
                    <a:pt x="6" y="330"/>
                  </a:moveTo>
                  <a:cubicBezTo>
                    <a:pt x="2" y="328"/>
                    <a:pt x="2" y="328"/>
                    <a:pt x="2" y="328"/>
                  </a:cubicBezTo>
                  <a:cubicBezTo>
                    <a:pt x="6" y="326"/>
                    <a:pt x="6" y="326"/>
                    <a:pt x="6" y="326"/>
                  </a:cubicBezTo>
                  <a:cubicBezTo>
                    <a:pt x="6" y="330"/>
                    <a:pt x="6" y="330"/>
                    <a:pt x="6" y="330"/>
                  </a:cubicBezTo>
                  <a:close/>
                  <a:moveTo>
                    <a:pt x="4" y="334"/>
                  </a:moveTo>
                  <a:cubicBezTo>
                    <a:pt x="7" y="334"/>
                    <a:pt x="7" y="334"/>
                    <a:pt x="7" y="334"/>
                  </a:cubicBezTo>
                  <a:cubicBezTo>
                    <a:pt x="6" y="335"/>
                    <a:pt x="6" y="335"/>
                    <a:pt x="6" y="335"/>
                  </a:cubicBezTo>
                  <a:cubicBezTo>
                    <a:pt x="4" y="334"/>
                    <a:pt x="4" y="334"/>
                    <a:pt x="4" y="334"/>
                  </a:cubicBezTo>
                  <a:close/>
                  <a:moveTo>
                    <a:pt x="11" y="337"/>
                  </a:moveTo>
                  <a:cubicBezTo>
                    <a:pt x="13" y="339"/>
                    <a:pt x="13" y="339"/>
                    <a:pt x="13" y="339"/>
                  </a:cubicBezTo>
                  <a:cubicBezTo>
                    <a:pt x="13" y="343"/>
                    <a:pt x="13" y="343"/>
                    <a:pt x="13" y="343"/>
                  </a:cubicBezTo>
                  <a:cubicBezTo>
                    <a:pt x="11" y="337"/>
                    <a:pt x="11" y="337"/>
                    <a:pt x="11" y="337"/>
                  </a:cubicBezTo>
                  <a:close/>
                  <a:moveTo>
                    <a:pt x="6" y="341"/>
                  </a:moveTo>
                  <a:cubicBezTo>
                    <a:pt x="4" y="337"/>
                    <a:pt x="4" y="337"/>
                    <a:pt x="4" y="337"/>
                  </a:cubicBezTo>
                  <a:cubicBezTo>
                    <a:pt x="7" y="337"/>
                    <a:pt x="7" y="337"/>
                    <a:pt x="7" y="337"/>
                  </a:cubicBezTo>
                  <a:cubicBezTo>
                    <a:pt x="6" y="341"/>
                    <a:pt x="6" y="341"/>
                    <a:pt x="6" y="341"/>
                  </a:cubicBezTo>
                  <a:close/>
                  <a:moveTo>
                    <a:pt x="4" y="321"/>
                  </a:moveTo>
                  <a:cubicBezTo>
                    <a:pt x="0" y="323"/>
                    <a:pt x="0" y="323"/>
                    <a:pt x="0" y="323"/>
                  </a:cubicBezTo>
                  <a:cubicBezTo>
                    <a:pt x="2" y="324"/>
                    <a:pt x="2" y="324"/>
                    <a:pt x="2" y="324"/>
                  </a:cubicBezTo>
                  <a:cubicBezTo>
                    <a:pt x="4" y="323"/>
                    <a:pt x="4" y="323"/>
                    <a:pt x="4" y="323"/>
                  </a:cubicBezTo>
                  <a:cubicBezTo>
                    <a:pt x="4" y="321"/>
                    <a:pt x="4" y="321"/>
                    <a:pt x="4" y="321"/>
                  </a:cubicBezTo>
                  <a:close/>
                  <a:moveTo>
                    <a:pt x="2" y="297"/>
                  </a:moveTo>
                  <a:cubicBezTo>
                    <a:pt x="6" y="299"/>
                    <a:pt x="6" y="299"/>
                    <a:pt x="6" y="299"/>
                  </a:cubicBezTo>
                  <a:cubicBezTo>
                    <a:pt x="4" y="299"/>
                    <a:pt x="4" y="299"/>
                    <a:pt x="4" y="299"/>
                  </a:cubicBezTo>
                  <a:cubicBezTo>
                    <a:pt x="2" y="297"/>
                    <a:pt x="2" y="297"/>
                    <a:pt x="2" y="297"/>
                  </a:cubicBezTo>
                  <a:close/>
                  <a:moveTo>
                    <a:pt x="4" y="292"/>
                  </a:moveTo>
                  <a:cubicBezTo>
                    <a:pt x="7" y="293"/>
                    <a:pt x="7" y="293"/>
                    <a:pt x="7" y="293"/>
                  </a:cubicBezTo>
                  <a:cubicBezTo>
                    <a:pt x="6" y="295"/>
                    <a:pt x="6" y="295"/>
                    <a:pt x="6" y="295"/>
                  </a:cubicBezTo>
                  <a:cubicBezTo>
                    <a:pt x="4" y="292"/>
                    <a:pt x="4" y="292"/>
                    <a:pt x="4" y="292"/>
                  </a:cubicBezTo>
                  <a:close/>
                  <a:moveTo>
                    <a:pt x="13" y="284"/>
                  </a:moveTo>
                  <a:cubicBezTo>
                    <a:pt x="15" y="286"/>
                    <a:pt x="15" y="286"/>
                    <a:pt x="15" y="286"/>
                  </a:cubicBezTo>
                  <a:cubicBezTo>
                    <a:pt x="11" y="286"/>
                    <a:pt x="11" y="286"/>
                    <a:pt x="11" y="286"/>
                  </a:cubicBezTo>
                  <a:cubicBezTo>
                    <a:pt x="13" y="284"/>
                    <a:pt x="13" y="284"/>
                    <a:pt x="13" y="284"/>
                  </a:cubicBezTo>
                  <a:close/>
                  <a:moveTo>
                    <a:pt x="17" y="283"/>
                  </a:moveTo>
                  <a:cubicBezTo>
                    <a:pt x="18" y="283"/>
                    <a:pt x="18" y="283"/>
                    <a:pt x="18" y="283"/>
                  </a:cubicBezTo>
                  <a:cubicBezTo>
                    <a:pt x="20" y="284"/>
                    <a:pt x="20" y="284"/>
                    <a:pt x="20" y="284"/>
                  </a:cubicBezTo>
                  <a:cubicBezTo>
                    <a:pt x="17" y="286"/>
                    <a:pt x="17" y="286"/>
                    <a:pt x="17" y="286"/>
                  </a:cubicBezTo>
                  <a:cubicBezTo>
                    <a:pt x="17" y="283"/>
                    <a:pt x="17" y="283"/>
                    <a:pt x="17" y="283"/>
                  </a:cubicBezTo>
                  <a:close/>
                  <a:moveTo>
                    <a:pt x="48" y="261"/>
                  </a:moveTo>
                  <a:cubicBezTo>
                    <a:pt x="49" y="257"/>
                    <a:pt x="49" y="257"/>
                    <a:pt x="49" y="257"/>
                  </a:cubicBezTo>
                  <a:cubicBezTo>
                    <a:pt x="51" y="261"/>
                    <a:pt x="51" y="261"/>
                    <a:pt x="51" y="261"/>
                  </a:cubicBezTo>
                  <a:cubicBezTo>
                    <a:pt x="49" y="262"/>
                    <a:pt x="49" y="262"/>
                    <a:pt x="49" y="262"/>
                  </a:cubicBezTo>
                  <a:cubicBezTo>
                    <a:pt x="48" y="261"/>
                    <a:pt x="48" y="261"/>
                    <a:pt x="48" y="261"/>
                  </a:cubicBezTo>
                  <a:close/>
                  <a:moveTo>
                    <a:pt x="48" y="255"/>
                  </a:moveTo>
                  <a:cubicBezTo>
                    <a:pt x="46" y="255"/>
                    <a:pt x="46" y="255"/>
                    <a:pt x="46" y="255"/>
                  </a:cubicBezTo>
                  <a:cubicBezTo>
                    <a:pt x="44" y="252"/>
                    <a:pt x="44" y="252"/>
                    <a:pt x="44" y="252"/>
                  </a:cubicBezTo>
                  <a:cubicBezTo>
                    <a:pt x="48" y="252"/>
                    <a:pt x="48" y="252"/>
                    <a:pt x="48" y="252"/>
                  </a:cubicBezTo>
                  <a:cubicBezTo>
                    <a:pt x="48" y="255"/>
                    <a:pt x="48" y="255"/>
                    <a:pt x="48" y="255"/>
                  </a:cubicBezTo>
                  <a:close/>
                  <a:moveTo>
                    <a:pt x="51" y="248"/>
                  </a:moveTo>
                  <a:cubicBezTo>
                    <a:pt x="57" y="242"/>
                    <a:pt x="57" y="242"/>
                    <a:pt x="57" y="242"/>
                  </a:cubicBezTo>
                  <a:cubicBezTo>
                    <a:pt x="59" y="244"/>
                    <a:pt x="59" y="244"/>
                    <a:pt x="59" y="244"/>
                  </a:cubicBezTo>
                  <a:cubicBezTo>
                    <a:pt x="55" y="248"/>
                    <a:pt x="55" y="248"/>
                    <a:pt x="55" y="248"/>
                  </a:cubicBezTo>
                  <a:cubicBezTo>
                    <a:pt x="51" y="248"/>
                    <a:pt x="51" y="248"/>
                    <a:pt x="51" y="248"/>
                  </a:cubicBezTo>
                  <a:close/>
                  <a:moveTo>
                    <a:pt x="51" y="253"/>
                  </a:moveTo>
                  <a:cubicBezTo>
                    <a:pt x="55" y="250"/>
                    <a:pt x="55" y="250"/>
                    <a:pt x="55" y="250"/>
                  </a:cubicBezTo>
                  <a:cubicBezTo>
                    <a:pt x="59" y="250"/>
                    <a:pt x="59" y="250"/>
                    <a:pt x="59" y="250"/>
                  </a:cubicBezTo>
                  <a:cubicBezTo>
                    <a:pt x="59" y="248"/>
                    <a:pt x="59" y="248"/>
                    <a:pt x="59" y="248"/>
                  </a:cubicBezTo>
                  <a:cubicBezTo>
                    <a:pt x="62" y="248"/>
                    <a:pt x="62" y="248"/>
                    <a:pt x="62" y="248"/>
                  </a:cubicBezTo>
                  <a:cubicBezTo>
                    <a:pt x="62" y="250"/>
                    <a:pt x="62" y="250"/>
                    <a:pt x="62" y="250"/>
                  </a:cubicBezTo>
                  <a:cubicBezTo>
                    <a:pt x="60" y="253"/>
                    <a:pt x="60" y="253"/>
                    <a:pt x="60" y="253"/>
                  </a:cubicBezTo>
                  <a:cubicBezTo>
                    <a:pt x="57" y="253"/>
                    <a:pt x="57" y="253"/>
                    <a:pt x="57" y="253"/>
                  </a:cubicBezTo>
                  <a:cubicBezTo>
                    <a:pt x="55" y="253"/>
                    <a:pt x="55" y="253"/>
                    <a:pt x="55" y="253"/>
                  </a:cubicBezTo>
                  <a:cubicBezTo>
                    <a:pt x="51" y="253"/>
                    <a:pt x="51" y="253"/>
                    <a:pt x="51" y="253"/>
                  </a:cubicBezTo>
                  <a:close/>
                  <a:moveTo>
                    <a:pt x="97" y="204"/>
                  </a:moveTo>
                  <a:cubicBezTo>
                    <a:pt x="99" y="202"/>
                    <a:pt x="99" y="202"/>
                    <a:pt x="99" y="202"/>
                  </a:cubicBezTo>
                  <a:cubicBezTo>
                    <a:pt x="102" y="202"/>
                    <a:pt x="102" y="202"/>
                    <a:pt x="102" y="202"/>
                  </a:cubicBezTo>
                  <a:cubicBezTo>
                    <a:pt x="99" y="206"/>
                    <a:pt x="99" y="206"/>
                    <a:pt x="99" y="206"/>
                  </a:cubicBezTo>
                  <a:cubicBezTo>
                    <a:pt x="97" y="204"/>
                    <a:pt x="97" y="204"/>
                    <a:pt x="97" y="204"/>
                  </a:cubicBezTo>
                  <a:close/>
                  <a:moveTo>
                    <a:pt x="93" y="213"/>
                  </a:moveTo>
                  <a:cubicBezTo>
                    <a:pt x="91" y="211"/>
                    <a:pt x="91" y="211"/>
                    <a:pt x="91" y="211"/>
                  </a:cubicBezTo>
                  <a:cubicBezTo>
                    <a:pt x="90" y="211"/>
                    <a:pt x="90" y="211"/>
                    <a:pt x="90" y="211"/>
                  </a:cubicBezTo>
                  <a:cubicBezTo>
                    <a:pt x="91" y="208"/>
                    <a:pt x="91" y="208"/>
                    <a:pt x="91" y="208"/>
                  </a:cubicBezTo>
                  <a:cubicBezTo>
                    <a:pt x="97" y="208"/>
                    <a:pt x="97" y="208"/>
                    <a:pt x="97" y="208"/>
                  </a:cubicBezTo>
                  <a:cubicBezTo>
                    <a:pt x="99" y="208"/>
                    <a:pt x="99" y="208"/>
                    <a:pt x="99" y="208"/>
                  </a:cubicBezTo>
                  <a:cubicBezTo>
                    <a:pt x="95" y="211"/>
                    <a:pt x="95" y="211"/>
                    <a:pt x="95" y="211"/>
                  </a:cubicBezTo>
                  <a:cubicBezTo>
                    <a:pt x="93" y="213"/>
                    <a:pt x="93" y="213"/>
                    <a:pt x="93" y="213"/>
                  </a:cubicBezTo>
                  <a:close/>
                  <a:moveTo>
                    <a:pt x="102" y="184"/>
                  </a:moveTo>
                  <a:cubicBezTo>
                    <a:pt x="102" y="186"/>
                    <a:pt x="102" y="186"/>
                    <a:pt x="102" y="186"/>
                  </a:cubicBezTo>
                  <a:cubicBezTo>
                    <a:pt x="102" y="188"/>
                    <a:pt x="102" y="188"/>
                    <a:pt x="102" y="188"/>
                  </a:cubicBezTo>
                  <a:cubicBezTo>
                    <a:pt x="102" y="190"/>
                    <a:pt x="102" y="190"/>
                    <a:pt x="102" y="190"/>
                  </a:cubicBezTo>
                  <a:cubicBezTo>
                    <a:pt x="100" y="188"/>
                    <a:pt x="100" y="188"/>
                    <a:pt x="100" y="188"/>
                  </a:cubicBezTo>
                  <a:cubicBezTo>
                    <a:pt x="102" y="184"/>
                    <a:pt x="102" y="184"/>
                    <a:pt x="102" y="184"/>
                  </a:cubicBezTo>
                  <a:close/>
                  <a:moveTo>
                    <a:pt x="108" y="179"/>
                  </a:moveTo>
                  <a:cubicBezTo>
                    <a:pt x="110" y="177"/>
                    <a:pt x="110" y="177"/>
                    <a:pt x="110" y="177"/>
                  </a:cubicBezTo>
                  <a:cubicBezTo>
                    <a:pt x="113" y="177"/>
                    <a:pt x="113" y="177"/>
                    <a:pt x="113" y="177"/>
                  </a:cubicBezTo>
                  <a:cubicBezTo>
                    <a:pt x="110" y="180"/>
                    <a:pt x="110" y="180"/>
                    <a:pt x="110" y="180"/>
                  </a:cubicBezTo>
                  <a:cubicBezTo>
                    <a:pt x="108" y="179"/>
                    <a:pt x="108" y="179"/>
                    <a:pt x="108" y="179"/>
                  </a:cubicBezTo>
                  <a:close/>
                  <a:moveTo>
                    <a:pt x="106" y="171"/>
                  </a:moveTo>
                  <a:cubicBezTo>
                    <a:pt x="110" y="168"/>
                    <a:pt x="110" y="168"/>
                    <a:pt x="110" y="168"/>
                  </a:cubicBezTo>
                  <a:cubicBezTo>
                    <a:pt x="110" y="171"/>
                    <a:pt x="110" y="171"/>
                    <a:pt x="110" y="171"/>
                  </a:cubicBezTo>
                  <a:cubicBezTo>
                    <a:pt x="108" y="177"/>
                    <a:pt x="108" y="177"/>
                    <a:pt x="108" y="177"/>
                  </a:cubicBezTo>
                  <a:cubicBezTo>
                    <a:pt x="106" y="171"/>
                    <a:pt x="106" y="171"/>
                    <a:pt x="106" y="171"/>
                  </a:cubicBezTo>
                  <a:close/>
                  <a:moveTo>
                    <a:pt x="128" y="140"/>
                  </a:moveTo>
                  <a:cubicBezTo>
                    <a:pt x="128" y="139"/>
                    <a:pt x="128" y="139"/>
                    <a:pt x="128" y="139"/>
                  </a:cubicBezTo>
                  <a:cubicBezTo>
                    <a:pt x="130" y="139"/>
                    <a:pt x="130" y="139"/>
                    <a:pt x="130" y="139"/>
                  </a:cubicBezTo>
                  <a:cubicBezTo>
                    <a:pt x="130" y="142"/>
                    <a:pt x="130" y="142"/>
                    <a:pt x="130" y="142"/>
                  </a:cubicBezTo>
                  <a:cubicBezTo>
                    <a:pt x="128" y="140"/>
                    <a:pt x="128" y="140"/>
                    <a:pt x="128" y="140"/>
                  </a:cubicBezTo>
                  <a:close/>
                  <a:moveTo>
                    <a:pt x="106" y="122"/>
                  </a:moveTo>
                  <a:cubicBezTo>
                    <a:pt x="108" y="124"/>
                    <a:pt x="108" y="124"/>
                    <a:pt x="108" y="124"/>
                  </a:cubicBezTo>
                  <a:cubicBezTo>
                    <a:pt x="108" y="126"/>
                    <a:pt x="108" y="126"/>
                    <a:pt x="108" y="126"/>
                  </a:cubicBezTo>
                  <a:cubicBezTo>
                    <a:pt x="106" y="126"/>
                    <a:pt x="106" y="126"/>
                    <a:pt x="106" y="126"/>
                  </a:cubicBezTo>
                  <a:cubicBezTo>
                    <a:pt x="106" y="122"/>
                    <a:pt x="106" y="122"/>
                    <a:pt x="106" y="122"/>
                  </a:cubicBezTo>
                  <a:close/>
                  <a:moveTo>
                    <a:pt x="111" y="115"/>
                  </a:moveTo>
                  <a:cubicBezTo>
                    <a:pt x="108" y="118"/>
                    <a:pt x="108" y="118"/>
                    <a:pt x="108" y="118"/>
                  </a:cubicBezTo>
                  <a:cubicBezTo>
                    <a:pt x="108" y="115"/>
                    <a:pt x="108" y="115"/>
                    <a:pt x="108" y="115"/>
                  </a:cubicBezTo>
                  <a:cubicBezTo>
                    <a:pt x="111" y="109"/>
                    <a:pt x="111" y="109"/>
                    <a:pt x="111" y="109"/>
                  </a:cubicBezTo>
                  <a:cubicBezTo>
                    <a:pt x="111" y="115"/>
                    <a:pt x="111" y="115"/>
                    <a:pt x="111" y="115"/>
                  </a:cubicBezTo>
                  <a:close/>
                  <a:moveTo>
                    <a:pt x="115" y="111"/>
                  </a:moveTo>
                  <a:cubicBezTo>
                    <a:pt x="113" y="109"/>
                    <a:pt x="113" y="109"/>
                    <a:pt x="113" y="109"/>
                  </a:cubicBezTo>
                  <a:cubicBezTo>
                    <a:pt x="115" y="108"/>
                    <a:pt x="115" y="108"/>
                    <a:pt x="115" y="108"/>
                  </a:cubicBezTo>
                  <a:cubicBezTo>
                    <a:pt x="117" y="109"/>
                    <a:pt x="117" y="109"/>
                    <a:pt x="117" y="109"/>
                  </a:cubicBezTo>
                  <a:cubicBezTo>
                    <a:pt x="115" y="111"/>
                    <a:pt x="115" y="111"/>
                    <a:pt x="115" y="111"/>
                  </a:cubicBezTo>
                  <a:close/>
                  <a:moveTo>
                    <a:pt x="124" y="104"/>
                  </a:moveTo>
                  <a:cubicBezTo>
                    <a:pt x="124" y="108"/>
                    <a:pt x="124" y="108"/>
                    <a:pt x="124" y="108"/>
                  </a:cubicBezTo>
                  <a:cubicBezTo>
                    <a:pt x="119" y="111"/>
                    <a:pt x="119" y="111"/>
                    <a:pt x="119" y="111"/>
                  </a:cubicBezTo>
                  <a:cubicBezTo>
                    <a:pt x="119" y="106"/>
                    <a:pt x="119" y="106"/>
                    <a:pt x="119" y="106"/>
                  </a:cubicBezTo>
                  <a:cubicBezTo>
                    <a:pt x="124" y="104"/>
                    <a:pt x="124" y="104"/>
                    <a:pt x="124" y="104"/>
                  </a:cubicBezTo>
                  <a:close/>
                  <a:moveTo>
                    <a:pt x="130" y="97"/>
                  </a:moveTo>
                  <a:cubicBezTo>
                    <a:pt x="132" y="93"/>
                    <a:pt x="132" y="93"/>
                    <a:pt x="132" y="93"/>
                  </a:cubicBezTo>
                  <a:cubicBezTo>
                    <a:pt x="135" y="97"/>
                    <a:pt x="135" y="97"/>
                    <a:pt x="135" y="97"/>
                  </a:cubicBezTo>
                  <a:cubicBezTo>
                    <a:pt x="130" y="97"/>
                    <a:pt x="130" y="97"/>
                    <a:pt x="130" y="97"/>
                  </a:cubicBezTo>
                  <a:close/>
                  <a:moveTo>
                    <a:pt x="135" y="98"/>
                  </a:moveTo>
                  <a:cubicBezTo>
                    <a:pt x="135" y="104"/>
                    <a:pt x="135" y="104"/>
                    <a:pt x="135" y="104"/>
                  </a:cubicBezTo>
                  <a:cubicBezTo>
                    <a:pt x="132" y="102"/>
                    <a:pt x="132" y="102"/>
                    <a:pt x="132" y="102"/>
                  </a:cubicBezTo>
                  <a:cubicBezTo>
                    <a:pt x="126" y="106"/>
                    <a:pt x="126" y="106"/>
                    <a:pt x="126" y="106"/>
                  </a:cubicBezTo>
                  <a:cubicBezTo>
                    <a:pt x="128" y="102"/>
                    <a:pt x="128" y="102"/>
                    <a:pt x="128" y="102"/>
                  </a:cubicBezTo>
                  <a:cubicBezTo>
                    <a:pt x="135" y="98"/>
                    <a:pt x="135" y="98"/>
                    <a:pt x="135" y="98"/>
                  </a:cubicBezTo>
                  <a:close/>
                  <a:moveTo>
                    <a:pt x="137" y="80"/>
                  </a:moveTo>
                  <a:cubicBezTo>
                    <a:pt x="139" y="86"/>
                    <a:pt x="139" y="86"/>
                    <a:pt x="139" y="86"/>
                  </a:cubicBezTo>
                  <a:cubicBezTo>
                    <a:pt x="139" y="91"/>
                    <a:pt x="139" y="91"/>
                    <a:pt x="139" y="91"/>
                  </a:cubicBezTo>
                  <a:cubicBezTo>
                    <a:pt x="133" y="93"/>
                    <a:pt x="133" y="93"/>
                    <a:pt x="133" y="93"/>
                  </a:cubicBezTo>
                  <a:cubicBezTo>
                    <a:pt x="132" y="91"/>
                    <a:pt x="132" y="91"/>
                    <a:pt x="132" y="91"/>
                  </a:cubicBezTo>
                  <a:cubicBezTo>
                    <a:pt x="137" y="87"/>
                    <a:pt x="137" y="87"/>
                    <a:pt x="137" y="87"/>
                  </a:cubicBezTo>
                  <a:cubicBezTo>
                    <a:pt x="133" y="87"/>
                    <a:pt x="133" y="87"/>
                    <a:pt x="133" y="87"/>
                  </a:cubicBezTo>
                  <a:cubicBezTo>
                    <a:pt x="130" y="91"/>
                    <a:pt x="130" y="91"/>
                    <a:pt x="130" y="91"/>
                  </a:cubicBezTo>
                  <a:cubicBezTo>
                    <a:pt x="128" y="89"/>
                    <a:pt x="128" y="89"/>
                    <a:pt x="128" y="89"/>
                  </a:cubicBezTo>
                  <a:cubicBezTo>
                    <a:pt x="130" y="86"/>
                    <a:pt x="130" y="86"/>
                    <a:pt x="130" y="86"/>
                  </a:cubicBezTo>
                  <a:cubicBezTo>
                    <a:pt x="133" y="86"/>
                    <a:pt x="133" y="86"/>
                    <a:pt x="133" y="86"/>
                  </a:cubicBezTo>
                  <a:cubicBezTo>
                    <a:pt x="135" y="84"/>
                    <a:pt x="135" y="84"/>
                    <a:pt x="135" y="84"/>
                  </a:cubicBezTo>
                  <a:cubicBezTo>
                    <a:pt x="135" y="82"/>
                    <a:pt x="135" y="82"/>
                    <a:pt x="135" y="82"/>
                  </a:cubicBezTo>
                  <a:cubicBezTo>
                    <a:pt x="137" y="80"/>
                    <a:pt x="137" y="80"/>
                    <a:pt x="137" y="80"/>
                  </a:cubicBezTo>
                  <a:close/>
                  <a:moveTo>
                    <a:pt x="141" y="84"/>
                  </a:moveTo>
                  <a:cubicBezTo>
                    <a:pt x="139" y="82"/>
                    <a:pt x="139" y="82"/>
                    <a:pt x="139" y="82"/>
                  </a:cubicBezTo>
                  <a:cubicBezTo>
                    <a:pt x="139" y="77"/>
                    <a:pt x="139" y="77"/>
                    <a:pt x="139" y="77"/>
                  </a:cubicBezTo>
                  <a:cubicBezTo>
                    <a:pt x="144" y="73"/>
                    <a:pt x="144" y="73"/>
                    <a:pt x="144" y="73"/>
                  </a:cubicBezTo>
                  <a:cubicBezTo>
                    <a:pt x="144" y="69"/>
                    <a:pt x="144" y="69"/>
                    <a:pt x="144" y="69"/>
                  </a:cubicBezTo>
                  <a:cubicBezTo>
                    <a:pt x="148" y="67"/>
                    <a:pt x="148" y="67"/>
                    <a:pt x="148" y="67"/>
                  </a:cubicBezTo>
                  <a:cubicBezTo>
                    <a:pt x="150" y="71"/>
                    <a:pt x="150" y="71"/>
                    <a:pt x="150" y="71"/>
                  </a:cubicBezTo>
                  <a:cubicBezTo>
                    <a:pt x="146" y="75"/>
                    <a:pt x="146" y="75"/>
                    <a:pt x="146" y="75"/>
                  </a:cubicBezTo>
                  <a:cubicBezTo>
                    <a:pt x="146" y="78"/>
                    <a:pt x="146" y="78"/>
                    <a:pt x="146" y="78"/>
                  </a:cubicBezTo>
                  <a:cubicBezTo>
                    <a:pt x="141" y="84"/>
                    <a:pt x="141" y="84"/>
                    <a:pt x="141" y="84"/>
                  </a:cubicBezTo>
                  <a:close/>
                  <a:moveTo>
                    <a:pt x="152" y="86"/>
                  </a:moveTo>
                  <a:cubicBezTo>
                    <a:pt x="157" y="89"/>
                    <a:pt x="157" y="89"/>
                    <a:pt x="157" y="89"/>
                  </a:cubicBezTo>
                  <a:cubicBezTo>
                    <a:pt x="152" y="95"/>
                    <a:pt x="152" y="95"/>
                    <a:pt x="152" y="95"/>
                  </a:cubicBezTo>
                  <a:cubicBezTo>
                    <a:pt x="146" y="98"/>
                    <a:pt x="146" y="98"/>
                    <a:pt x="146" y="98"/>
                  </a:cubicBezTo>
                  <a:cubicBezTo>
                    <a:pt x="146" y="100"/>
                    <a:pt x="146" y="100"/>
                    <a:pt x="146" y="100"/>
                  </a:cubicBezTo>
                  <a:cubicBezTo>
                    <a:pt x="142" y="100"/>
                    <a:pt x="142" y="100"/>
                    <a:pt x="142" y="100"/>
                  </a:cubicBezTo>
                  <a:cubicBezTo>
                    <a:pt x="142" y="97"/>
                    <a:pt x="142" y="97"/>
                    <a:pt x="142" y="97"/>
                  </a:cubicBezTo>
                  <a:cubicBezTo>
                    <a:pt x="139" y="102"/>
                    <a:pt x="139" y="102"/>
                    <a:pt x="139" y="102"/>
                  </a:cubicBezTo>
                  <a:cubicBezTo>
                    <a:pt x="137" y="102"/>
                    <a:pt x="137" y="102"/>
                    <a:pt x="137" y="102"/>
                  </a:cubicBezTo>
                  <a:cubicBezTo>
                    <a:pt x="137" y="97"/>
                    <a:pt x="137" y="97"/>
                    <a:pt x="137" y="97"/>
                  </a:cubicBezTo>
                  <a:cubicBezTo>
                    <a:pt x="139" y="97"/>
                    <a:pt x="139" y="97"/>
                    <a:pt x="139" y="97"/>
                  </a:cubicBezTo>
                  <a:cubicBezTo>
                    <a:pt x="139" y="93"/>
                    <a:pt x="139" y="93"/>
                    <a:pt x="139" y="93"/>
                  </a:cubicBezTo>
                  <a:cubicBezTo>
                    <a:pt x="141" y="91"/>
                    <a:pt x="141" y="91"/>
                    <a:pt x="141" y="91"/>
                  </a:cubicBezTo>
                  <a:cubicBezTo>
                    <a:pt x="141" y="87"/>
                    <a:pt x="141" y="87"/>
                    <a:pt x="141" y="87"/>
                  </a:cubicBezTo>
                  <a:cubicBezTo>
                    <a:pt x="146" y="80"/>
                    <a:pt x="146" y="80"/>
                    <a:pt x="146" y="80"/>
                  </a:cubicBezTo>
                  <a:cubicBezTo>
                    <a:pt x="144" y="89"/>
                    <a:pt x="144" y="89"/>
                    <a:pt x="144" y="89"/>
                  </a:cubicBezTo>
                  <a:cubicBezTo>
                    <a:pt x="144" y="93"/>
                    <a:pt x="144" y="93"/>
                    <a:pt x="144" y="93"/>
                  </a:cubicBezTo>
                  <a:cubicBezTo>
                    <a:pt x="146" y="89"/>
                    <a:pt x="146" y="89"/>
                    <a:pt x="146" y="89"/>
                  </a:cubicBezTo>
                  <a:cubicBezTo>
                    <a:pt x="152" y="89"/>
                    <a:pt x="152" y="89"/>
                    <a:pt x="152" y="89"/>
                  </a:cubicBezTo>
                  <a:cubicBezTo>
                    <a:pt x="150" y="86"/>
                    <a:pt x="150" y="86"/>
                    <a:pt x="150" y="86"/>
                  </a:cubicBezTo>
                  <a:cubicBezTo>
                    <a:pt x="150" y="84"/>
                    <a:pt x="150" y="84"/>
                    <a:pt x="150" y="84"/>
                  </a:cubicBezTo>
                  <a:cubicBezTo>
                    <a:pt x="152" y="86"/>
                    <a:pt x="152" y="86"/>
                    <a:pt x="152" y="86"/>
                  </a:cubicBezTo>
                  <a:close/>
                  <a:moveTo>
                    <a:pt x="152" y="82"/>
                  </a:moveTo>
                  <a:cubicBezTo>
                    <a:pt x="150" y="80"/>
                    <a:pt x="150" y="80"/>
                    <a:pt x="150" y="80"/>
                  </a:cubicBezTo>
                  <a:cubicBezTo>
                    <a:pt x="153" y="78"/>
                    <a:pt x="153" y="78"/>
                    <a:pt x="153" y="78"/>
                  </a:cubicBezTo>
                  <a:cubicBezTo>
                    <a:pt x="157" y="80"/>
                    <a:pt x="157" y="80"/>
                    <a:pt x="157" y="80"/>
                  </a:cubicBezTo>
                  <a:cubicBezTo>
                    <a:pt x="157" y="84"/>
                    <a:pt x="157" y="84"/>
                    <a:pt x="157" y="84"/>
                  </a:cubicBezTo>
                  <a:cubicBezTo>
                    <a:pt x="152" y="82"/>
                    <a:pt x="152" y="82"/>
                    <a:pt x="152" y="82"/>
                  </a:cubicBezTo>
                  <a:close/>
                  <a:moveTo>
                    <a:pt x="161" y="86"/>
                  </a:moveTo>
                  <a:cubicBezTo>
                    <a:pt x="163" y="82"/>
                    <a:pt x="163" y="82"/>
                    <a:pt x="163" y="82"/>
                  </a:cubicBezTo>
                  <a:cubicBezTo>
                    <a:pt x="164" y="86"/>
                    <a:pt x="164" y="86"/>
                    <a:pt x="164" y="86"/>
                  </a:cubicBezTo>
                  <a:cubicBezTo>
                    <a:pt x="161" y="86"/>
                    <a:pt x="161" y="86"/>
                    <a:pt x="161" y="86"/>
                  </a:cubicBezTo>
                  <a:close/>
                  <a:moveTo>
                    <a:pt x="173" y="67"/>
                  </a:moveTo>
                  <a:cubicBezTo>
                    <a:pt x="172" y="69"/>
                    <a:pt x="172" y="69"/>
                    <a:pt x="172" y="69"/>
                  </a:cubicBezTo>
                  <a:cubicBezTo>
                    <a:pt x="173" y="73"/>
                    <a:pt x="173" y="73"/>
                    <a:pt x="173" y="73"/>
                  </a:cubicBezTo>
                  <a:cubicBezTo>
                    <a:pt x="170" y="73"/>
                    <a:pt x="170" y="73"/>
                    <a:pt x="170" y="73"/>
                  </a:cubicBezTo>
                  <a:cubicBezTo>
                    <a:pt x="168" y="75"/>
                    <a:pt x="168" y="75"/>
                    <a:pt x="168" y="75"/>
                  </a:cubicBezTo>
                  <a:cubicBezTo>
                    <a:pt x="164" y="75"/>
                    <a:pt x="164" y="75"/>
                    <a:pt x="164" y="75"/>
                  </a:cubicBezTo>
                  <a:cubicBezTo>
                    <a:pt x="163" y="78"/>
                    <a:pt x="163" y="78"/>
                    <a:pt x="163" y="78"/>
                  </a:cubicBezTo>
                  <a:cubicBezTo>
                    <a:pt x="161" y="78"/>
                    <a:pt x="161" y="78"/>
                    <a:pt x="161" y="78"/>
                  </a:cubicBezTo>
                  <a:cubicBezTo>
                    <a:pt x="161" y="77"/>
                    <a:pt x="161" y="77"/>
                    <a:pt x="161" y="77"/>
                  </a:cubicBezTo>
                  <a:cubicBezTo>
                    <a:pt x="159" y="75"/>
                    <a:pt x="159" y="75"/>
                    <a:pt x="159" y="75"/>
                  </a:cubicBezTo>
                  <a:cubicBezTo>
                    <a:pt x="161" y="71"/>
                    <a:pt x="161" y="71"/>
                    <a:pt x="161" y="71"/>
                  </a:cubicBezTo>
                  <a:cubicBezTo>
                    <a:pt x="157" y="71"/>
                    <a:pt x="157" y="71"/>
                    <a:pt x="157" y="71"/>
                  </a:cubicBezTo>
                  <a:cubicBezTo>
                    <a:pt x="159" y="67"/>
                    <a:pt x="159" y="67"/>
                    <a:pt x="159" y="67"/>
                  </a:cubicBezTo>
                  <a:cubicBezTo>
                    <a:pt x="164" y="67"/>
                    <a:pt x="164" y="67"/>
                    <a:pt x="164" y="67"/>
                  </a:cubicBezTo>
                  <a:cubicBezTo>
                    <a:pt x="159" y="66"/>
                    <a:pt x="159" y="66"/>
                    <a:pt x="159" y="66"/>
                  </a:cubicBezTo>
                  <a:cubicBezTo>
                    <a:pt x="163" y="62"/>
                    <a:pt x="163" y="62"/>
                    <a:pt x="163" y="62"/>
                  </a:cubicBezTo>
                  <a:cubicBezTo>
                    <a:pt x="164" y="64"/>
                    <a:pt x="164" y="64"/>
                    <a:pt x="164" y="64"/>
                  </a:cubicBezTo>
                  <a:cubicBezTo>
                    <a:pt x="164" y="60"/>
                    <a:pt x="164" y="60"/>
                    <a:pt x="164" y="60"/>
                  </a:cubicBezTo>
                  <a:cubicBezTo>
                    <a:pt x="168" y="60"/>
                    <a:pt x="168" y="60"/>
                    <a:pt x="168" y="60"/>
                  </a:cubicBezTo>
                  <a:cubicBezTo>
                    <a:pt x="170" y="64"/>
                    <a:pt x="170" y="64"/>
                    <a:pt x="170" y="64"/>
                  </a:cubicBezTo>
                  <a:cubicBezTo>
                    <a:pt x="172" y="64"/>
                    <a:pt x="172" y="64"/>
                    <a:pt x="172" y="64"/>
                  </a:cubicBezTo>
                  <a:cubicBezTo>
                    <a:pt x="173" y="67"/>
                    <a:pt x="173" y="67"/>
                    <a:pt x="173" y="67"/>
                  </a:cubicBezTo>
                  <a:close/>
                  <a:moveTo>
                    <a:pt x="173" y="58"/>
                  </a:moveTo>
                  <a:cubicBezTo>
                    <a:pt x="177" y="56"/>
                    <a:pt x="177" y="56"/>
                    <a:pt x="177" y="56"/>
                  </a:cubicBezTo>
                  <a:cubicBezTo>
                    <a:pt x="177" y="55"/>
                    <a:pt x="177" y="55"/>
                    <a:pt x="177" y="55"/>
                  </a:cubicBezTo>
                  <a:cubicBezTo>
                    <a:pt x="181" y="55"/>
                    <a:pt x="181" y="55"/>
                    <a:pt x="181" y="55"/>
                  </a:cubicBezTo>
                  <a:cubicBezTo>
                    <a:pt x="184" y="51"/>
                    <a:pt x="184" y="51"/>
                    <a:pt x="184" y="51"/>
                  </a:cubicBezTo>
                  <a:cubicBezTo>
                    <a:pt x="186" y="55"/>
                    <a:pt x="186" y="55"/>
                    <a:pt x="186" y="55"/>
                  </a:cubicBezTo>
                  <a:cubicBezTo>
                    <a:pt x="184" y="58"/>
                    <a:pt x="184" y="58"/>
                    <a:pt x="184" y="58"/>
                  </a:cubicBezTo>
                  <a:cubicBezTo>
                    <a:pt x="184" y="60"/>
                    <a:pt x="184" y="60"/>
                    <a:pt x="184" y="60"/>
                  </a:cubicBezTo>
                  <a:cubicBezTo>
                    <a:pt x="179" y="60"/>
                    <a:pt x="179" y="60"/>
                    <a:pt x="179" y="60"/>
                  </a:cubicBezTo>
                  <a:cubicBezTo>
                    <a:pt x="177" y="62"/>
                    <a:pt x="177" y="62"/>
                    <a:pt x="177" y="62"/>
                  </a:cubicBezTo>
                  <a:cubicBezTo>
                    <a:pt x="173" y="58"/>
                    <a:pt x="173" y="58"/>
                    <a:pt x="173" y="58"/>
                  </a:cubicBezTo>
                  <a:close/>
                  <a:moveTo>
                    <a:pt x="186" y="38"/>
                  </a:moveTo>
                  <a:cubicBezTo>
                    <a:pt x="186" y="36"/>
                    <a:pt x="186" y="36"/>
                    <a:pt x="186" y="36"/>
                  </a:cubicBezTo>
                  <a:cubicBezTo>
                    <a:pt x="188" y="35"/>
                    <a:pt x="188" y="35"/>
                    <a:pt x="188" y="35"/>
                  </a:cubicBezTo>
                  <a:cubicBezTo>
                    <a:pt x="186" y="38"/>
                    <a:pt x="186" y="38"/>
                    <a:pt x="186" y="38"/>
                  </a:cubicBezTo>
                  <a:close/>
                  <a:moveTo>
                    <a:pt x="181" y="46"/>
                  </a:moveTo>
                  <a:cubicBezTo>
                    <a:pt x="181" y="42"/>
                    <a:pt x="181" y="42"/>
                    <a:pt x="181" y="42"/>
                  </a:cubicBezTo>
                  <a:cubicBezTo>
                    <a:pt x="184" y="40"/>
                    <a:pt x="184" y="40"/>
                    <a:pt x="184" y="40"/>
                  </a:cubicBezTo>
                  <a:cubicBezTo>
                    <a:pt x="184" y="42"/>
                    <a:pt x="184" y="42"/>
                    <a:pt x="184" y="42"/>
                  </a:cubicBezTo>
                  <a:cubicBezTo>
                    <a:pt x="181" y="46"/>
                    <a:pt x="181" y="46"/>
                    <a:pt x="181" y="46"/>
                  </a:cubicBezTo>
                  <a:close/>
                  <a:moveTo>
                    <a:pt x="192" y="51"/>
                  </a:moveTo>
                  <a:cubicBezTo>
                    <a:pt x="194" y="47"/>
                    <a:pt x="194" y="47"/>
                    <a:pt x="194" y="47"/>
                  </a:cubicBezTo>
                  <a:cubicBezTo>
                    <a:pt x="195" y="49"/>
                    <a:pt x="195" y="49"/>
                    <a:pt x="195" y="49"/>
                  </a:cubicBezTo>
                  <a:cubicBezTo>
                    <a:pt x="192" y="51"/>
                    <a:pt x="192" y="51"/>
                    <a:pt x="192" y="51"/>
                  </a:cubicBezTo>
                  <a:close/>
                  <a:moveTo>
                    <a:pt x="190" y="51"/>
                  </a:moveTo>
                  <a:cubicBezTo>
                    <a:pt x="190" y="51"/>
                    <a:pt x="190" y="51"/>
                    <a:pt x="190" y="51"/>
                  </a:cubicBezTo>
                  <a:cubicBezTo>
                    <a:pt x="186" y="51"/>
                    <a:pt x="186" y="51"/>
                    <a:pt x="186" y="51"/>
                  </a:cubicBezTo>
                  <a:cubicBezTo>
                    <a:pt x="183" y="47"/>
                    <a:pt x="183" y="47"/>
                    <a:pt x="183" y="47"/>
                  </a:cubicBezTo>
                  <a:cubicBezTo>
                    <a:pt x="188" y="44"/>
                    <a:pt x="188" y="44"/>
                    <a:pt x="188" y="44"/>
                  </a:cubicBezTo>
                  <a:cubicBezTo>
                    <a:pt x="190" y="46"/>
                    <a:pt x="190" y="46"/>
                    <a:pt x="190" y="46"/>
                  </a:cubicBezTo>
                  <a:cubicBezTo>
                    <a:pt x="192" y="44"/>
                    <a:pt x="192" y="44"/>
                    <a:pt x="192" y="44"/>
                  </a:cubicBezTo>
                  <a:cubicBezTo>
                    <a:pt x="192" y="46"/>
                    <a:pt x="192" y="46"/>
                    <a:pt x="192" y="46"/>
                  </a:cubicBezTo>
                  <a:cubicBezTo>
                    <a:pt x="190" y="47"/>
                    <a:pt x="190" y="47"/>
                    <a:pt x="190" y="47"/>
                  </a:cubicBezTo>
                  <a:cubicBezTo>
                    <a:pt x="190" y="51"/>
                    <a:pt x="190" y="51"/>
                    <a:pt x="190" y="51"/>
                  </a:cubicBezTo>
                  <a:close/>
                  <a:moveTo>
                    <a:pt x="199" y="42"/>
                  </a:moveTo>
                  <a:cubicBezTo>
                    <a:pt x="197" y="44"/>
                    <a:pt x="197" y="44"/>
                    <a:pt x="197" y="44"/>
                  </a:cubicBezTo>
                  <a:cubicBezTo>
                    <a:pt x="194" y="42"/>
                    <a:pt x="194" y="42"/>
                    <a:pt x="194" y="42"/>
                  </a:cubicBezTo>
                  <a:cubicBezTo>
                    <a:pt x="194" y="38"/>
                    <a:pt x="194" y="38"/>
                    <a:pt x="194" y="38"/>
                  </a:cubicBezTo>
                  <a:cubicBezTo>
                    <a:pt x="192" y="35"/>
                    <a:pt x="192" y="35"/>
                    <a:pt x="192" y="35"/>
                  </a:cubicBezTo>
                  <a:cubicBezTo>
                    <a:pt x="195" y="33"/>
                    <a:pt x="195" y="33"/>
                    <a:pt x="195" y="33"/>
                  </a:cubicBezTo>
                  <a:cubicBezTo>
                    <a:pt x="195" y="38"/>
                    <a:pt x="195" y="38"/>
                    <a:pt x="195" y="38"/>
                  </a:cubicBezTo>
                  <a:cubicBezTo>
                    <a:pt x="199" y="40"/>
                    <a:pt x="199" y="40"/>
                    <a:pt x="199" y="40"/>
                  </a:cubicBezTo>
                  <a:cubicBezTo>
                    <a:pt x="199" y="42"/>
                    <a:pt x="199" y="42"/>
                    <a:pt x="199" y="42"/>
                  </a:cubicBezTo>
                  <a:close/>
                  <a:moveTo>
                    <a:pt x="208" y="47"/>
                  </a:moveTo>
                  <a:cubicBezTo>
                    <a:pt x="206" y="44"/>
                    <a:pt x="206" y="44"/>
                    <a:pt x="206" y="44"/>
                  </a:cubicBezTo>
                  <a:cubicBezTo>
                    <a:pt x="204" y="44"/>
                    <a:pt x="204" y="44"/>
                    <a:pt x="204" y="44"/>
                  </a:cubicBezTo>
                  <a:cubicBezTo>
                    <a:pt x="204" y="38"/>
                    <a:pt x="204" y="38"/>
                    <a:pt x="204" y="38"/>
                  </a:cubicBezTo>
                  <a:cubicBezTo>
                    <a:pt x="206" y="36"/>
                    <a:pt x="206" y="36"/>
                    <a:pt x="206" y="36"/>
                  </a:cubicBezTo>
                  <a:cubicBezTo>
                    <a:pt x="210" y="38"/>
                    <a:pt x="210" y="38"/>
                    <a:pt x="210" y="38"/>
                  </a:cubicBezTo>
                  <a:cubicBezTo>
                    <a:pt x="208" y="42"/>
                    <a:pt x="208" y="42"/>
                    <a:pt x="208" y="42"/>
                  </a:cubicBezTo>
                  <a:cubicBezTo>
                    <a:pt x="210" y="44"/>
                    <a:pt x="210" y="44"/>
                    <a:pt x="210" y="44"/>
                  </a:cubicBezTo>
                  <a:cubicBezTo>
                    <a:pt x="208" y="47"/>
                    <a:pt x="208" y="47"/>
                    <a:pt x="208" y="47"/>
                  </a:cubicBezTo>
                  <a:close/>
                  <a:moveTo>
                    <a:pt x="236" y="35"/>
                  </a:moveTo>
                  <a:cubicBezTo>
                    <a:pt x="232" y="33"/>
                    <a:pt x="232" y="33"/>
                    <a:pt x="232" y="33"/>
                  </a:cubicBezTo>
                  <a:cubicBezTo>
                    <a:pt x="228" y="31"/>
                    <a:pt x="228" y="31"/>
                    <a:pt x="228" y="31"/>
                  </a:cubicBezTo>
                  <a:cubicBezTo>
                    <a:pt x="230" y="29"/>
                    <a:pt x="230" y="29"/>
                    <a:pt x="230" y="29"/>
                  </a:cubicBezTo>
                  <a:cubicBezTo>
                    <a:pt x="234" y="29"/>
                    <a:pt x="234" y="29"/>
                    <a:pt x="234" y="29"/>
                  </a:cubicBezTo>
                  <a:cubicBezTo>
                    <a:pt x="236" y="31"/>
                    <a:pt x="236" y="31"/>
                    <a:pt x="236" y="31"/>
                  </a:cubicBezTo>
                  <a:cubicBezTo>
                    <a:pt x="236" y="35"/>
                    <a:pt x="236" y="35"/>
                    <a:pt x="236" y="35"/>
                  </a:cubicBezTo>
                  <a:close/>
                  <a:moveTo>
                    <a:pt x="239" y="31"/>
                  </a:moveTo>
                  <a:cubicBezTo>
                    <a:pt x="236" y="27"/>
                    <a:pt x="236" y="27"/>
                    <a:pt x="236" y="27"/>
                  </a:cubicBezTo>
                  <a:cubicBezTo>
                    <a:pt x="241" y="22"/>
                    <a:pt x="241" y="22"/>
                    <a:pt x="241" y="22"/>
                  </a:cubicBezTo>
                  <a:cubicBezTo>
                    <a:pt x="243" y="25"/>
                    <a:pt x="243" y="25"/>
                    <a:pt x="243" y="25"/>
                  </a:cubicBezTo>
                  <a:cubicBezTo>
                    <a:pt x="239" y="29"/>
                    <a:pt x="239" y="29"/>
                    <a:pt x="239" y="29"/>
                  </a:cubicBezTo>
                  <a:cubicBezTo>
                    <a:pt x="239" y="31"/>
                    <a:pt x="239" y="31"/>
                    <a:pt x="239" y="31"/>
                  </a:cubicBezTo>
                  <a:close/>
                  <a:moveTo>
                    <a:pt x="232" y="25"/>
                  </a:moveTo>
                  <a:cubicBezTo>
                    <a:pt x="230" y="25"/>
                    <a:pt x="230" y="25"/>
                    <a:pt x="230" y="25"/>
                  </a:cubicBezTo>
                  <a:cubicBezTo>
                    <a:pt x="225" y="24"/>
                    <a:pt x="225" y="24"/>
                    <a:pt x="225" y="24"/>
                  </a:cubicBezTo>
                  <a:cubicBezTo>
                    <a:pt x="223" y="20"/>
                    <a:pt x="223" y="20"/>
                    <a:pt x="223" y="20"/>
                  </a:cubicBezTo>
                  <a:cubicBezTo>
                    <a:pt x="226" y="22"/>
                    <a:pt x="226" y="22"/>
                    <a:pt x="226" y="22"/>
                  </a:cubicBezTo>
                  <a:cubicBezTo>
                    <a:pt x="228" y="18"/>
                    <a:pt x="228" y="18"/>
                    <a:pt x="228" y="18"/>
                  </a:cubicBezTo>
                  <a:cubicBezTo>
                    <a:pt x="230" y="22"/>
                    <a:pt x="230" y="22"/>
                    <a:pt x="230" y="22"/>
                  </a:cubicBezTo>
                  <a:cubicBezTo>
                    <a:pt x="232" y="18"/>
                    <a:pt x="232" y="18"/>
                    <a:pt x="232" y="18"/>
                  </a:cubicBezTo>
                  <a:cubicBezTo>
                    <a:pt x="234" y="18"/>
                    <a:pt x="234" y="18"/>
                    <a:pt x="234" y="18"/>
                  </a:cubicBezTo>
                  <a:cubicBezTo>
                    <a:pt x="239" y="15"/>
                    <a:pt x="239" y="15"/>
                    <a:pt x="239" y="15"/>
                  </a:cubicBezTo>
                  <a:cubicBezTo>
                    <a:pt x="241" y="16"/>
                    <a:pt x="241" y="16"/>
                    <a:pt x="241" y="16"/>
                  </a:cubicBezTo>
                  <a:cubicBezTo>
                    <a:pt x="232" y="25"/>
                    <a:pt x="232" y="25"/>
                    <a:pt x="232" y="25"/>
                  </a:cubicBezTo>
                  <a:close/>
                  <a:moveTo>
                    <a:pt x="243" y="18"/>
                  </a:moveTo>
                  <a:cubicBezTo>
                    <a:pt x="246" y="16"/>
                    <a:pt x="246" y="16"/>
                    <a:pt x="246" y="16"/>
                  </a:cubicBezTo>
                  <a:cubicBezTo>
                    <a:pt x="252" y="20"/>
                    <a:pt x="252" y="20"/>
                    <a:pt x="252" y="20"/>
                  </a:cubicBezTo>
                  <a:cubicBezTo>
                    <a:pt x="250" y="22"/>
                    <a:pt x="250" y="22"/>
                    <a:pt x="250" y="22"/>
                  </a:cubicBezTo>
                  <a:cubicBezTo>
                    <a:pt x="245" y="24"/>
                    <a:pt x="245" y="24"/>
                    <a:pt x="245" y="24"/>
                  </a:cubicBezTo>
                  <a:cubicBezTo>
                    <a:pt x="245" y="20"/>
                    <a:pt x="245" y="20"/>
                    <a:pt x="245" y="20"/>
                  </a:cubicBezTo>
                  <a:cubicBezTo>
                    <a:pt x="243" y="18"/>
                    <a:pt x="243" y="18"/>
                    <a:pt x="243" y="18"/>
                  </a:cubicBezTo>
                  <a:close/>
                  <a:moveTo>
                    <a:pt x="252" y="9"/>
                  </a:moveTo>
                  <a:cubicBezTo>
                    <a:pt x="250" y="11"/>
                    <a:pt x="250" y="11"/>
                    <a:pt x="250" y="11"/>
                  </a:cubicBezTo>
                  <a:cubicBezTo>
                    <a:pt x="250" y="13"/>
                    <a:pt x="250" y="13"/>
                    <a:pt x="250" y="13"/>
                  </a:cubicBezTo>
                  <a:cubicBezTo>
                    <a:pt x="246" y="9"/>
                    <a:pt x="246" y="9"/>
                    <a:pt x="246" y="9"/>
                  </a:cubicBezTo>
                  <a:cubicBezTo>
                    <a:pt x="250" y="7"/>
                    <a:pt x="250" y="7"/>
                    <a:pt x="250" y="7"/>
                  </a:cubicBezTo>
                  <a:cubicBezTo>
                    <a:pt x="252" y="9"/>
                    <a:pt x="252" y="9"/>
                    <a:pt x="252" y="9"/>
                  </a:cubicBezTo>
                  <a:close/>
                  <a:moveTo>
                    <a:pt x="259" y="4"/>
                  </a:moveTo>
                  <a:cubicBezTo>
                    <a:pt x="257" y="4"/>
                    <a:pt x="257" y="4"/>
                    <a:pt x="257" y="4"/>
                  </a:cubicBezTo>
                  <a:cubicBezTo>
                    <a:pt x="257" y="2"/>
                    <a:pt x="257" y="2"/>
                    <a:pt x="257" y="2"/>
                  </a:cubicBezTo>
                  <a:cubicBezTo>
                    <a:pt x="261" y="2"/>
                    <a:pt x="261" y="2"/>
                    <a:pt x="261" y="2"/>
                  </a:cubicBezTo>
                  <a:cubicBezTo>
                    <a:pt x="259" y="4"/>
                    <a:pt x="259" y="4"/>
                    <a:pt x="259" y="4"/>
                  </a:cubicBezTo>
                  <a:close/>
                  <a:moveTo>
                    <a:pt x="265" y="5"/>
                  </a:moveTo>
                  <a:cubicBezTo>
                    <a:pt x="265" y="4"/>
                    <a:pt x="265" y="4"/>
                    <a:pt x="265" y="4"/>
                  </a:cubicBezTo>
                  <a:cubicBezTo>
                    <a:pt x="267" y="4"/>
                    <a:pt x="267" y="4"/>
                    <a:pt x="267" y="4"/>
                  </a:cubicBezTo>
                  <a:cubicBezTo>
                    <a:pt x="268" y="4"/>
                    <a:pt x="268" y="4"/>
                    <a:pt x="268" y="4"/>
                  </a:cubicBezTo>
                  <a:cubicBezTo>
                    <a:pt x="270" y="2"/>
                    <a:pt x="270" y="2"/>
                    <a:pt x="270" y="2"/>
                  </a:cubicBezTo>
                  <a:cubicBezTo>
                    <a:pt x="270" y="0"/>
                    <a:pt x="270" y="0"/>
                    <a:pt x="270" y="0"/>
                  </a:cubicBezTo>
                  <a:cubicBezTo>
                    <a:pt x="272" y="2"/>
                    <a:pt x="272" y="2"/>
                    <a:pt x="272" y="2"/>
                  </a:cubicBezTo>
                  <a:cubicBezTo>
                    <a:pt x="274" y="2"/>
                    <a:pt x="274" y="2"/>
                    <a:pt x="274" y="2"/>
                  </a:cubicBezTo>
                  <a:cubicBezTo>
                    <a:pt x="272" y="5"/>
                    <a:pt x="272" y="5"/>
                    <a:pt x="272" y="5"/>
                  </a:cubicBezTo>
                  <a:cubicBezTo>
                    <a:pt x="276" y="5"/>
                    <a:pt x="276" y="5"/>
                    <a:pt x="276" y="5"/>
                  </a:cubicBezTo>
                  <a:cubicBezTo>
                    <a:pt x="276" y="9"/>
                    <a:pt x="276" y="9"/>
                    <a:pt x="276" y="9"/>
                  </a:cubicBezTo>
                  <a:cubicBezTo>
                    <a:pt x="272" y="9"/>
                    <a:pt x="272" y="9"/>
                    <a:pt x="272" y="9"/>
                  </a:cubicBezTo>
                  <a:cubicBezTo>
                    <a:pt x="268" y="7"/>
                    <a:pt x="268" y="7"/>
                    <a:pt x="268" y="7"/>
                  </a:cubicBezTo>
                  <a:cubicBezTo>
                    <a:pt x="265" y="5"/>
                    <a:pt x="265" y="5"/>
                    <a:pt x="265" y="5"/>
                  </a:cubicBezTo>
                  <a:cubicBezTo>
                    <a:pt x="265" y="5"/>
                    <a:pt x="265" y="5"/>
                    <a:pt x="265" y="5"/>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175" name="Freeform 15"/>
            <p:cNvSpPr>
              <a:spLocks noEditPoints="1"/>
            </p:cNvSpPr>
            <p:nvPr/>
          </p:nvSpPr>
          <p:spPr bwMode="gray">
            <a:xfrm>
              <a:off x="2783" y="47"/>
              <a:ext cx="544" cy="1238"/>
            </a:xfrm>
            <a:custGeom>
              <a:avLst/>
              <a:gdLst>
                <a:gd name="T0" fmla="*/ 19 w 544"/>
                <a:gd name="T1" fmla="*/ 898 h 1238"/>
                <a:gd name="T2" fmla="*/ 48 w 544"/>
                <a:gd name="T3" fmla="*/ 831 h 1238"/>
                <a:gd name="T4" fmla="*/ 61 w 544"/>
                <a:gd name="T5" fmla="*/ 729 h 1238"/>
                <a:gd name="T6" fmla="*/ 29 w 544"/>
                <a:gd name="T7" fmla="*/ 605 h 1238"/>
                <a:gd name="T8" fmla="*/ 77 w 544"/>
                <a:gd name="T9" fmla="*/ 500 h 1238"/>
                <a:gd name="T10" fmla="*/ 105 w 544"/>
                <a:gd name="T11" fmla="*/ 347 h 1238"/>
                <a:gd name="T12" fmla="*/ 147 w 544"/>
                <a:gd name="T13" fmla="*/ 277 h 1238"/>
                <a:gd name="T14" fmla="*/ 172 w 544"/>
                <a:gd name="T15" fmla="*/ 159 h 1238"/>
                <a:gd name="T16" fmla="*/ 229 w 544"/>
                <a:gd name="T17" fmla="*/ 105 h 1238"/>
                <a:gd name="T18" fmla="*/ 255 w 544"/>
                <a:gd name="T19" fmla="*/ 77 h 1238"/>
                <a:gd name="T20" fmla="*/ 315 w 544"/>
                <a:gd name="T21" fmla="*/ 64 h 1238"/>
                <a:gd name="T22" fmla="*/ 341 w 544"/>
                <a:gd name="T23" fmla="*/ 29 h 1238"/>
                <a:gd name="T24" fmla="*/ 369 w 544"/>
                <a:gd name="T25" fmla="*/ 13 h 1238"/>
                <a:gd name="T26" fmla="*/ 462 w 544"/>
                <a:gd name="T27" fmla="*/ 70 h 1238"/>
                <a:gd name="T28" fmla="*/ 490 w 544"/>
                <a:gd name="T29" fmla="*/ 112 h 1238"/>
                <a:gd name="T30" fmla="*/ 506 w 544"/>
                <a:gd name="T31" fmla="*/ 188 h 1238"/>
                <a:gd name="T32" fmla="*/ 519 w 544"/>
                <a:gd name="T33" fmla="*/ 277 h 1238"/>
                <a:gd name="T34" fmla="*/ 525 w 544"/>
                <a:gd name="T35" fmla="*/ 328 h 1238"/>
                <a:gd name="T36" fmla="*/ 474 w 544"/>
                <a:gd name="T37" fmla="*/ 331 h 1238"/>
                <a:gd name="T38" fmla="*/ 433 w 544"/>
                <a:gd name="T39" fmla="*/ 331 h 1238"/>
                <a:gd name="T40" fmla="*/ 433 w 544"/>
                <a:gd name="T41" fmla="*/ 376 h 1238"/>
                <a:gd name="T42" fmla="*/ 433 w 544"/>
                <a:gd name="T43" fmla="*/ 388 h 1238"/>
                <a:gd name="T44" fmla="*/ 433 w 544"/>
                <a:gd name="T45" fmla="*/ 443 h 1238"/>
                <a:gd name="T46" fmla="*/ 414 w 544"/>
                <a:gd name="T47" fmla="*/ 497 h 1238"/>
                <a:gd name="T48" fmla="*/ 369 w 544"/>
                <a:gd name="T49" fmla="*/ 541 h 1238"/>
                <a:gd name="T50" fmla="*/ 334 w 544"/>
                <a:gd name="T51" fmla="*/ 576 h 1238"/>
                <a:gd name="T52" fmla="*/ 306 w 544"/>
                <a:gd name="T53" fmla="*/ 592 h 1238"/>
                <a:gd name="T54" fmla="*/ 277 w 544"/>
                <a:gd name="T55" fmla="*/ 640 h 1238"/>
                <a:gd name="T56" fmla="*/ 264 w 544"/>
                <a:gd name="T57" fmla="*/ 703 h 1238"/>
                <a:gd name="T58" fmla="*/ 264 w 544"/>
                <a:gd name="T59" fmla="*/ 748 h 1238"/>
                <a:gd name="T60" fmla="*/ 277 w 544"/>
                <a:gd name="T61" fmla="*/ 799 h 1238"/>
                <a:gd name="T62" fmla="*/ 328 w 544"/>
                <a:gd name="T63" fmla="*/ 831 h 1238"/>
                <a:gd name="T64" fmla="*/ 328 w 544"/>
                <a:gd name="T65" fmla="*/ 904 h 1238"/>
                <a:gd name="T66" fmla="*/ 283 w 544"/>
                <a:gd name="T67" fmla="*/ 898 h 1238"/>
                <a:gd name="T68" fmla="*/ 229 w 544"/>
                <a:gd name="T69" fmla="*/ 901 h 1238"/>
                <a:gd name="T70" fmla="*/ 271 w 544"/>
                <a:gd name="T71" fmla="*/ 914 h 1238"/>
                <a:gd name="T72" fmla="*/ 328 w 544"/>
                <a:gd name="T73" fmla="*/ 926 h 1238"/>
                <a:gd name="T74" fmla="*/ 299 w 544"/>
                <a:gd name="T75" fmla="*/ 942 h 1238"/>
                <a:gd name="T76" fmla="*/ 271 w 544"/>
                <a:gd name="T77" fmla="*/ 974 h 1238"/>
                <a:gd name="T78" fmla="*/ 255 w 544"/>
                <a:gd name="T79" fmla="*/ 999 h 1238"/>
                <a:gd name="T80" fmla="*/ 258 w 544"/>
                <a:gd name="T81" fmla="*/ 1041 h 1238"/>
                <a:gd name="T82" fmla="*/ 258 w 544"/>
                <a:gd name="T83" fmla="*/ 1111 h 1238"/>
                <a:gd name="T84" fmla="*/ 213 w 544"/>
                <a:gd name="T85" fmla="*/ 1178 h 1238"/>
                <a:gd name="T86" fmla="*/ 156 w 544"/>
                <a:gd name="T87" fmla="*/ 1216 h 1238"/>
                <a:gd name="T88" fmla="*/ 99 w 544"/>
                <a:gd name="T89" fmla="*/ 1219 h 1238"/>
                <a:gd name="T90" fmla="*/ 99 w 544"/>
                <a:gd name="T91" fmla="*/ 1155 h 1238"/>
                <a:gd name="T92" fmla="*/ 45 w 544"/>
                <a:gd name="T93" fmla="*/ 1085 h 1238"/>
                <a:gd name="T94" fmla="*/ 19 w 544"/>
                <a:gd name="T95" fmla="*/ 1034 h 1238"/>
                <a:gd name="T96" fmla="*/ 16 w 544"/>
                <a:gd name="T97" fmla="*/ 1003 h 1238"/>
                <a:gd name="T98" fmla="*/ 0 w 544"/>
                <a:gd name="T99" fmla="*/ 974 h 1238"/>
                <a:gd name="T100" fmla="*/ 328 w 544"/>
                <a:gd name="T101" fmla="*/ 914 h 1238"/>
                <a:gd name="T102" fmla="*/ 328 w 544"/>
                <a:gd name="T103" fmla="*/ 914 h 1238"/>
                <a:gd name="T104" fmla="*/ 19 w 544"/>
                <a:gd name="T105" fmla="*/ 1022 h 1238"/>
                <a:gd name="T106" fmla="*/ 385 w 544"/>
                <a:gd name="T107" fmla="*/ 993 h 1238"/>
                <a:gd name="T108" fmla="*/ 379 w 544"/>
                <a:gd name="T109" fmla="*/ 1044 h 1238"/>
                <a:gd name="T110" fmla="*/ 379 w 544"/>
                <a:gd name="T111" fmla="*/ 1041 h 1238"/>
                <a:gd name="T112" fmla="*/ 369 w 544"/>
                <a:gd name="T113" fmla="*/ 1098 h 1238"/>
                <a:gd name="T114" fmla="*/ 379 w 544"/>
                <a:gd name="T115" fmla="*/ 1044 h 1238"/>
                <a:gd name="T116" fmla="*/ 341 w 544"/>
                <a:gd name="T117" fmla="*/ 1085 h 1238"/>
                <a:gd name="T118" fmla="*/ 341 w 544"/>
                <a:gd name="T119" fmla="*/ 1127 h 1238"/>
                <a:gd name="T120" fmla="*/ 271 w 544"/>
                <a:gd name="T121" fmla="*/ 1168 h 1238"/>
                <a:gd name="T122" fmla="*/ 271 w 544"/>
                <a:gd name="T123" fmla="*/ 1111 h 12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44" h="1238">
                  <a:moveTo>
                    <a:pt x="3" y="945"/>
                  </a:moveTo>
                  <a:lnTo>
                    <a:pt x="13" y="955"/>
                  </a:lnTo>
                  <a:lnTo>
                    <a:pt x="19" y="961"/>
                  </a:lnTo>
                  <a:lnTo>
                    <a:pt x="29" y="955"/>
                  </a:lnTo>
                  <a:lnTo>
                    <a:pt x="19" y="917"/>
                  </a:lnTo>
                  <a:lnTo>
                    <a:pt x="16" y="901"/>
                  </a:lnTo>
                  <a:lnTo>
                    <a:pt x="19" y="898"/>
                  </a:lnTo>
                  <a:lnTo>
                    <a:pt x="29" y="888"/>
                  </a:lnTo>
                  <a:lnTo>
                    <a:pt x="19" y="875"/>
                  </a:lnTo>
                  <a:lnTo>
                    <a:pt x="19" y="872"/>
                  </a:lnTo>
                  <a:lnTo>
                    <a:pt x="41" y="872"/>
                  </a:lnTo>
                  <a:lnTo>
                    <a:pt x="45" y="859"/>
                  </a:lnTo>
                  <a:lnTo>
                    <a:pt x="45" y="847"/>
                  </a:lnTo>
                  <a:lnTo>
                    <a:pt x="48" y="831"/>
                  </a:lnTo>
                  <a:lnTo>
                    <a:pt x="45" y="818"/>
                  </a:lnTo>
                  <a:lnTo>
                    <a:pt x="41" y="799"/>
                  </a:lnTo>
                  <a:lnTo>
                    <a:pt x="32" y="777"/>
                  </a:lnTo>
                  <a:lnTo>
                    <a:pt x="32" y="770"/>
                  </a:lnTo>
                  <a:lnTo>
                    <a:pt x="57" y="761"/>
                  </a:lnTo>
                  <a:lnTo>
                    <a:pt x="57" y="745"/>
                  </a:lnTo>
                  <a:lnTo>
                    <a:pt x="61" y="729"/>
                  </a:lnTo>
                  <a:lnTo>
                    <a:pt x="45" y="710"/>
                  </a:lnTo>
                  <a:lnTo>
                    <a:pt x="29" y="703"/>
                  </a:lnTo>
                  <a:lnTo>
                    <a:pt x="29" y="681"/>
                  </a:lnTo>
                  <a:lnTo>
                    <a:pt x="29" y="662"/>
                  </a:lnTo>
                  <a:lnTo>
                    <a:pt x="29" y="640"/>
                  </a:lnTo>
                  <a:lnTo>
                    <a:pt x="19" y="621"/>
                  </a:lnTo>
                  <a:lnTo>
                    <a:pt x="29" y="605"/>
                  </a:lnTo>
                  <a:lnTo>
                    <a:pt x="19" y="576"/>
                  </a:lnTo>
                  <a:lnTo>
                    <a:pt x="16" y="544"/>
                  </a:lnTo>
                  <a:lnTo>
                    <a:pt x="19" y="525"/>
                  </a:lnTo>
                  <a:lnTo>
                    <a:pt x="32" y="500"/>
                  </a:lnTo>
                  <a:lnTo>
                    <a:pt x="45" y="497"/>
                  </a:lnTo>
                  <a:lnTo>
                    <a:pt x="61" y="500"/>
                  </a:lnTo>
                  <a:lnTo>
                    <a:pt x="77" y="500"/>
                  </a:lnTo>
                  <a:lnTo>
                    <a:pt x="89" y="487"/>
                  </a:lnTo>
                  <a:lnTo>
                    <a:pt x="86" y="465"/>
                  </a:lnTo>
                  <a:lnTo>
                    <a:pt x="77" y="458"/>
                  </a:lnTo>
                  <a:lnTo>
                    <a:pt x="86" y="443"/>
                  </a:lnTo>
                  <a:lnTo>
                    <a:pt x="102" y="401"/>
                  </a:lnTo>
                  <a:lnTo>
                    <a:pt x="102" y="372"/>
                  </a:lnTo>
                  <a:lnTo>
                    <a:pt x="105" y="347"/>
                  </a:lnTo>
                  <a:lnTo>
                    <a:pt x="115" y="331"/>
                  </a:lnTo>
                  <a:lnTo>
                    <a:pt x="115" y="318"/>
                  </a:lnTo>
                  <a:lnTo>
                    <a:pt x="102" y="312"/>
                  </a:lnTo>
                  <a:lnTo>
                    <a:pt x="102" y="299"/>
                  </a:lnTo>
                  <a:lnTo>
                    <a:pt x="118" y="290"/>
                  </a:lnTo>
                  <a:lnTo>
                    <a:pt x="143" y="287"/>
                  </a:lnTo>
                  <a:lnTo>
                    <a:pt x="147" y="277"/>
                  </a:lnTo>
                  <a:lnTo>
                    <a:pt x="147" y="271"/>
                  </a:lnTo>
                  <a:lnTo>
                    <a:pt x="166" y="242"/>
                  </a:lnTo>
                  <a:lnTo>
                    <a:pt x="185" y="220"/>
                  </a:lnTo>
                  <a:lnTo>
                    <a:pt x="185" y="204"/>
                  </a:lnTo>
                  <a:lnTo>
                    <a:pt x="175" y="191"/>
                  </a:lnTo>
                  <a:lnTo>
                    <a:pt x="172" y="182"/>
                  </a:lnTo>
                  <a:lnTo>
                    <a:pt x="172" y="159"/>
                  </a:lnTo>
                  <a:lnTo>
                    <a:pt x="175" y="153"/>
                  </a:lnTo>
                  <a:lnTo>
                    <a:pt x="188" y="147"/>
                  </a:lnTo>
                  <a:lnTo>
                    <a:pt x="188" y="131"/>
                  </a:lnTo>
                  <a:lnTo>
                    <a:pt x="197" y="131"/>
                  </a:lnTo>
                  <a:lnTo>
                    <a:pt x="207" y="112"/>
                  </a:lnTo>
                  <a:lnTo>
                    <a:pt x="217" y="99"/>
                  </a:lnTo>
                  <a:lnTo>
                    <a:pt x="229" y="105"/>
                  </a:lnTo>
                  <a:lnTo>
                    <a:pt x="236" y="112"/>
                  </a:lnTo>
                  <a:lnTo>
                    <a:pt x="242" y="112"/>
                  </a:lnTo>
                  <a:lnTo>
                    <a:pt x="245" y="105"/>
                  </a:lnTo>
                  <a:lnTo>
                    <a:pt x="242" y="92"/>
                  </a:lnTo>
                  <a:lnTo>
                    <a:pt x="245" y="89"/>
                  </a:lnTo>
                  <a:lnTo>
                    <a:pt x="245" y="83"/>
                  </a:lnTo>
                  <a:lnTo>
                    <a:pt x="255" y="77"/>
                  </a:lnTo>
                  <a:lnTo>
                    <a:pt x="242" y="57"/>
                  </a:lnTo>
                  <a:lnTo>
                    <a:pt x="245" y="57"/>
                  </a:lnTo>
                  <a:lnTo>
                    <a:pt x="264" y="57"/>
                  </a:lnTo>
                  <a:lnTo>
                    <a:pt x="277" y="54"/>
                  </a:lnTo>
                  <a:lnTo>
                    <a:pt x="293" y="54"/>
                  </a:lnTo>
                  <a:lnTo>
                    <a:pt x="306" y="64"/>
                  </a:lnTo>
                  <a:lnTo>
                    <a:pt x="315" y="64"/>
                  </a:lnTo>
                  <a:lnTo>
                    <a:pt x="328" y="70"/>
                  </a:lnTo>
                  <a:lnTo>
                    <a:pt x="334" y="70"/>
                  </a:lnTo>
                  <a:lnTo>
                    <a:pt x="334" y="57"/>
                  </a:lnTo>
                  <a:lnTo>
                    <a:pt x="328" y="48"/>
                  </a:lnTo>
                  <a:lnTo>
                    <a:pt x="334" y="29"/>
                  </a:lnTo>
                  <a:lnTo>
                    <a:pt x="341" y="29"/>
                  </a:lnTo>
                  <a:lnTo>
                    <a:pt x="341" y="16"/>
                  </a:lnTo>
                  <a:lnTo>
                    <a:pt x="328" y="13"/>
                  </a:lnTo>
                  <a:lnTo>
                    <a:pt x="328" y="0"/>
                  </a:lnTo>
                  <a:lnTo>
                    <a:pt x="341" y="7"/>
                  </a:lnTo>
                  <a:lnTo>
                    <a:pt x="350" y="0"/>
                  </a:lnTo>
                  <a:lnTo>
                    <a:pt x="357" y="0"/>
                  </a:lnTo>
                  <a:lnTo>
                    <a:pt x="369" y="13"/>
                  </a:lnTo>
                  <a:lnTo>
                    <a:pt x="379" y="16"/>
                  </a:lnTo>
                  <a:lnTo>
                    <a:pt x="398" y="42"/>
                  </a:lnTo>
                  <a:lnTo>
                    <a:pt x="414" y="54"/>
                  </a:lnTo>
                  <a:lnTo>
                    <a:pt x="439" y="54"/>
                  </a:lnTo>
                  <a:lnTo>
                    <a:pt x="446" y="57"/>
                  </a:lnTo>
                  <a:lnTo>
                    <a:pt x="449" y="57"/>
                  </a:lnTo>
                  <a:lnTo>
                    <a:pt x="462" y="70"/>
                  </a:lnTo>
                  <a:lnTo>
                    <a:pt x="468" y="83"/>
                  </a:lnTo>
                  <a:lnTo>
                    <a:pt x="474" y="83"/>
                  </a:lnTo>
                  <a:lnTo>
                    <a:pt x="484" y="92"/>
                  </a:lnTo>
                  <a:lnTo>
                    <a:pt x="490" y="92"/>
                  </a:lnTo>
                  <a:lnTo>
                    <a:pt x="497" y="105"/>
                  </a:lnTo>
                  <a:lnTo>
                    <a:pt x="490" y="112"/>
                  </a:lnTo>
                  <a:lnTo>
                    <a:pt x="497" y="131"/>
                  </a:lnTo>
                  <a:lnTo>
                    <a:pt x="490" y="140"/>
                  </a:lnTo>
                  <a:lnTo>
                    <a:pt x="490" y="153"/>
                  </a:lnTo>
                  <a:lnTo>
                    <a:pt x="506" y="153"/>
                  </a:lnTo>
                  <a:lnTo>
                    <a:pt x="506" y="162"/>
                  </a:lnTo>
                  <a:lnTo>
                    <a:pt x="503" y="175"/>
                  </a:lnTo>
                  <a:lnTo>
                    <a:pt x="506" y="188"/>
                  </a:lnTo>
                  <a:lnTo>
                    <a:pt x="516" y="201"/>
                  </a:lnTo>
                  <a:lnTo>
                    <a:pt x="516" y="217"/>
                  </a:lnTo>
                  <a:lnTo>
                    <a:pt x="516" y="229"/>
                  </a:lnTo>
                  <a:lnTo>
                    <a:pt x="516" y="232"/>
                  </a:lnTo>
                  <a:lnTo>
                    <a:pt x="516" y="258"/>
                  </a:lnTo>
                  <a:lnTo>
                    <a:pt x="516" y="261"/>
                  </a:lnTo>
                  <a:lnTo>
                    <a:pt x="519" y="277"/>
                  </a:lnTo>
                  <a:lnTo>
                    <a:pt x="525" y="287"/>
                  </a:lnTo>
                  <a:lnTo>
                    <a:pt x="535" y="302"/>
                  </a:lnTo>
                  <a:lnTo>
                    <a:pt x="544" y="312"/>
                  </a:lnTo>
                  <a:lnTo>
                    <a:pt x="544" y="318"/>
                  </a:lnTo>
                  <a:lnTo>
                    <a:pt x="535" y="328"/>
                  </a:lnTo>
                  <a:lnTo>
                    <a:pt x="525" y="328"/>
                  </a:lnTo>
                  <a:lnTo>
                    <a:pt x="519" y="318"/>
                  </a:lnTo>
                  <a:lnTo>
                    <a:pt x="506" y="328"/>
                  </a:lnTo>
                  <a:lnTo>
                    <a:pt x="497" y="318"/>
                  </a:lnTo>
                  <a:lnTo>
                    <a:pt x="490" y="331"/>
                  </a:lnTo>
                  <a:lnTo>
                    <a:pt x="484" y="328"/>
                  </a:lnTo>
                  <a:lnTo>
                    <a:pt x="478" y="318"/>
                  </a:lnTo>
                  <a:lnTo>
                    <a:pt x="474" y="331"/>
                  </a:lnTo>
                  <a:lnTo>
                    <a:pt x="462" y="315"/>
                  </a:lnTo>
                  <a:lnTo>
                    <a:pt x="455" y="318"/>
                  </a:lnTo>
                  <a:lnTo>
                    <a:pt x="455" y="331"/>
                  </a:lnTo>
                  <a:lnTo>
                    <a:pt x="455" y="344"/>
                  </a:lnTo>
                  <a:lnTo>
                    <a:pt x="446" y="344"/>
                  </a:lnTo>
                  <a:lnTo>
                    <a:pt x="439" y="341"/>
                  </a:lnTo>
                  <a:lnTo>
                    <a:pt x="433" y="331"/>
                  </a:lnTo>
                  <a:lnTo>
                    <a:pt x="439" y="347"/>
                  </a:lnTo>
                  <a:lnTo>
                    <a:pt x="449" y="357"/>
                  </a:lnTo>
                  <a:lnTo>
                    <a:pt x="439" y="360"/>
                  </a:lnTo>
                  <a:lnTo>
                    <a:pt x="427" y="360"/>
                  </a:lnTo>
                  <a:lnTo>
                    <a:pt x="420" y="369"/>
                  </a:lnTo>
                  <a:lnTo>
                    <a:pt x="433" y="369"/>
                  </a:lnTo>
                  <a:lnTo>
                    <a:pt x="433" y="376"/>
                  </a:lnTo>
                  <a:lnTo>
                    <a:pt x="427" y="376"/>
                  </a:lnTo>
                  <a:lnTo>
                    <a:pt x="420" y="372"/>
                  </a:lnTo>
                  <a:lnTo>
                    <a:pt x="414" y="372"/>
                  </a:lnTo>
                  <a:lnTo>
                    <a:pt x="420" y="385"/>
                  </a:lnTo>
                  <a:lnTo>
                    <a:pt x="427" y="385"/>
                  </a:lnTo>
                  <a:lnTo>
                    <a:pt x="433" y="388"/>
                  </a:lnTo>
                  <a:lnTo>
                    <a:pt x="427" y="398"/>
                  </a:lnTo>
                  <a:lnTo>
                    <a:pt x="420" y="414"/>
                  </a:lnTo>
                  <a:lnTo>
                    <a:pt x="420" y="417"/>
                  </a:lnTo>
                  <a:lnTo>
                    <a:pt x="411" y="427"/>
                  </a:lnTo>
                  <a:lnTo>
                    <a:pt x="420" y="430"/>
                  </a:lnTo>
                  <a:lnTo>
                    <a:pt x="427" y="433"/>
                  </a:lnTo>
                  <a:lnTo>
                    <a:pt x="433" y="443"/>
                  </a:lnTo>
                  <a:lnTo>
                    <a:pt x="427" y="443"/>
                  </a:lnTo>
                  <a:lnTo>
                    <a:pt x="433" y="455"/>
                  </a:lnTo>
                  <a:lnTo>
                    <a:pt x="439" y="455"/>
                  </a:lnTo>
                  <a:lnTo>
                    <a:pt x="427" y="465"/>
                  </a:lnTo>
                  <a:lnTo>
                    <a:pt x="420" y="465"/>
                  </a:lnTo>
                  <a:lnTo>
                    <a:pt x="414" y="474"/>
                  </a:lnTo>
                  <a:lnTo>
                    <a:pt x="414" y="497"/>
                  </a:lnTo>
                  <a:lnTo>
                    <a:pt x="404" y="513"/>
                  </a:lnTo>
                  <a:lnTo>
                    <a:pt x="398" y="513"/>
                  </a:lnTo>
                  <a:lnTo>
                    <a:pt x="385" y="525"/>
                  </a:lnTo>
                  <a:lnTo>
                    <a:pt x="379" y="516"/>
                  </a:lnTo>
                  <a:lnTo>
                    <a:pt x="379" y="525"/>
                  </a:lnTo>
                  <a:lnTo>
                    <a:pt x="385" y="535"/>
                  </a:lnTo>
                  <a:lnTo>
                    <a:pt x="369" y="541"/>
                  </a:lnTo>
                  <a:lnTo>
                    <a:pt x="363" y="554"/>
                  </a:lnTo>
                  <a:lnTo>
                    <a:pt x="357" y="554"/>
                  </a:lnTo>
                  <a:lnTo>
                    <a:pt x="357" y="544"/>
                  </a:lnTo>
                  <a:lnTo>
                    <a:pt x="350" y="544"/>
                  </a:lnTo>
                  <a:lnTo>
                    <a:pt x="347" y="557"/>
                  </a:lnTo>
                  <a:lnTo>
                    <a:pt x="347" y="570"/>
                  </a:lnTo>
                  <a:lnTo>
                    <a:pt x="334" y="576"/>
                  </a:lnTo>
                  <a:lnTo>
                    <a:pt x="334" y="570"/>
                  </a:lnTo>
                  <a:lnTo>
                    <a:pt x="328" y="570"/>
                  </a:lnTo>
                  <a:lnTo>
                    <a:pt x="322" y="583"/>
                  </a:lnTo>
                  <a:lnTo>
                    <a:pt x="315" y="583"/>
                  </a:lnTo>
                  <a:lnTo>
                    <a:pt x="315" y="576"/>
                  </a:lnTo>
                  <a:lnTo>
                    <a:pt x="306" y="583"/>
                  </a:lnTo>
                  <a:lnTo>
                    <a:pt x="306" y="592"/>
                  </a:lnTo>
                  <a:lnTo>
                    <a:pt x="312" y="592"/>
                  </a:lnTo>
                  <a:lnTo>
                    <a:pt x="312" y="598"/>
                  </a:lnTo>
                  <a:lnTo>
                    <a:pt x="293" y="611"/>
                  </a:lnTo>
                  <a:lnTo>
                    <a:pt x="287" y="611"/>
                  </a:lnTo>
                  <a:lnTo>
                    <a:pt x="283" y="618"/>
                  </a:lnTo>
                  <a:lnTo>
                    <a:pt x="287" y="627"/>
                  </a:lnTo>
                  <a:lnTo>
                    <a:pt x="277" y="640"/>
                  </a:lnTo>
                  <a:lnTo>
                    <a:pt x="264" y="640"/>
                  </a:lnTo>
                  <a:lnTo>
                    <a:pt x="255" y="640"/>
                  </a:lnTo>
                  <a:lnTo>
                    <a:pt x="264" y="659"/>
                  </a:lnTo>
                  <a:lnTo>
                    <a:pt x="271" y="668"/>
                  </a:lnTo>
                  <a:lnTo>
                    <a:pt x="264" y="675"/>
                  </a:lnTo>
                  <a:lnTo>
                    <a:pt x="264" y="688"/>
                  </a:lnTo>
                  <a:lnTo>
                    <a:pt x="264" y="703"/>
                  </a:lnTo>
                  <a:lnTo>
                    <a:pt x="271" y="710"/>
                  </a:lnTo>
                  <a:lnTo>
                    <a:pt x="271" y="719"/>
                  </a:lnTo>
                  <a:lnTo>
                    <a:pt x="264" y="716"/>
                  </a:lnTo>
                  <a:lnTo>
                    <a:pt x="264" y="732"/>
                  </a:lnTo>
                  <a:lnTo>
                    <a:pt x="258" y="745"/>
                  </a:lnTo>
                  <a:lnTo>
                    <a:pt x="264" y="748"/>
                  </a:lnTo>
                  <a:lnTo>
                    <a:pt x="264" y="758"/>
                  </a:lnTo>
                  <a:lnTo>
                    <a:pt x="258" y="758"/>
                  </a:lnTo>
                  <a:lnTo>
                    <a:pt x="264" y="770"/>
                  </a:lnTo>
                  <a:lnTo>
                    <a:pt x="258" y="777"/>
                  </a:lnTo>
                  <a:lnTo>
                    <a:pt x="264" y="786"/>
                  </a:lnTo>
                  <a:lnTo>
                    <a:pt x="271" y="789"/>
                  </a:lnTo>
                  <a:lnTo>
                    <a:pt x="277" y="799"/>
                  </a:lnTo>
                  <a:lnTo>
                    <a:pt x="277" y="805"/>
                  </a:lnTo>
                  <a:lnTo>
                    <a:pt x="283" y="802"/>
                  </a:lnTo>
                  <a:lnTo>
                    <a:pt x="287" y="815"/>
                  </a:lnTo>
                  <a:lnTo>
                    <a:pt x="299" y="802"/>
                  </a:lnTo>
                  <a:lnTo>
                    <a:pt x="306" y="805"/>
                  </a:lnTo>
                  <a:lnTo>
                    <a:pt x="312" y="815"/>
                  </a:lnTo>
                  <a:lnTo>
                    <a:pt x="328" y="831"/>
                  </a:lnTo>
                  <a:lnTo>
                    <a:pt x="322" y="834"/>
                  </a:lnTo>
                  <a:lnTo>
                    <a:pt x="341" y="847"/>
                  </a:lnTo>
                  <a:lnTo>
                    <a:pt x="341" y="856"/>
                  </a:lnTo>
                  <a:lnTo>
                    <a:pt x="350" y="869"/>
                  </a:lnTo>
                  <a:lnTo>
                    <a:pt x="347" y="885"/>
                  </a:lnTo>
                  <a:lnTo>
                    <a:pt x="334" y="898"/>
                  </a:lnTo>
                  <a:lnTo>
                    <a:pt x="328" y="904"/>
                  </a:lnTo>
                  <a:lnTo>
                    <a:pt x="312" y="914"/>
                  </a:lnTo>
                  <a:lnTo>
                    <a:pt x="306" y="904"/>
                  </a:lnTo>
                  <a:lnTo>
                    <a:pt x="306" y="901"/>
                  </a:lnTo>
                  <a:lnTo>
                    <a:pt x="293" y="898"/>
                  </a:lnTo>
                  <a:lnTo>
                    <a:pt x="287" y="888"/>
                  </a:lnTo>
                  <a:lnTo>
                    <a:pt x="287" y="898"/>
                  </a:lnTo>
                  <a:lnTo>
                    <a:pt x="283" y="898"/>
                  </a:lnTo>
                  <a:lnTo>
                    <a:pt x="277" y="888"/>
                  </a:lnTo>
                  <a:lnTo>
                    <a:pt x="264" y="888"/>
                  </a:lnTo>
                  <a:lnTo>
                    <a:pt x="264" y="898"/>
                  </a:lnTo>
                  <a:lnTo>
                    <a:pt x="255" y="901"/>
                  </a:lnTo>
                  <a:lnTo>
                    <a:pt x="245" y="898"/>
                  </a:lnTo>
                  <a:lnTo>
                    <a:pt x="242" y="904"/>
                  </a:lnTo>
                  <a:lnTo>
                    <a:pt x="229" y="901"/>
                  </a:lnTo>
                  <a:lnTo>
                    <a:pt x="226" y="904"/>
                  </a:lnTo>
                  <a:lnTo>
                    <a:pt x="242" y="914"/>
                  </a:lnTo>
                  <a:lnTo>
                    <a:pt x="245" y="914"/>
                  </a:lnTo>
                  <a:lnTo>
                    <a:pt x="245" y="904"/>
                  </a:lnTo>
                  <a:lnTo>
                    <a:pt x="258" y="904"/>
                  </a:lnTo>
                  <a:lnTo>
                    <a:pt x="271" y="914"/>
                  </a:lnTo>
                  <a:lnTo>
                    <a:pt x="283" y="914"/>
                  </a:lnTo>
                  <a:lnTo>
                    <a:pt x="287" y="926"/>
                  </a:lnTo>
                  <a:lnTo>
                    <a:pt x="293" y="917"/>
                  </a:lnTo>
                  <a:lnTo>
                    <a:pt x="299" y="917"/>
                  </a:lnTo>
                  <a:lnTo>
                    <a:pt x="312" y="917"/>
                  </a:lnTo>
                  <a:lnTo>
                    <a:pt x="322" y="917"/>
                  </a:lnTo>
                  <a:lnTo>
                    <a:pt x="328" y="926"/>
                  </a:lnTo>
                  <a:lnTo>
                    <a:pt x="334" y="933"/>
                  </a:lnTo>
                  <a:lnTo>
                    <a:pt x="322" y="942"/>
                  </a:lnTo>
                  <a:lnTo>
                    <a:pt x="315" y="942"/>
                  </a:lnTo>
                  <a:lnTo>
                    <a:pt x="306" y="958"/>
                  </a:lnTo>
                  <a:lnTo>
                    <a:pt x="299" y="955"/>
                  </a:lnTo>
                  <a:lnTo>
                    <a:pt x="306" y="945"/>
                  </a:lnTo>
                  <a:lnTo>
                    <a:pt x="299" y="942"/>
                  </a:lnTo>
                  <a:lnTo>
                    <a:pt x="293" y="945"/>
                  </a:lnTo>
                  <a:lnTo>
                    <a:pt x="299" y="955"/>
                  </a:lnTo>
                  <a:lnTo>
                    <a:pt x="287" y="955"/>
                  </a:lnTo>
                  <a:lnTo>
                    <a:pt x="283" y="961"/>
                  </a:lnTo>
                  <a:lnTo>
                    <a:pt x="283" y="974"/>
                  </a:lnTo>
                  <a:lnTo>
                    <a:pt x="271" y="961"/>
                  </a:lnTo>
                  <a:lnTo>
                    <a:pt x="271" y="974"/>
                  </a:lnTo>
                  <a:lnTo>
                    <a:pt x="264" y="984"/>
                  </a:lnTo>
                  <a:lnTo>
                    <a:pt x="264" y="974"/>
                  </a:lnTo>
                  <a:lnTo>
                    <a:pt x="258" y="974"/>
                  </a:lnTo>
                  <a:lnTo>
                    <a:pt x="255" y="984"/>
                  </a:lnTo>
                  <a:lnTo>
                    <a:pt x="258" y="987"/>
                  </a:lnTo>
                  <a:lnTo>
                    <a:pt x="271" y="999"/>
                  </a:lnTo>
                  <a:lnTo>
                    <a:pt x="255" y="999"/>
                  </a:lnTo>
                  <a:lnTo>
                    <a:pt x="271" y="1003"/>
                  </a:lnTo>
                  <a:lnTo>
                    <a:pt x="271" y="1012"/>
                  </a:lnTo>
                  <a:lnTo>
                    <a:pt x="264" y="1022"/>
                  </a:lnTo>
                  <a:lnTo>
                    <a:pt x="277" y="1034"/>
                  </a:lnTo>
                  <a:lnTo>
                    <a:pt x="264" y="1034"/>
                  </a:lnTo>
                  <a:lnTo>
                    <a:pt x="245" y="1034"/>
                  </a:lnTo>
                  <a:lnTo>
                    <a:pt x="258" y="1041"/>
                  </a:lnTo>
                  <a:lnTo>
                    <a:pt x="255" y="1054"/>
                  </a:lnTo>
                  <a:lnTo>
                    <a:pt x="264" y="1057"/>
                  </a:lnTo>
                  <a:lnTo>
                    <a:pt x="255" y="1069"/>
                  </a:lnTo>
                  <a:lnTo>
                    <a:pt x="264" y="1082"/>
                  </a:lnTo>
                  <a:lnTo>
                    <a:pt x="255" y="1092"/>
                  </a:lnTo>
                  <a:lnTo>
                    <a:pt x="255" y="1098"/>
                  </a:lnTo>
                  <a:lnTo>
                    <a:pt x="258" y="1111"/>
                  </a:lnTo>
                  <a:lnTo>
                    <a:pt x="258" y="1114"/>
                  </a:lnTo>
                  <a:lnTo>
                    <a:pt x="255" y="1146"/>
                  </a:lnTo>
                  <a:lnTo>
                    <a:pt x="245" y="1155"/>
                  </a:lnTo>
                  <a:lnTo>
                    <a:pt x="242" y="1174"/>
                  </a:lnTo>
                  <a:lnTo>
                    <a:pt x="229" y="1190"/>
                  </a:lnTo>
                  <a:lnTo>
                    <a:pt x="226" y="1187"/>
                  </a:lnTo>
                  <a:lnTo>
                    <a:pt x="213" y="1178"/>
                  </a:lnTo>
                  <a:lnTo>
                    <a:pt x="201" y="1187"/>
                  </a:lnTo>
                  <a:lnTo>
                    <a:pt x="185" y="1178"/>
                  </a:lnTo>
                  <a:lnTo>
                    <a:pt x="175" y="1174"/>
                  </a:lnTo>
                  <a:lnTo>
                    <a:pt x="175" y="1190"/>
                  </a:lnTo>
                  <a:lnTo>
                    <a:pt x="159" y="1190"/>
                  </a:lnTo>
                  <a:lnTo>
                    <a:pt x="147" y="1206"/>
                  </a:lnTo>
                  <a:lnTo>
                    <a:pt x="156" y="1216"/>
                  </a:lnTo>
                  <a:lnTo>
                    <a:pt x="159" y="1225"/>
                  </a:lnTo>
                  <a:lnTo>
                    <a:pt x="147" y="1238"/>
                  </a:lnTo>
                  <a:lnTo>
                    <a:pt x="131" y="1232"/>
                  </a:lnTo>
                  <a:lnTo>
                    <a:pt x="105" y="1238"/>
                  </a:lnTo>
                  <a:lnTo>
                    <a:pt x="99" y="1238"/>
                  </a:lnTo>
                  <a:lnTo>
                    <a:pt x="89" y="1232"/>
                  </a:lnTo>
                  <a:lnTo>
                    <a:pt x="99" y="1219"/>
                  </a:lnTo>
                  <a:lnTo>
                    <a:pt x="89" y="1197"/>
                  </a:lnTo>
                  <a:lnTo>
                    <a:pt x="77" y="1190"/>
                  </a:lnTo>
                  <a:lnTo>
                    <a:pt x="77" y="1187"/>
                  </a:lnTo>
                  <a:lnTo>
                    <a:pt x="70" y="1178"/>
                  </a:lnTo>
                  <a:lnTo>
                    <a:pt x="73" y="1174"/>
                  </a:lnTo>
                  <a:lnTo>
                    <a:pt x="86" y="1174"/>
                  </a:lnTo>
                  <a:lnTo>
                    <a:pt x="99" y="1155"/>
                  </a:lnTo>
                  <a:lnTo>
                    <a:pt x="89" y="1146"/>
                  </a:lnTo>
                  <a:lnTo>
                    <a:pt x="77" y="1149"/>
                  </a:lnTo>
                  <a:lnTo>
                    <a:pt x="70" y="1139"/>
                  </a:lnTo>
                  <a:lnTo>
                    <a:pt x="70" y="1127"/>
                  </a:lnTo>
                  <a:lnTo>
                    <a:pt x="57" y="1120"/>
                  </a:lnTo>
                  <a:lnTo>
                    <a:pt x="57" y="1111"/>
                  </a:lnTo>
                  <a:lnTo>
                    <a:pt x="45" y="1085"/>
                  </a:lnTo>
                  <a:lnTo>
                    <a:pt x="41" y="1085"/>
                  </a:lnTo>
                  <a:lnTo>
                    <a:pt x="32" y="1069"/>
                  </a:lnTo>
                  <a:lnTo>
                    <a:pt x="19" y="1069"/>
                  </a:lnTo>
                  <a:lnTo>
                    <a:pt x="16" y="1057"/>
                  </a:lnTo>
                  <a:lnTo>
                    <a:pt x="19" y="1054"/>
                  </a:lnTo>
                  <a:lnTo>
                    <a:pt x="29" y="1041"/>
                  </a:lnTo>
                  <a:lnTo>
                    <a:pt x="19" y="1034"/>
                  </a:lnTo>
                  <a:lnTo>
                    <a:pt x="19" y="1022"/>
                  </a:lnTo>
                  <a:lnTo>
                    <a:pt x="32" y="1015"/>
                  </a:lnTo>
                  <a:lnTo>
                    <a:pt x="32" y="1012"/>
                  </a:lnTo>
                  <a:lnTo>
                    <a:pt x="19" y="1003"/>
                  </a:lnTo>
                  <a:lnTo>
                    <a:pt x="29" y="999"/>
                  </a:lnTo>
                  <a:lnTo>
                    <a:pt x="19" y="999"/>
                  </a:lnTo>
                  <a:lnTo>
                    <a:pt x="16" y="1003"/>
                  </a:lnTo>
                  <a:lnTo>
                    <a:pt x="29" y="1015"/>
                  </a:lnTo>
                  <a:lnTo>
                    <a:pt x="16" y="1022"/>
                  </a:lnTo>
                  <a:lnTo>
                    <a:pt x="16" y="1012"/>
                  </a:lnTo>
                  <a:lnTo>
                    <a:pt x="13" y="1003"/>
                  </a:lnTo>
                  <a:lnTo>
                    <a:pt x="3" y="999"/>
                  </a:lnTo>
                  <a:lnTo>
                    <a:pt x="3" y="984"/>
                  </a:lnTo>
                  <a:lnTo>
                    <a:pt x="0" y="974"/>
                  </a:lnTo>
                  <a:lnTo>
                    <a:pt x="0" y="955"/>
                  </a:lnTo>
                  <a:lnTo>
                    <a:pt x="3" y="945"/>
                  </a:lnTo>
                  <a:close/>
                  <a:moveTo>
                    <a:pt x="328" y="914"/>
                  </a:moveTo>
                  <a:lnTo>
                    <a:pt x="334" y="926"/>
                  </a:lnTo>
                  <a:lnTo>
                    <a:pt x="341" y="929"/>
                  </a:lnTo>
                  <a:lnTo>
                    <a:pt x="341" y="917"/>
                  </a:lnTo>
                  <a:lnTo>
                    <a:pt x="350" y="904"/>
                  </a:lnTo>
                  <a:lnTo>
                    <a:pt x="350" y="901"/>
                  </a:lnTo>
                  <a:lnTo>
                    <a:pt x="341" y="901"/>
                  </a:lnTo>
                  <a:lnTo>
                    <a:pt x="328" y="914"/>
                  </a:lnTo>
                  <a:close/>
                  <a:moveTo>
                    <a:pt x="13" y="1022"/>
                  </a:moveTo>
                  <a:lnTo>
                    <a:pt x="13" y="1034"/>
                  </a:lnTo>
                  <a:lnTo>
                    <a:pt x="16" y="1034"/>
                  </a:lnTo>
                  <a:lnTo>
                    <a:pt x="19" y="1022"/>
                  </a:lnTo>
                  <a:lnTo>
                    <a:pt x="13" y="1022"/>
                  </a:lnTo>
                  <a:close/>
                  <a:moveTo>
                    <a:pt x="376" y="987"/>
                  </a:moveTo>
                  <a:lnTo>
                    <a:pt x="379" y="999"/>
                  </a:lnTo>
                  <a:lnTo>
                    <a:pt x="385" y="993"/>
                  </a:lnTo>
                  <a:lnTo>
                    <a:pt x="379" y="987"/>
                  </a:lnTo>
                  <a:lnTo>
                    <a:pt x="376" y="987"/>
                  </a:lnTo>
                  <a:close/>
                  <a:moveTo>
                    <a:pt x="379" y="1041"/>
                  </a:moveTo>
                  <a:lnTo>
                    <a:pt x="379" y="1044"/>
                  </a:lnTo>
                  <a:lnTo>
                    <a:pt x="385" y="1041"/>
                  </a:lnTo>
                  <a:lnTo>
                    <a:pt x="398" y="1034"/>
                  </a:lnTo>
                  <a:lnTo>
                    <a:pt x="385" y="1034"/>
                  </a:lnTo>
                  <a:lnTo>
                    <a:pt x="379" y="1041"/>
                  </a:lnTo>
                  <a:close/>
                  <a:moveTo>
                    <a:pt x="341" y="1127"/>
                  </a:moveTo>
                  <a:lnTo>
                    <a:pt x="350" y="1120"/>
                  </a:lnTo>
                  <a:lnTo>
                    <a:pt x="357" y="1114"/>
                  </a:lnTo>
                  <a:lnTo>
                    <a:pt x="350" y="1111"/>
                  </a:lnTo>
                  <a:lnTo>
                    <a:pt x="357" y="1104"/>
                  </a:lnTo>
                  <a:lnTo>
                    <a:pt x="369" y="1098"/>
                  </a:lnTo>
                  <a:lnTo>
                    <a:pt x="369" y="1085"/>
                  </a:lnTo>
                  <a:lnTo>
                    <a:pt x="376" y="1082"/>
                  </a:lnTo>
                  <a:lnTo>
                    <a:pt x="376" y="1073"/>
                  </a:lnTo>
                  <a:lnTo>
                    <a:pt x="369" y="1069"/>
                  </a:lnTo>
                  <a:lnTo>
                    <a:pt x="376" y="1057"/>
                  </a:lnTo>
                  <a:lnTo>
                    <a:pt x="376" y="1054"/>
                  </a:lnTo>
                  <a:lnTo>
                    <a:pt x="379" y="1044"/>
                  </a:lnTo>
                  <a:lnTo>
                    <a:pt x="376" y="1044"/>
                  </a:lnTo>
                  <a:lnTo>
                    <a:pt x="369" y="1044"/>
                  </a:lnTo>
                  <a:lnTo>
                    <a:pt x="357" y="1044"/>
                  </a:lnTo>
                  <a:lnTo>
                    <a:pt x="347" y="1057"/>
                  </a:lnTo>
                  <a:lnTo>
                    <a:pt x="341" y="1063"/>
                  </a:lnTo>
                  <a:lnTo>
                    <a:pt x="334" y="1073"/>
                  </a:lnTo>
                  <a:lnTo>
                    <a:pt x="341" y="1085"/>
                  </a:lnTo>
                  <a:lnTo>
                    <a:pt x="334" y="1085"/>
                  </a:lnTo>
                  <a:lnTo>
                    <a:pt x="347" y="1104"/>
                  </a:lnTo>
                  <a:lnTo>
                    <a:pt x="350" y="1104"/>
                  </a:lnTo>
                  <a:lnTo>
                    <a:pt x="347" y="1111"/>
                  </a:lnTo>
                  <a:lnTo>
                    <a:pt x="341" y="1120"/>
                  </a:lnTo>
                  <a:lnTo>
                    <a:pt x="341" y="1127"/>
                  </a:lnTo>
                  <a:close/>
                  <a:moveTo>
                    <a:pt x="258" y="1155"/>
                  </a:moveTo>
                  <a:lnTo>
                    <a:pt x="258" y="1168"/>
                  </a:lnTo>
                  <a:lnTo>
                    <a:pt x="258" y="1174"/>
                  </a:lnTo>
                  <a:lnTo>
                    <a:pt x="264" y="1178"/>
                  </a:lnTo>
                  <a:lnTo>
                    <a:pt x="271" y="1168"/>
                  </a:lnTo>
                  <a:lnTo>
                    <a:pt x="277" y="1149"/>
                  </a:lnTo>
                  <a:lnTo>
                    <a:pt x="277" y="1133"/>
                  </a:lnTo>
                  <a:lnTo>
                    <a:pt x="283" y="1114"/>
                  </a:lnTo>
                  <a:lnTo>
                    <a:pt x="283" y="1098"/>
                  </a:lnTo>
                  <a:lnTo>
                    <a:pt x="277" y="1092"/>
                  </a:lnTo>
                  <a:lnTo>
                    <a:pt x="271" y="1104"/>
                  </a:lnTo>
                  <a:lnTo>
                    <a:pt x="271" y="1111"/>
                  </a:lnTo>
                  <a:lnTo>
                    <a:pt x="271" y="1127"/>
                  </a:lnTo>
                  <a:lnTo>
                    <a:pt x="264" y="1127"/>
                  </a:lnTo>
                  <a:lnTo>
                    <a:pt x="258" y="1155"/>
                  </a:lnTo>
                  <a:close/>
                </a:path>
              </a:pathLst>
            </a:custGeom>
            <a:solidFill>
              <a:schemeClr val="bg1"/>
            </a:solidFill>
            <a:ln w="6350">
              <a:solidFill>
                <a:schemeClr val="accent2"/>
              </a:solidFill>
              <a:round/>
              <a:headEnd/>
              <a:tailEnd/>
            </a:ln>
          </p:spPr>
          <p:txBody>
            <a:bodyPr/>
            <a:lstStyle/>
            <a:p>
              <a:endParaRPr lang="de-DE"/>
            </a:p>
          </p:txBody>
        </p:sp>
        <p:sp>
          <p:nvSpPr>
            <p:cNvPr id="178" name="Freeform 18"/>
            <p:cNvSpPr>
              <a:spLocks noEditPoints="1"/>
            </p:cNvSpPr>
            <p:nvPr/>
          </p:nvSpPr>
          <p:spPr bwMode="gray">
            <a:xfrm>
              <a:off x="3140" y="-74"/>
              <a:ext cx="550" cy="987"/>
            </a:xfrm>
            <a:custGeom>
              <a:avLst/>
              <a:gdLst>
                <a:gd name="T0" fmla="*/ 16550174 w 173"/>
                <a:gd name="T1" fmla="*/ 27497212 h 310"/>
                <a:gd name="T2" fmla="*/ 16885674 w 173"/>
                <a:gd name="T3" fmla="*/ 22492813 h 310"/>
                <a:gd name="T4" fmla="*/ 15727221 w 173"/>
                <a:gd name="T5" fmla="*/ 18722148 h 310"/>
                <a:gd name="T6" fmla="*/ 14965316 w 173"/>
                <a:gd name="T7" fmla="*/ 16609621 h 310"/>
                <a:gd name="T8" fmla="*/ 14463531 w 173"/>
                <a:gd name="T9" fmla="*/ 12639605 h 310"/>
                <a:gd name="T10" fmla="*/ 14036095 w 173"/>
                <a:gd name="T11" fmla="*/ 8132173 h 310"/>
                <a:gd name="T12" fmla="*/ 11708778 w 173"/>
                <a:gd name="T13" fmla="*/ 6420728 h 310"/>
                <a:gd name="T14" fmla="*/ 11374299 w 173"/>
                <a:gd name="T15" fmla="*/ 3863548 h 310"/>
                <a:gd name="T16" fmla="*/ 11708778 w 173"/>
                <a:gd name="T17" fmla="*/ 1276993 h 310"/>
                <a:gd name="T18" fmla="*/ 8860262 w 173"/>
                <a:gd name="T19" fmla="*/ 0 h 310"/>
                <a:gd name="T20" fmla="*/ 7494195 w 173"/>
                <a:gd name="T21" fmla="*/ 971988 h 310"/>
                <a:gd name="T22" fmla="*/ 7168751 w 173"/>
                <a:gd name="T23" fmla="*/ 3432378 h 310"/>
                <a:gd name="T24" fmla="*/ 6000878 w 173"/>
                <a:gd name="T25" fmla="*/ 4603317 h 310"/>
                <a:gd name="T26" fmla="*/ 3913205 w 173"/>
                <a:gd name="T27" fmla="*/ 5246889 h 310"/>
                <a:gd name="T28" fmla="*/ 1063668 w 173"/>
                <a:gd name="T29" fmla="*/ 3094684 h 310"/>
                <a:gd name="T30" fmla="*/ 0 w 173"/>
                <a:gd name="T31" fmla="*/ 3863548 h 310"/>
                <a:gd name="T32" fmla="*/ 2753723 w 173"/>
                <a:gd name="T33" fmla="*/ 5787720 h 310"/>
                <a:gd name="T34" fmla="*/ 3913205 w 173"/>
                <a:gd name="T35" fmla="*/ 6865763 h 310"/>
                <a:gd name="T36" fmla="*/ 4444846 w 173"/>
                <a:gd name="T37" fmla="*/ 8776057 h 310"/>
                <a:gd name="T38" fmla="*/ 5176896 w 173"/>
                <a:gd name="T39" fmla="*/ 10685447 h 310"/>
                <a:gd name="T40" fmla="*/ 5373421 w 173"/>
                <a:gd name="T41" fmla="*/ 13485438 h 310"/>
                <a:gd name="T42" fmla="*/ 6532814 w 173"/>
                <a:gd name="T43" fmla="*/ 14994033 h 310"/>
                <a:gd name="T44" fmla="*/ 8131063 w 173"/>
                <a:gd name="T45" fmla="*/ 16811440 h 310"/>
                <a:gd name="T46" fmla="*/ 8432501 w 173"/>
                <a:gd name="T47" fmla="*/ 17982411 h 310"/>
                <a:gd name="T48" fmla="*/ 6532814 w 173"/>
                <a:gd name="T49" fmla="*/ 18963635 h 310"/>
                <a:gd name="T50" fmla="*/ 5373421 w 173"/>
                <a:gd name="T51" fmla="*/ 20137767 h 310"/>
                <a:gd name="T52" fmla="*/ 5176896 w 173"/>
                <a:gd name="T53" fmla="*/ 21859703 h 310"/>
                <a:gd name="T54" fmla="*/ 4113653 w 173"/>
                <a:gd name="T55" fmla="*/ 22058644 h 310"/>
                <a:gd name="T56" fmla="*/ 3682943 w 173"/>
                <a:gd name="T57" fmla="*/ 23232582 h 310"/>
                <a:gd name="T58" fmla="*/ 2753723 w 173"/>
                <a:gd name="T59" fmla="*/ 23663752 h 310"/>
                <a:gd name="T60" fmla="*/ 2753723 w 173"/>
                <a:gd name="T61" fmla="*/ 25046991 h 310"/>
                <a:gd name="T62" fmla="*/ 2954168 w 173"/>
                <a:gd name="T63" fmla="*/ 26323080 h 310"/>
                <a:gd name="T64" fmla="*/ 3682943 w 173"/>
                <a:gd name="T65" fmla="*/ 28373123 h 310"/>
                <a:gd name="T66" fmla="*/ 3285465 w 173"/>
                <a:gd name="T67" fmla="*/ 30496141 h 310"/>
                <a:gd name="T68" fmla="*/ 4645265 w 173"/>
                <a:gd name="T69" fmla="*/ 31264967 h 310"/>
                <a:gd name="T70" fmla="*/ 5803718 w 173"/>
                <a:gd name="T71" fmla="*/ 31667083 h 310"/>
                <a:gd name="T72" fmla="*/ 6532814 w 173"/>
                <a:gd name="T73" fmla="*/ 33178260 h 310"/>
                <a:gd name="T74" fmla="*/ 7700455 w 173"/>
                <a:gd name="T75" fmla="*/ 32651205 h 310"/>
                <a:gd name="T76" fmla="*/ 10018714 w 173"/>
                <a:gd name="T77" fmla="*/ 31667083 h 310"/>
                <a:gd name="T78" fmla="*/ 10750761 w 173"/>
                <a:gd name="T79" fmla="*/ 31264967 h 310"/>
                <a:gd name="T80" fmla="*/ 11511605 w 173"/>
                <a:gd name="T81" fmla="*/ 31264967 h 310"/>
                <a:gd name="T82" fmla="*/ 12671091 w 173"/>
                <a:gd name="T83" fmla="*/ 30833797 h 310"/>
                <a:gd name="T84" fmla="*/ 13806863 w 173"/>
                <a:gd name="T85" fmla="*/ 30728363 h 310"/>
                <a:gd name="T86" fmla="*/ 7168751 w 173"/>
                <a:gd name="T87" fmla="*/ 17348977 h 310"/>
                <a:gd name="T88" fmla="*/ 7700455 w 173"/>
                <a:gd name="T89" fmla="*/ 17348977 h 310"/>
                <a:gd name="T90" fmla="*/ 2327317 w 173"/>
                <a:gd name="T91" fmla="*/ 22797997 h 310"/>
                <a:gd name="T92" fmla="*/ 2327317 w 173"/>
                <a:gd name="T93" fmla="*/ 22797997 h 310"/>
                <a:gd name="T94" fmla="*/ 6240532 w 173"/>
                <a:gd name="T95" fmla="*/ 32438904 h 310"/>
                <a:gd name="T96" fmla="*/ 5373421 w 173"/>
                <a:gd name="T97" fmla="*/ 31667083 h 310"/>
                <a:gd name="T98" fmla="*/ 4444846 w 173"/>
                <a:gd name="T99" fmla="*/ 31468133 h 310"/>
                <a:gd name="T100" fmla="*/ 3485779 w 173"/>
                <a:gd name="T101" fmla="*/ 31468133 h 310"/>
                <a:gd name="T102" fmla="*/ 1158453 w 173"/>
                <a:gd name="T103" fmla="*/ 31264967 h 310"/>
                <a:gd name="T104" fmla="*/ 1795715 w 173"/>
                <a:gd name="T105" fmla="*/ 32438904 h 310"/>
                <a:gd name="T106" fmla="*/ 1063668 w 173"/>
                <a:gd name="T107" fmla="*/ 32004322 h 3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73" h="310">
                  <a:moveTo>
                    <a:pt x="137" y="287"/>
                  </a:moveTo>
                  <a:cubicBezTo>
                    <a:pt x="137" y="283"/>
                    <a:pt x="137" y="283"/>
                    <a:pt x="137" y="283"/>
                  </a:cubicBezTo>
                  <a:cubicBezTo>
                    <a:pt x="144" y="274"/>
                    <a:pt x="144" y="274"/>
                    <a:pt x="144" y="274"/>
                  </a:cubicBezTo>
                  <a:cubicBezTo>
                    <a:pt x="148" y="272"/>
                    <a:pt x="148" y="272"/>
                    <a:pt x="148" y="272"/>
                  </a:cubicBezTo>
                  <a:cubicBezTo>
                    <a:pt x="153" y="265"/>
                    <a:pt x="153" y="265"/>
                    <a:pt x="153" y="265"/>
                  </a:cubicBezTo>
                  <a:cubicBezTo>
                    <a:pt x="157" y="257"/>
                    <a:pt x="157" y="257"/>
                    <a:pt x="157" y="257"/>
                  </a:cubicBezTo>
                  <a:cubicBezTo>
                    <a:pt x="160" y="248"/>
                    <a:pt x="160" y="248"/>
                    <a:pt x="160" y="248"/>
                  </a:cubicBezTo>
                  <a:cubicBezTo>
                    <a:pt x="168" y="237"/>
                    <a:pt x="168" y="237"/>
                    <a:pt x="168" y="237"/>
                  </a:cubicBezTo>
                  <a:cubicBezTo>
                    <a:pt x="173" y="224"/>
                    <a:pt x="173" y="224"/>
                    <a:pt x="173" y="224"/>
                  </a:cubicBezTo>
                  <a:cubicBezTo>
                    <a:pt x="171" y="219"/>
                    <a:pt x="171" y="219"/>
                    <a:pt x="171" y="219"/>
                  </a:cubicBezTo>
                  <a:cubicBezTo>
                    <a:pt x="164" y="210"/>
                    <a:pt x="164" y="210"/>
                    <a:pt x="164" y="210"/>
                  </a:cubicBezTo>
                  <a:cubicBezTo>
                    <a:pt x="160" y="210"/>
                    <a:pt x="160" y="210"/>
                    <a:pt x="160" y="210"/>
                  </a:cubicBezTo>
                  <a:cubicBezTo>
                    <a:pt x="151" y="197"/>
                    <a:pt x="151" y="197"/>
                    <a:pt x="151" y="197"/>
                  </a:cubicBezTo>
                  <a:cubicBezTo>
                    <a:pt x="153" y="193"/>
                    <a:pt x="153" y="193"/>
                    <a:pt x="153" y="193"/>
                  </a:cubicBezTo>
                  <a:cubicBezTo>
                    <a:pt x="157" y="188"/>
                    <a:pt x="157" y="188"/>
                    <a:pt x="157" y="188"/>
                  </a:cubicBezTo>
                  <a:cubicBezTo>
                    <a:pt x="157" y="182"/>
                    <a:pt x="157" y="182"/>
                    <a:pt x="157" y="182"/>
                  </a:cubicBezTo>
                  <a:cubicBezTo>
                    <a:pt x="151" y="179"/>
                    <a:pt x="151" y="179"/>
                    <a:pt x="151" y="179"/>
                  </a:cubicBezTo>
                  <a:cubicBezTo>
                    <a:pt x="149" y="175"/>
                    <a:pt x="149" y="175"/>
                    <a:pt x="149" y="175"/>
                  </a:cubicBezTo>
                  <a:cubicBezTo>
                    <a:pt x="149" y="170"/>
                    <a:pt x="149" y="170"/>
                    <a:pt x="149" y="170"/>
                  </a:cubicBezTo>
                  <a:cubicBezTo>
                    <a:pt x="149" y="168"/>
                    <a:pt x="149" y="168"/>
                    <a:pt x="149" y="168"/>
                  </a:cubicBezTo>
                  <a:cubicBezTo>
                    <a:pt x="149" y="164"/>
                    <a:pt x="149" y="164"/>
                    <a:pt x="149" y="164"/>
                  </a:cubicBezTo>
                  <a:cubicBezTo>
                    <a:pt x="144" y="164"/>
                    <a:pt x="144" y="164"/>
                    <a:pt x="144" y="164"/>
                  </a:cubicBezTo>
                  <a:cubicBezTo>
                    <a:pt x="142" y="160"/>
                    <a:pt x="142" y="160"/>
                    <a:pt x="142" y="160"/>
                  </a:cubicBezTo>
                  <a:cubicBezTo>
                    <a:pt x="142" y="155"/>
                    <a:pt x="142" y="155"/>
                    <a:pt x="142" y="155"/>
                  </a:cubicBezTo>
                  <a:cubicBezTo>
                    <a:pt x="144" y="151"/>
                    <a:pt x="144" y="151"/>
                    <a:pt x="144" y="151"/>
                  </a:cubicBezTo>
                  <a:cubicBezTo>
                    <a:pt x="140" y="151"/>
                    <a:pt x="140" y="151"/>
                    <a:pt x="140" y="151"/>
                  </a:cubicBezTo>
                  <a:cubicBezTo>
                    <a:pt x="140" y="148"/>
                    <a:pt x="140" y="148"/>
                    <a:pt x="140" y="148"/>
                  </a:cubicBezTo>
                  <a:cubicBezTo>
                    <a:pt x="142" y="137"/>
                    <a:pt x="142" y="137"/>
                    <a:pt x="142" y="137"/>
                  </a:cubicBezTo>
                  <a:cubicBezTo>
                    <a:pt x="146" y="137"/>
                    <a:pt x="146" y="137"/>
                    <a:pt x="146" y="137"/>
                  </a:cubicBezTo>
                  <a:cubicBezTo>
                    <a:pt x="137" y="118"/>
                    <a:pt x="137" y="118"/>
                    <a:pt x="137" y="118"/>
                  </a:cubicBezTo>
                  <a:cubicBezTo>
                    <a:pt x="129" y="106"/>
                    <a:pt x="129" y="106"/>
                    <a:pt x="129" y="106"/>
                  </a:cubicBezTo>
                  <a:cubicBezTo>
                    <a:pt x="129" y="100"/>
                    <a:pt x="129" y="100"/>
                    <a:pt x="129" y="100"/>
                  </a:cubicBezTo>
                  <a:cubicBezTo>
                    <a:pt x="124" y="96"/>
                    <a:pt x="124" y="96"/>
                    <a:pt x="124" y="96"/>
                  </a:cubicBezTo>
                  <a:cubicBezTo>
                    <a:pt x="128" y="87"/>
                    <a:pt x="128" y="87"/>
                    <a:pt x="128" y="87"/>
                  </a:cubicBezTo>
                  <a:cubicBezTo>
                    <a:pt x="131" y="82"/>
                    <a:pt x="131" y="82"/>
                    <a:pt x="131" y="82"/>
                  </a:cubicBezTo>
                  <a:cubicBezTo>
                    <a:pt x="133" y="76"/>
                    <a:pt x="133" y="76"/>
                    <a:pt x="133" y="76"/>
                  </a:cubicBezTo>
                  <a:cubicBezTo>
                    <a:pt x="131" y="74"/>
                    <a:pt x="131" y="74"/>
                    <a:pt x="131" y="74"/>
                  </a:cubicBezTo>
                  <a:cubicBezTo>
                    <a:pt x="122" y="69"/>
                    <a:pt x="122" y="69"/>
                    <a:pt x="122" y="69"/>
                  </a:cubicBezTo>
                  <a:cubicBezTo>
                    <a:pt x="120" y="67"/>
                    <a:pt x="120" y="67"/>
                    <a:pt x="120" y="67"/>
                  </a:cubicBezTo>
                  <a:cubicBezTo>
                    <a:pt x="119" y="64"/>
                    <a:pt x="119" y="64"/>
                    <a:pt x="119" y="64"/>
                  </a:cubicBezTo>
                  <a:cubicBezTo>
                    <a:pt x="113" y="60"/>
                    <a:pt x="113" y="60"/>
                    <a:pt x="113" y="60"/>
                  </a:cubicBezTo>
                  <a:cubicBezTo>
                    <a:pt x="111" y="60"/>
                    <a:pt x="111" y="60"/>
                    <a:pt x="111" y="60"/>
                  </a:cubicBezTo>
                  <a:cubicBezTo>
                    <a:pt x="109" y="53"/>
                    <a:pt x="109" y="53"/>
                    <a:pt x="109" y="53"/>
                  </a:cubicBezTo>
                  <a:cubicBezTo>
                    <a:pt x="106" y="49"/>
                    <a:pt x="106" y="49"/>
                    <a:pt x="106" y="49"/>
                  </a:cubicBezTo>
                  <a:cubicBezTo>
                    <a:pt x="108" y="43"/>
                    <a:pt x="108" y="43"/>
                    <a:pt x="108" y="43"/>
                  </a:cubicBezTo>
                  <a:cubicBezTo>
                    <a:pt x="108" y="38"/>
                    <a:pt x="108" y="38"/>
                    <a:pt x="108" y="38"/>
                  </a:cubicBezTo>
                  <a:cubicBezTo>
                    <a:pt x="106" y="38"/>
                    <a:pt x="106" y="38"/>
                    <a:pt x="106" y="38"/>
                  </a:cubicBezTo>
                  <a:cubicBezTo>
                    <a:pt x="108" y="36"/>
                    <a:pt x="108" y="36"/>
                    <a:pt x="108" y="36"/>
                  </a:cubicBezTo>
                  <a:cubicBezTo>
                    <a:pt x="113" y="34"/>
                    <a:pt x="113" y="34"/>
                    <a:pt x="113" y="34"/>
                  </a:cubicBezTo>
                  <a:cubicBezTo>
                    <a:pt x="113" y="27"/>
                    <a:pt x="113" y="27"/>
                    <a:pt x="113" y="27"/>
                  </a:cubicBezTo>
                  <a:cubicBezTo>
                    <a:pt x="115" y="21"/>
                    <a:pt x="115" y="21"/>
                    <a:pt x="115" y="21"/>
                  </a:cubicBezTo>
                  <a:cubicBezTo>
                    <a:pt x="115" y="18"/>
                    <a:pt x="115" y="18"/>
                    <a:pt x="115" y="18"/>
                  </a:cubicBezTo>
                  <a:cubicBezTo>
                    <a:pt x="113" y="14"/>
                    <a:pt x="113" y="14"/>
                    <a:pt x="113" y="14"/>
                  </a:cubicBezTo>
                  <a:cubicBezTo>
                    <a:pt x="111" y="12"/>
                    <a:pt x="111" y="12"/>
                    <a:pt x="111" y="12"/>
                  </a:cubicBezTo>
                  <a:cubicBezTo>
                    <a:pt x="106" y="10"/>
                    <a:pt x="106" y="10"/>
                    <a:pt x="106" y="10"/>
                  </a:cubicBezTo>
                  <a:cubicBezTo>
                    <a:pt x="102" y="10"/>
                    <a:pt x="102" y="10"/>
                    <a:pt x="102" y="10"/>
                  </a:cubicBezTo>
                  <a:cubicBezTo>
                    <a:pt x="100" y="7"/>
                    <a:pt x="100" y="7"/>
                    <a:pt x="100" y="7"/>
                  </a:cubicBezTo>
                  <a:cubicBezTo>
                    <a:pt x="95" y="1"/>
                    <a:pt x="95" y="1"/>
                    <a:pt x="95" y="1"/>
                  </a:cubicBezTo>
                  <a:cubicBezTo>
                    <a:pt x="91" y="0"/>
                    <a:pt x="91" y="0"/>
                    <a:pt x="91" y="0"/>
                  </a:cubicBezTo>
                  <a:cubicBezTo>
                    <a:pt x="84" y="0"/>
                    <a:pt x="84" y="0"/>
                    <a:pt x="84" y="0"/>
                  </a:cubicBezTo>
                  <a:cubicBezTo>
                    <a:pt x="82" y="3"/>
                    <a:pt x="82" y="3"/>
                    <a:pt x="82" y="3"/>
                  </a:cubicBezTo>
                  <a:cubicBezTo>
                    <a:pt x="82" y="5"/>
                    <a:pt x="82" y="5"/>
                    <a:pt x="82" y="5"/>
                  </a:cubicBezTo>
                  <a:cubicBezTo>
                    <a:pt x="80" y="5"/>
                    <a:pt x="80" y="5"/>
                    <a:pt x="80" y="5"/>
                  </a:cubicBezTo>
                  <a:cubicBezTo>
                    <a:pt x="75" y="5"/>
                    <a:pt x="75" y="5"/>
                    <a:pt x="75" y="5"/>
                  </a:cubicBezTo>
                  <a:cubicBezTo>
                    <a:pt x="71" y="5"/>
                    <a:pt x="71" y="5"/>
                    <a:pt x="71" y="5"/>
                  </a:cubicBezTo>
                  <a:cubicBezTo>
                    <a:pt x="71" y="9"/>
                    <a:pt x="71" y="9"/>
                    <a:pt x="71" y="9"/>
                  </a:cubicBezTo>
                  <a:cubicBezTo>
                    <a:pt x="69" y="12"/>
                    <a:pt x="69" y="12"/>
                    <a:pt x="69" y="12"/>
                  </a:cubicBezTo>
                  <a:cubicBezTo>
                    <a:pt x="68" y="12"/>
                    <a:pt x="68" y="12"/>
                    <a:pt x="68" y="12"/>
                  </a:cubicBezTo>
                  <a:cubicBezTo>
                    <a:pt x="69" y="16"/>
                    <a:pt x="69" y="16"/>
                    <a:pt x="69" y="16"/>
                  </a:cubicBezTo>
                  <a:cubicBezTo>
                    <a:pt x="68" y="18"/>
                    <a:pt x="68" y="18"/>
                    <a:pt x="68" y="18"/>
                  </a:cubicBezTo>
                  <a:cubicBezTo>
                    <a:pt x="68" y="27"/>
                    <a:pt x="68" y="27"/>
                    <a:pt x="68" y="27"/>
                  </a:cubicBezTo>
                  <a:cubicBezTo>
                    <a:pt x="68" y="32"/>
                    <a:pt x="68" y="32"/>
                    <a:pt x="68" y="32"/>
                  </a:cubicBezTo>
                  <a:cubicBezTo>
                    <a:pt x="69" y="36"/>
                    <a:pt x="69" y="36"/>
                    <a:pt x="69" y="36"/>
                  </a:cubicBezTo>
                  <a:cubicBezTo>
                    <a:pt x="68" y="38"/>
                    <a:pt x="68" y="38"/>
                    <a:pt x="68" y="38"/>
                  </a:cubicBezTo>
                  <a:cubicBezTo>
                    <a:pt x="66" y="40"/>
                    <a:pt x="66" y="40"/>
                    <a:pt x="66" y="40"/>
                  </a:cubicBezTo>
                  <a:cubicBezTo>
                    <a:pt x="62" y="40"/>
                    <a:pt x="62" y="40"/>
                    <a:pt x="62" y="40"/>
                  </a:cubicBezTo>
                  <a:cubicBezTo>
                    <a:pt x="60" y="42"/>
                    <a:pt x="60" y="42"/>
                    <a:pt x="60" y="42"/>
                  </a:cubicBezTo>
                  <a:cubicBezTo>
                    <a:pt x="57" y="43"/>
                    <a:pt x="57" y="43"/>
                    <a:pt x="57" y="43"/>
                  </a:cubicBezTo>
                  <a:cubicBezTo>
                    <a:pt x="55" y="47"/>
                    <a:pt x="55" y="47"/>
                    <a:pt x="55" y="47"/>
                  </a:cubicBezTo>
                  <a:cubicBezTo>
                    <a:pt x="51" y="47"/>
                    <a:pt x="51" y="47"/>
                    <a:pt x="51" y="47"/>
                  </a:cubicBezTo>
                  <a:cubicBezTo>
                    <a:pt x="46" y="42"/>
                    <a:pt x="46" y="42"/>
                    <a:pt x="46" y="42"/>
                  </a:cubicBezTo>
                  <a:cubicBezTo>
                    <a:pt x="42" y="42"/>
                    <a:pt x="42" y="42"/>
                    <a:pt x="42" y="42"/>
                  </a:cubicBezTo>
                  <a:cubicBezTo>
                    <a:pt x="40" y="45"/>
                    <a:pt x="40" y="45"/>
                    <a:pt x="40" y="45"/>
                  </a:cubicBezTo>
                  <a:cubicBezTo>
                    <a:pt x="37" y="49"/>
                    <a:pt x="37" y="49"/>
                    <a:pt x="37" y="49"/>
                  </a:cubicBezTo>
                  <a:cubicBezTo>
                    <a:pt x="28" y="49"/>
                    <a:pt x="28" y="49"/>
                    <a:pt x="28" y="49"/>
                  </a:cubicBezTo>
                  <a:cubicBezTo>
                    <a:pt x="22" y="47"/>
                    <a:pt x="22" y="47"/>
                    <a:pt x="22" y="47"/>
                  </a:cubicBezTo>
                  <a:cubicBezTo>
                    <a:pt x="20" y="43"/>
                    <a:pt x="20" y="43"/>
                    <a:pt x="20" y="43"/>
                  </a:cubicBezTo>
                  <a:cubicBezTo>
                    <a:pt x="19" y="40"/>
                    <a:pt x="19" y="40"/>
                    <a:pt x="19" y="40"/>
                  </a:cubicBezTo>
                  <a:cubicBezTo>
                    <a:pt x="11" y="32"/>
                    <a:pt x="11" y="32"/>
                    <a:pt x="11" y="32"/>
                  </a:cubicBezTo>
                  <a:cubicBezTo>
                    <a:pt x="10" y="29"/>
                    <a:pt x="10" y="29"/>
                    <a:pt x="10" y="29"/>
                  </a:cubicBezTo>
                  <a:cubicBezTo>
                    <a:pt x="6" y="29"/>
                    <a:pt x="6" y="29"/>
                    <a:pt x="6" y="29"/>
                  </a:cubicBezTo>
                  <a:cubicBezTo>
                    <a:pt x="4" y="31"/>
                    <a:pt x="4" y="31"/>
                    <a:pt x="4" y="31"/>
                  </a:cubicBezTo>
                  <a:cubicBezTo>
                    <a:pt x="2" y="34"/>
                    <a:pt x="2" y="34"/>
                    <a:pt x="2" y="34"/>
                  </a:cubicBezTo>
                  <a:cubicBezTo>
                    <a:pt x="4" y="36"/>
                    <a:pt x="4" y="36"/>
                    <a:pt x="4" y="36"/>
                  </a:cubicBezTo>
                  <a:cubicBezTo>
                    <a:pt x="2" y="38"/>
                    <a:pt x="2" y="38"/>
                    <a:pt x="2" y="38"/>
                  </a:cubicBezTo>
                  <a:cubicBezTo>
                    <a:pt x="0" y="36"/>
                    <a:pt x="0" y="36"/>
                    <a:pt x="0" y="36"/>
                  </a:cubicBezTo>
                  <a:cubicBezTo>
                    <a:pt x="0" y="38"/>
                    <a:pt x="0" y="38"/>
                    <a:pt x="0" y="38"/>
                  </a:cubicBezTo>
                  <a:cubicBezTo>
                    <a:pt x="4" y="42"/>
                    <a:pt x="4" y="42"/>
                    <a:pt x="4" y="42"/>
                  </a:cubicBezTo>
                  <a:cubicBezTo>
                    <a:pt x="8" y="43"/>
                    <a:pt x="8" y="43"/>
                    <a:pt x="8" y="43"/>
                  </a:cubicBezTo>
                  <a:cubicBezTo>
                    <a:pt x="13" y="51"/>
                    <a:pt x="13" y="51"/>
                    <a:pt x="13" y="51"/>
                  </a:cubicBezTo>
                  <a:cubicBezTo>
                    <a:pt x="19" y="54"/>
                    <a:pt x="19" y="54"/>
                    <a:pt x="19" y="54"/>
                  </a:cubicBezTo>
                  <a:cubicBezTo>
                    <a:pt x="26" y="54"/>
                    <a:pt x="26" y="54"/>
                    <a:pt x="26" y="54"/>
                  </a:cubicBezTo>
                  <a:cubicBezTo>
                    <a:pt x="28" y="56"/>
                    <a:pt x="28" y="56"/>
                    <a:pt x="28" y="56"/>
                  </a:cubicBezTo>
                  <a:cubicBezTo>
                    <a:pt x="30" y="56"/>
                    <a:pt x="30" y="56"/>
                    <a:pt x="30" y="56"/>
                  </a:cubicBezTo>
                  <a:cubicBezTo>
                    <a:pt x="33" y="60"/>
                    <a:pt x="33" y="60"/>
                    <a:pt x="33" y="60"/>
                  </a:cubicBezTo>
                  <a:cubicBezTo>
                    <a:pt x="35" y="64"/>
                    <a:pt x="35" y="64"/>
                    <a:pt x="35" y="64"/>
                  </a:cubicBezTo>
                  <a:cubicBezTo>
                    <a:pt x="37" y="64"/>
                    <a:pt x="37" y="64"/>
                    <a:pt x="37" y="64"/>
                  </a:cubicBezTo>
                  <a:cubicBezTo>
                    <a:pt x="37" y="64"/>
                    <a:pt x="37" y="64"/>
                    <a:pt x="37" y="64"/>
                  </a:cubicBezTo>
                  <a:cubicBezTo>
                    <a:pt x="40" y="67"/>
                    <a:pt x="40" y="67"/>
                    <a:pt x="40" y="67"/>
                  </a:cubicBezTo>
                  <a:cubicBezTo>
                    <a:pt x="42" y="67"/>
                    <a:pt x="42" y="67"/>
                    <a:pt x="42" y="67"/>
                  </a:cubicBezTo>
                  <a:cubicBezTo>
                    <a:pt x="44" y="71"/>
                    <a:pt x="44" y="71"/>
                    <a:pt x="44" y="71"/>
                  </a:cubicBezTo>
                  <a:cubicBezTo>
                    <a:pt x="42" y="73"/>
                    <a:pt x="42" y="73"/>
                    <a:pt x="42" y="73"/>
                  </a:cubicBezTo>
                  <a:cubicBezTo>
                    <a:pt x="44" y="78"/>
                    <a:pt x="44" y="78"/>
                    <a:pt x="44" y="78"/>
                  </a:cubicBezTo>
                  <a:cubicBezTo>
                    <a:pt x="42" y="82"/>
                    <a:pt x="42" y="82"/>
                    <a:pt x="42" y="82"/>
                  </a:cubicBezTo>
                  <a:cubicBezTo>
                    <a:pt x="42" y="85"/>
                    <a:pt x="42" y="85"/>
                    <a:pt x="42" y="85"/>
                  </a:cubicBezTo>
                  <a:cubicBezTo>
                    <a:pt x="48" y="85"/>
                    <a:pt x="48" y="85"/>
                    <a:pt x="48" y="85"/>
                  </a:cubicBezTo>
                  <a:cubicBezTo>
                    <a:pt x="48" y="89"/>
                    <a:pt x="48" y="89"/>
                    <a:pt x="48" y="89"/>
                  </a:cubicBezTo>
                  <a:cubicBezTo>
                    <a:pt x="46" y="93"/>
                    <a:pt x="46" y="93"/>
                    <a:pt x="46" y="93"/>
                  </a:cubicBezTo>
                  <a:cubicBezTo>
                    <a:pt x="48" y="96"/>
                    <a:pt x="48" y="96"/>
                    <a:pt x="48" y="96"/>
                  </a:cubicBezTo>
                  <a:cubicBezTo>
                    <a:pt x="49" y="100"/>
                    <a:pt x="49" y="100"/>
                    <a:pt x="49" y="100"/>
                  </a:cubicBezTo>
                  <a:cubicBezTo>
                    <a:pt x="49" y="106"/>
                    <a:pt x="49" y="106"/>
                    <a:pt x="49" y="106"/>
                  </a:cubicBezTo>
                  <a:cubicBezTo>
                    <a:pt x="49" y="109"/>
                    <a:pt x="49" y="109"/>
                    <a:pt x="49" y="109"/>
                  </a:cubicBezTo>
                  <a:cubicBezTo>
                    <a:pt x="49" y="111"/>
                    <a:pt x="49" y="111"/>
                    <a:pt x="49" y="111"/>
                  </a:cubicBezTo>
                  <a:cubicBezTo>
                    <a:pt x="49" y="118"/>
                    <a:pt x="49" y="118"/>
                    <a:pt x="49" y="118"/>
                  </a:cubicBezTo>
                  <a:cubicBezTo>
                    <a:pt x="49" y="120"/>
                    <a:pt x="49" y="120"/>
                    <a:pt x="49" y="120"/>
                  </a:cubicBezTo>
                  <a:cubicBezTo>
                    <a:pt x="51" y="126"/>
                    <a:pt x="51" y="126"/>
                    <a:pt x="51" y="126"/>
                  </a:cubicBezTo>
                  <a:cubicBezTo>
                    <a:pt x="53" y="128"/>
                    <a:pt x="53" y="128"/>
                    <a:pt x="53" y="128"/>
                  </a:cubicBezTo>
                  <a:cubicBezTo>
                    <a:pt x="57" y="133"/>
                    <a:pt x="57" y="133"/>
                    <a:pt x="57" y="133"/>
                  </a:cubicBezTo>
                  <a:cubicBezTo>
                    <a:pt x="59" y="135"/>
                    <a:pt x="59" y="135"/>
                    <a:pt x="59" y="135"/>
                  </a:cubicBezTo>
                  <a:cubicBezTo>
                    <a:pt x="59" y="138"/>
                    <a:pt x="59" y="138"/>
                    <a:pt x="59" y="138"/>
                  </a:cubicBezTo>
                  <a:cubicBezTo>
                    <a:pt x="60" y="140"/>
                    <a:pt x="60" y="140"/>
                    <a:pt x="60" y="140"/>
                  </a:cubicBezTo>
                  <a:cubicBezTo>
                    <a:pt x="62" y="140"/>
                    <a:pt x="62" y="140"/>
                    <a:pt x="62" y="140"/>
                  </a:cubicBezTo>
                  <a:cubicBezTo>
                    <a:pt x="66" y="144"/>
                    <a:pt x="66" y="144"/>
                    <a:pt x="66" y="144"/>
                  </a:cubicBezTo>
                  <a:cubicBezTo>
                    <a:pt x="73" y="144"/>
                    <a:pt x="73" y="144"/>
                    <a:pt x="73" y="144"/>
                  </a:cubicBezTo>
                  <a:cubicBezTo>
                    <a:pt x="77" y="148"/>
                    <a:pt x="77" y="148"/>
                    <a:pt x="77" y="148"/>
                  </a:cubicBezTo>
                  <a:cubicBezTo>
                    <a:pt x="75" y="149"/>
                    <a:pt x="75" y="149"/>
                    <a:pt x="75" y="149"/>
                  </a:cubicBezTo>
                  <a:cubicBezTo>
                    <a:pt x="77" y="151"/>
                    <a:pt x="77" y="151"/>
                    <a:pt x="77" y="151"/>
                  </a:cubicBezTo>
                  <a:cubicBezTo>
                    <a:pt x="77" y="157"/>
                    <a:pt x="77" y="157"/>
                    <a:pt x="77" y="157"/>
                  </a:cubicBezTo>
                  <a:cubicBezTo>
                    <a:pt x="75" y="159"/>
                    <a:pt x="75" y="159"/>
                    <a:pt x="75" y="159"/>
                  </a:cubicBezTo>
                  <a:cubicBezTo>
                    <a:pt x="80" y="162"/>
                    <a:pt x="80" y="162"/>
                    <a:pt x="80" y="162"/>
                  </a:cubicBezTo>
                  <a:cubicBezTo>
                    <a:pt x="77" y="162"/>
                    <a:pt x="77" y="162"/>
                    <a:pt x="77" y="162"/>
                  </a:cubicBezTo>
                  <a:cubicBezTo>
                    <a:pt x="75" y="162"/>
                    <a:pt x="75" y="162"/>
                    <a:pt x="75" y="162"/>
                  </a:cubicBezTo>
                  <a:cubicBezTo>
                    <a:pt x="80" y="166"/>
                    <a:pt x="80" y="166"/>
                    <a:pt x="80" y="166"/>
                  </a:cubicBezTo>
                  <a:cubicBezTo>
                    <a:pt x="80" y="168"/>
                    <a:pt x="80" y="168"/>
                    <a:pt x="80" y="168"/>
                  </a:cubicBezTo>
                  <a:cubicBezTo>
                    <a:pt x="75" y="166"/>
                    <a:pt x="75" y="166"/>
                    <a:pt x="75" y="166"/>
                  </a:cubicBezTo>
                  <a:cubicBezTo>
                    <a:pt x="71" y="166"/>
                    <a:pt x="71" y="166"/>
                    <a:pt x="71" y="166"/>
                  </a:cubicBezTo>
                  <a:cubicBezTo>
                    <a:pt x="66" y="168"/>
                    <a:pt x="66" y="168"/>
                    <a:pt x="66" y="168"/>
                  </a:cubicBezTo>
                  <a:cubicBezTo>
                    <a:pt x="66" y="171"/>
                    <a:pt x="66" y="171"/>
                    <a:pt x="66" y="171"/>
                  </a:cubicBezTo>
                  <a:cubicBezTo>
                    <a:pt x="62" y="175"/>
                    <a:pt x="62" y="175"/>
                    <a:pt x="62" y="175"/>
                  </a:cubicBezTo>
                  <a:cubicBezTo>
                    <a:pt x="62" y="177"/>
                    <a:pt x="62" y="177"/>
                    <a:pt x="62" y="177"/>
                  </a:cubicBezTo>
                  <a:cubicBezTo>
                    <a:pt x="62" y="179"/>
                    <a:pt x="62" y="179"/>
                    <a:pt x="62" y="179"/>
                  </a:cubicBezTo>
                  <a:cubicBezTo>
                    <a:pt x="57" y="184"/>
                    <a:pt x="57" y="184"/>
                    <a:pt x="57" y="184"/>
                  </a:cubicBezTo>
                  <a:cubicBezTo>
                    <a:pt x="55" y="190"/>
                    <a:pt x="55" y="190"/>
                    <a:pt x="55" y="190"/>
                  </a:cubicBezTo>
                  <a:cubicBezTo>
                    <a:pt x="55" y="190"/>
                    <a:pt x="55" y="190"/>
                    <a:pt x="55" y="190"/>
                  </a:cubicBezTo>
                  <a:cubicBezTo>
                    <a:pt x="53" y="188"/>
                    <a:pt x="53" y="188"/>
                    <a:pt x="53" y="188"/>
                  </a:cubicBezTo>
                  <a:cubicBezTo>
                    <a:pt x="51" y="188"/>
                    <a:pt x="51" y="188"/>
                    <a:pt x="51" y="188"/>
                  </a:cubicBezTo>
                  <a:cubicBezTo>
                    <a:pt x="53" y="192"/>
                    <a:pt x="53" y="192"/>
                    <a:pt x="53" y="192"/>
                  </a:cubicBezTo>
                  <a:cubicBezTo>
                    <a:pt x="51" y="195"/>
                    <a:pt x="51" y="195"/>
                    <a:pt x="51" y="195"/>
                  </a:cubicBezTo>
                  <a:cubicBezTo>
                    <a:pt x="48" y="195"/>
                    <a:pt x="48" y="195"/>
                    <a:pt x="48" y="195"/>
                  </a:cubicBezTo>
                  <a:cubicBezTo>
                    <a:pt x="46" y="197"/>
                    <a:pt x="46" y="197"/>
                    <a:pt x="46" y="197"/>
                  </a:cubicBezTo>
                  <a:cubicBezTo>
                    <a:pt x="48" y="203"/>
                    <a:pt x="48" y="203"/>
                    <a:pt x="48" y="203"/>
                  </a:cubicBezTo>
                  <a:cubicBezTo>
                    <a:pt x="49" y="204"/>
                    <a:pt x="49" y="204"/>
                    <a:pt x="49" y="204"/>
                  </a:cubicBezTo>
                  <a:cubicBezTo>
                    <a:pt x="46" y="203"/>
                    <a:pt x="46" y="203"/>
                    <a:pt x="46" y="203"/>
                  </a:cubicBezTo>
                  <a:cubicBezTo>
                    <a:pt x="44" y="201"/>
                    <a:pt x="44" y="201"/>
                    <a:pt x="44" y="201"/>
                  </a:cubicBezTo>
                  <a:cubicBezTo>
                    <a:pt x="42" y="203"/>
                    <a:pt x="42" y="203"/>
                    <a:pt x="42" y="203"/>
                  </a:cubicBezTo>
                  <a:cubicBezTo>
                    <a:pt x="40" y="206"/>
                    <a:pt x="40" y="206"/>
                    <a:pt x="40" y="206"/>
                  </a:cubicBezTo>
                  <a:cubicBezTo>
                    <a:pt x="40" y="208"/>
                    <a:pt x="40" y="208"/>
                    <a:pt x="40" y="208"/>
                  </a:cubicBezTo>
                  <a:cubicBezTo>
                    <a:pt x="39" y="206"/>
                    <a:pt x="39" y="206"/>
                    <a:pt x="39" y="206"/>
                  </a:cubicBezTo>
                  <a:cubicBezTo>
                    <a:pt x="39" y="208"/>
                    <a:pt x="39" y="208"/>
                    <a:pt x="39" y="208"/>
                  </a:cubicBezTo>
                  <a:cubicBezTo>
                    <a:pt x="40" y="210"/>
                    <a:pt x="40" y="210"/>
                    <a:pt x="40" y="210"/>
                  </a:cubicBezTo>
                  <a:cubicBezTo>
                    <a:pt x="40" y="212"/>
                    <a:pt x="40" y="212"/>
                    <a:pt x="40" y="212"/>
                  </a:cubicBezTo>
                  <a:cubicBezTo>
                    <a:pt x="39" y="213"/>
                    <a:pt x="39" y="213"/>
                    <a:pt x="39" y="213"/>
                  </a:cubicBezTo>
                  <a:cubicBezTo>
                    <a:pt x="37" y="215"/>
                    <a:pt x="37" y="215"/>
                    <a:pt x="37" y="215"/>
                  </a:cubicBezTo>
                  <a:cubicBezTo>
                    <a:pt x="35" y="217"/>
                    <a:pt x="35" y="217"/>
                    <a:pt x="35" y="217"/>
                  </a:cubicBezTo>
                  <a:cubicBezTo>
                    <a:pt x="33" y="217"/>
                    <a:pt x="33" y="217"/>
                    <a:pt x="33" y="217"/>
                  </a:cubicBezTo>
                  <a:cubicBezTo>
                    <a:pt x="33" y="215"/>
                    <a:pt x="33" y="215"/>
                    <a:pt x="33" y="215"/>
                  </a:cubicBezTo>
                  <a:cubicBezTo>
                    <a:pt x="30" y="213"/>
                    <a:pt x="30" y="213"/>
                    <a:pt x="30" y="213"/>
                  </a:cubicBezTo>
                  <a:cubicBezTo>
                    <a:pt x="28" y="215"/>
                    <a:pt x="28" y="215"/>
                    <a:pt x="28" y="215"/>
                  </a:cubicBezTo>
                  <a:cubicBezTo>
                    <a:pt x="28" y="219"/>
                    <a:pt x="28" y="219"/>
                    <a:pt x="28" y="219"/>
                  </a:cubicBezTo>
                  <a:cubicBezTo>
                    <a:pt x="26" y="221"/>
                    <a:pt x="26" y="221"/>
                    <a:pt x="26" y="221"/>
                  </a:cubicBezTo>
                  <a:cubicBezTo>
                    <a:pt x="28" y="223"/>
                    <a:pt x="28" y="223"/>
                    <a:pt x="28" y="223"/>
                  </a:cubicBezTo>
                  <a:cubicBezTo>
                    <a:pt x="26" y="226"/>
                    <a:pt x="26" y="226"/>
                    <a:pt x="26" y="226"/>
                  </a:cubicBezTo>
                  <a:cubicBezTo>
                    <a:pt x="26" y="226"/>
                    <a:pt x="26" y="226"/>
                    <a:pt x="26" y="226"/>
                  </a:cubicBezTo>
                  <a:cubicBezTo>
                    <a:pt x="24" y="230"/>
                    <a:pt x="24" y="230"/>
                    <a:pt x="24" y="230"/>
                  </a:cubicBezTo>
                  <a:cubicBezTo>
                    <a:pt x="24" y="234"/>
                    <a:pt x="24" y="234"/>
                    <a:pt x="24" y="234"/>
                  </a:cubicBezTo>
                  <a:cubicBezTo>
                    <a:pt x="26" y="234"/>
                    <a:pt x="26" y="234"/>
                    <a:pt x="26" y="234"/>
                  </a:cubicBezTo>
                  <a:cubicBezTo>
                    <a:pt x="24" y="237"/>
                    <a:pt x="24" y="237"/>
                    <a:pt x="24" y="237"/>
                  </a:cubicBezTo>
                  <a:cubicBezTo>
                    <a:pt x="26" y="239"/>
                    <a:pt x="26" y="239"/>
                    <a:pt x="26" y="239"/>
                  </a:cubicBezTo>
                  <a:cubicBezTo>
                    <a:pt x="28" y="239"/>
                    <a:pt x="28" y="239"/>
                    <a:pt x="28" y="239"/>
                  </a:cubicBezTo>
                  <a:cubicBezTo>
                    <a:pt x="30" y="241"/>
                    <a:pt x="30" y="241"/>
                    <a:pt x="30" y="241"/>
                  </a:cubicBezTo>
                  <a:cubicBezTo>
                    <a:pt x="30" y="245"/>
                    <a:pt x="30" y="245"/>
                    <a:pt x="30" y="245"/>
                  </a:cubicBezTo>
                  <a:cubicBezTo>
                    <a:pt x="28" y="246"/>
                    <a:pt x="28" y="246"/>
                    <a:pt x="28" y="246"/>
                  </a:cubicBezTo>
                  <a:cubicBezTo>
                    <a:pt x="30" y="250"/>
                    <a:pt x="30" y="250"/>
                    <a:pt x="30" y="250"/>
                  </a:cubicBezTo>
                  <a:cubicBezTo>
                    <a:pt x="28" y="250"/>
                    <a:pt x="28" y="250"/>
                    <a:pt x="28" y="250"/>
                  </a:cubicBezTo>
                  <a:cubicBezTo>
                    <a:pt x="31" y="256"/>
                    <a:pt x="31" y="256"/>
                    <a:pt x="31" y="256"/>
                  </a:cubicBezTo>
                  <a:cubicBezTo>
                    <a:pt x="33" y="257"/>
                    <a:pt x="33" y="257"/>
                    <a:pt x="33" y="257"/>
                  </a:cubicBezTo>
                  <a:cubicBezTo>
                    <a:pt x="31" y="259"/>
                    <a:pt x="31" y="259"/>
                    <a:pt x="31" y="259"/>
                  </a:cubicBezTo>
                  <a:cubicBezTo>
                    <a:pt x="35" y="265"/>
                    <a:pt x="35" y="265"/>
                    <a:pt x="35" y="265"/>
                  </a:cubicBezTo>
                  <a:cubicBezTo>
                    <a:pt x="31" y="265"/>
                    <a:pt x="31" y="265"/>
                    <a:pt x="31" y="265"/>
                  </a:cubicBezTo>
                  <a:cubicBezTo>
                    <a:pt x="33" y="270"/>
                    <a:pt x="33" y="270"/>
                    <a:pt x="33" y="270"/>
                  </a:cubicBezTo>
                  <a:cubicBezTo>
                    <a:pt x="31" y="272"/>
                    <a:pt x="31" y="272"/>
                    <a:pt x="31" y="272"/>
                  </a:cubicBezTo>
                  <a:cubicBezTo>
                    <a:pt x="31" y="279"/>
                    <a:pt x="31" y="279"/>
                    <a:pt x="31" y="279"/>
                  </a:cubicBezTo>
                  <a:cubicBezTo>
                    <a:pt x="33" y="281"/>
                    <a:pt x="33" y="281"/>
                    <a:pt x="33" y="281"/>
                  </a:cubicBezTo>
                  <a:cubicBezTo>
                    <a:pt x="31" y="285"/>
                    <a:pt x="31" y="285"/>
                    <a:pt x="31" y="285"/>
                  </a:cubicBezTo>
                  <a:cubicBezTo>
                    <a:pt x="31" y="288"/>
                    <a:pt x="31" y="288"/>
                    <a:pt x="31" y="288"/>
                  </a:cubicBezTo>
                  <a:cubicBezTo>
                    <a:pt x="33" y="290"/>
                    <a:pt x="33" y="290"/>
                    <a:pt x="33" y="290"/>
                  </a:cubicBezTo>
                  <a:cubicBezTo>
                    <a:pt x="37" y="288"/>
                    <a:pt x="37" y="288"/>
                    <a:pt x="37" y="288"/>
                  </a:cubicBezTo>
                  <a:cubicBezTo>
                    <a:pt x="39" y="288"/>
                    <a:pt x="39" y="288"/>
                    <a:pt x="39" y="288"/>
                  </a:cubicBezTo>
                  <a:cubicBezTo>
                    <a:pt x="40" y="287"/>
                    <a:pt x="40" y="287"/>
                    <a:pt x="40" y="287"/>
                  </a:cubicBezTo>
                  <a:cubicBezTo>
                    <a:pt x="44" y="292"/>
                    <a:pt x="44" y="292"/>
                    <a:pt x="44" y="292"/>
                  </a:cubicBezTo>
                  <a:cubicBezTo>
                    <a:pt x="46" y="290"/>
                    <a:pt x="46" y="290"/>
                    <a:pt x="46" y="290"/>
                  </a:cubicBezTo>
                  <a:cubicBezTo>
                    <a:pt x="48" y="294"/>
                    <a:pt x="48" y="294"/>
                    <a:pt x="48" y="294"/>
                  </a:cubicBezTo>
                  <a:cubicBezTo>
                    <a:pt x="53" y="292"/>
                    <a:pt x="53" y="292"/>
                    <a:pt x="53" y="292"/>
                  </a:cubicBezTo>
                  <a:cubicBezTo>
                    <a:pt x="55" y="294"/>
                    <a:pt x="55" y="294"/>
                    <a:pt x="55" y="294"/>
                  </a:cubicBezTo>
                  <a:cubicBezTo>
                    <a:pt x="53" y="296"/>
                    <a:pt x="53" y="296"/>
                    <a:pt x="53" y="296"/>
                  </a:cubicBezTo>
                  <a:cubicBezTo>
                    <a:pt x="55" y="296"/>
                    <a:pt x="55" y="296"/>
                    <a:pt x="55" y="296"/>
                  </a:cubicBezTo>
                  <a:cubicBezTo>
                    <a:pt x="59" y="292"/>
                    <a:pt x="59" y="292"/>
                    <a:pt x="59" y="292"/>
                  </a:cubicBezTo>
                  <a:cubicBezTo>
                    <a:pt x="59" y="296"/>
                    <a:pt x="59" y="296"/>
                    <a:pt x="59" y="296"/>
                  </a:cubicBezTo>
                  <a:cubicBezTo>
                    <a:pt x="57" y="298"/>
                    <a:pt x="57" y="298"/>
                    <a:pt x="57" y="298"/>
                  </a:cubicBezTo>
                  <a:cubicBezTo>
                    <a:pt x="62" y="305"/>
                    <a:pt x="62" y="305"/>
                    <a:pt x="62" y="305"/>
                  </a:cubicBezTo>
                  <a:cubicBezTo>
                    <a:pt x="62" y="307"/>
                    <a:pt x="62" y="307"/>
                    <a:pt x="62" y="307"/>
                  </a:cubicBezTo>
                  <a:cubicBezTo>
                    <a:pt x="62" y="310"/>
                    <a:pt x="62" y="310"/>
                    <a:pt x="62" y="310"/>
                  </a:cubicBezTo>
                  <a:cubicBezTo>
                    <a:pt x="62" y="310"/>
                    <a:pt x="62" y="310"/>
                    <a:pt x="62" y="310"/>
                  </a:cubicBezTo>
                  <a:cubicBezTo>
                    <a:pt x="64" y="305"/>
                    <a:pt x="64" y="305"/>
                    <a:pt x="64" y="305"/>
                  </a:cubicBezTo>
                  <a:cubicBezTo>
                    <a:pt x="66" y="305"/>
                    <a:pt x="66" y="305"/>
                    <a:pt x="66" y="305"/>
                  </a:cubicBezTo>
                  <a:cubicBezTo>
                    <a:pt x="68" y="307"/>
                    <a:pt x="68" y="307"/>
                    <a:pt x="68" y="307"/>
                  </a:cubicBezTo>
                  <a:cubicBezTo>
                    <a:pt x="69" y="305"/>
                    <a:pt x="69" y="305"/>
                    <a:pt x="69" y="305"/>
                  </a:cubicBezTo>
                  <a:cubicBezTo>
                    <a:pt x="73" y="305"/>
                    <a:pt x="73" y="305"/>
                    <a:pt x="73" y="305"/>
                  </a:cubicBezTo>
                  <a:cubicBezTo>
                    <a:pt x="79" y="301"/>
                    <a:pt x="79" y="301"/>
                    <a:pt x="79" y="301"/>
                  </a:cubicBezTo>
                  <a:cubicBezTo>
                    <a:pt x="80" y="301"/>
                    <a:pt x="80" y="301"/>
                    <a:pt x="80" y="301"/>
                  </a:cubicBezTo>
                  <a:cubicBezTo>
                    <a:pt x="88" y="296"/>
                    <a:pt x="88" y="296"/>
                    <a:pt x="88" y="296"/>
                  </a:cubicBezTo>
                  <a:cubicBezTo>
                    <a:pt x="88" y="294"/>
                    <a:pt x="88" y="294"/>
                    <a:pt x="88" y="294"/>
                  </a:cubicBezTo>
                  <a:cubicBezTo>
                    <a:pt x="93" y="296"/>
                    <a:pt x="93" y="296"/>
                    <a:pt x="93" y="296"/>
                  </a:cubicBezTo>
                  <a:cubicBezTo>
                    <a:pt x="95" y="296"/>
                    <a:pt x="95" y="296"/>
                    <a:pt x="95" y="296"/>
                  </a:cubicBezTo>
                  <a:cubicBezTo>
                    <a:pt x="99" y="292"/>
                    <a:pt x="99" y="292"/>
                    <a:pt x="99" y="292"/>
                  </a:cubicBezTo>
                  <a:cubicBezTo>
                    <a:pt x="99" y="292"/>
                    <a:pt x="99" y="292"/>
                    <a:pt x="99" y="292"/>
                  </a:cubicBezTo>
                  <a:cubicBezTo>
                    <a:pt x="97" y="296"/>
                    <a:pt x="97" y="296"/>
                    <a:pt x="97" y="296"/>
                  </a:cubicBezTo>
                  <a:cubicBezTo>
                    <a:pt x="99" y="296"/>
                    <a:pt x="99" y="296"/>
                    <a:pt x="99" y="296"/>
                  </a:cubicBezTo>
                  <a:cubicBezTo>
                    <a:pt x="100" y="292"/>
                    <a:pt x="100" y="292"/>
                    <a:pt x="100" y="292"/>
                  </a:cubicBezTo>
                  <a:cubicBezTo>
                    <a:pt x="102" y="292"/>
                    <a:pt x="102" y="292"/>
                    <a:pt x="102" y="292"/>
                  </a:cubicBezTo>
                  <a:cubicBezTo>
                    <a:pt x="100" y="288"/>
                    <a:pt x="100" y="288"/>
                    <a:pt x="100" y="288"/>
                  </a:cubicBezTo>
                  <a:cubicBezTo>
                    <a:pt x="102" y="288"/>
                    <a:pt x="102" y="288"/>
                    <a:pt x="102" y="288"/>
                  </a:cubicBezTo>
                  <a:cubicBezTo>
                    <a:pt x="104" y="290"/>
                    <a:pt x="104" y="290"/>
                    <a:pt x="104" y="290"/>
                  </a:cubicBezTo>
                  <a:cubicBezTo>
                    <a:pt x="106" y="292"/>
                    <a:pt x="106" y="292"/>
                    <a:pt x="106" y="292"/>
                  </a:cubicBezTo>
                  <a:cubicBezTo>
                    <a:pt x="108" y="288"/>
                    <a:pt x="108" y="288"/>
                    <a:pt x="108" y="288"/>
                  </a:cubicBezTo>
                  <a:cubicBezTo>
                    <a:pt x="109" y="292"/>
                    <a:pt x="109" y="292"/>
                    <a:pt x="109" y="292"/>
                  </a:cubicBezTo>
                  <a:cubicBezTo>
                    <a:pt x="111" y="292"/>
                    <a:pt x="111" y="292"/>
                    <a:pt x="111" y="292"/>
                  </a:cubicBezTo>
                  <a:cubicBezTo>
                    <a:pt x="111" y="290"/>
                    <a:pt x="111" y="290"/>
                    <a:pt x="111" y="290"/>
                  </a:cubicBezTo>
                  <a:cubicBezTo>
                    <a:pt x="113" y="290"/>
                    <a:pt x="113" y="290"/>
                    <a:pt x="113" y="290"/>
                  </a:cubicBezTo>
                  <a:cubicBezTo>
                    <a:pt x="113" y="292"/>
                    <a:pt x="113" y="292"/>
                    <a:pt x="113" y="292"/>
                  </a:cubicBezTo>
                  <a:cubicBezTo>
                    <a:pt x="117" y="290"/>
                    <a:pt x="117" y="290"/>
                    <a:pt x="117" y="290"/>
                  </a:cubicBezTo>
                  <a:cubicBezTo>
                    <a:pt x="120" y="288"/>
                    <a:pt x="120" y="288"/>
                    <a:pt x="120" y="288"/>
                  </a:cubicBezTo>
                  <a:cubicBezTo>
                    <a:pt x="122" y="292"/>
                    <a:pt x="122" y="292"/>
                    <a:pt x="122" y="292"/>
                  </a:cubicBezTo>
                  <a:cubicBezTo>
                    <a:pt x="128" y="290"/>
                    <a:pt x="128" y="290"/>
                    <a:pt x="128" y="290"/>
                  </a:cubicBezTo>
                  <a:cubicBezTo>
                    <a:pt x="129" y="288"/>
                    <a:pt x="129" y="288"/>
                    <a:pt x="129" y="288"/>
                  </a:cubicBezTo>
                  <a:cubicBezTo>
                    <a:pt x="128" y="287"/>
                    <a:pt x="128" y="287"/>
                    <a:pt x="128" y="287"/>
                  </a:cubicBezTo>
                  <a:cubicBezTo>
                    <a:pt x="129" y="287"/>
                    <a:pt x="129" y="287"/>
                    <a:pt x="129" y="287"/>
                  </a:cubicBezTo>
                  <a:cubicBezTo>
                    <a:pt x="131" y="287"/>
                    <a:pt x="131" y="287"/>
                    <a:pt x="131" y="287"/>
                  </a:cubicBezTo>
                  <a:cubicBezTo>
                    <a:pt x="131" y="288"/>
                    <a:pt x="131" y="288"/>
                    <a:pt x="131" y="288"/>
                  </a:cubicBezTo>
                  <a:cubicBezTo>
                    <a:pt x="135" y="290"/>
                    <a:pt x="135" y="290"/>
                    <a:pt x="135" y="290"/>
                  </a:cubicBezTo>
                  <a:cubicBezTo>
                    <a:pt x="135" y="290"/>
                    <a:pt x="137" y="288"/>
                    <a:pt x="137" y="287"/>
                  </a:cubicBezTo>
                  <a:close/>
                  <a:moveTo>
                    <a:pt x="73" y="162"/>
                  </a:moveTo>
                  <a:cubicBezTo>
                    <a:pt x="71" y="162"/>
                    <a:pt x="71" y="162"/>
                    <a:pt x="71" y="162"/>
                  </a:cubicBezTo>
                  <a:cubicBezTo>
                    <a:pt x="68" y="162"/>
                    <a:pt x="68" y="162"/>
                    <a:pt x="68" y="162"/>
                  </a:cubicBezTo>
                  <a:cubicBezTo>
                    <a:pt x="66" y="159"/>
                    <a:pt x="66" y="159"/>
                    <a:pt x="66" y="159"/>
                  </a:cubicBezTo>
                  <a:cubicBezTo>
                    <a:pt x="69" y="157"/>
                    <a:pt x="69" y="157"/>
                    <a:pt x="69" y="157"/>
                  </a:cubicBezTo>
                  <a:cubicBezTo>
                    <a:pt x="75" y="159"/>
                    <a:pt x="75" y="159"/>
                    <a:pt x="75" y="159"/>
                  </a:cubicBezTo>
                  <a:cubicBezTo>
                    <a:pt x="73" y="159"/>
                    <a:pt x="73" y="159"/>
                    <a:pt x="73" y="159"/>
                  </a:cubicBezTo>
                  <a:cubicBezTo>
                    <a:pt x="71" y="159"/>
                    <a:pt x="71" y="159"/>
                    <a:pt x="71" y="159"/>
                  </a:cubicBezTo>
                  <a:cubicBezTo>
                    <a:pt x="73" y="162"/>
                    <a:pt x="73" y="162"/>
                    <a:pt x="73" y="162"/>
                  </a:cubicBezTo>
                  <a:close/>
                  <a:moveTo>
                    <a:pt x="24" y="210"/>
                  </a:moveTo>
                  <a:cubicBezTo>
                    <a:pt x="24" y="208"/>
                    <a:pt x="24" y="208"/>
                    <a:pt x="24" y="208"/>
                  </a:cubicBezTo>
                  <a:cubicBezTo>
                    <a:pt x="26" y="210"/>
                    <a:pt x="26" y="210"/>
                    <a:pt x="26" y="210"/>
                  </a:cubicBezTo>
                  <a:cubicBezTo>
                    <a:pt x="26" y="212"/>
                    <a:pt x="26" y="212"/>
                    <a:pt x="26" y="212"/>
                  </a:cubicBezTo>
                  <a:cubicBezTo>
                    <a:pt x="24" y="210"/>
                    <a:pt x="24" y="210"/>
                    <a:pt x="24" y="210"/>
                  </a:cubicBezTo>
                  <a:close/>
                  <a:moveTo>
                    <a:pt x="22" y="213"/>
                  </a:moveTo>
                  <a:cubicBezTo>
                    <a:pt x="24" y="213"/>
                    <a:pt x="24" y="213"/>
                    <a:pt x="24" y="213"/>
                  </a:cubicBezTo>
                  <a:cubicBezTo>
                    <a:pt x="26" y="213"/>
                    <a:pt x="26" y="213"/>
                    <a:pt x="26" y="213"/>
                  </a:cubicBezTo>
                  <a:cubicBezTo>
                    <a:pt x="26" y="215"/>
                    <a:pt x="26" y="215"/>
                    <a:pt x="26" y="215"/>
                  </a:cubicBezTo>
                  <a:cubicBezTo>
                    <a:pt x="24" y="217"/>
                    <a:pt x="24" y="217"/>
                    <a:pt x="24" y="217"/>
                  </a:cubicBezTo>
                  <a:cubicBezTo>
                    <a:pt x="22" y="215"/>
                    <a:pt x="22" y="215"/>
                    <a:pt x="22" y="215"/>
                  </a:cubicBezTo>
                  <a:cubicBezTo>
                    <a:pt x="22" y="213"/>
                    <a:pt x="22" y="213"/>
                    <a:pt x="22" y="213"/>
                  </a:cubicBezTo>
                  <a:close/>
                  <a:moveTo>
                    <a:pt x="59" y="303"/>
                  </a:moveTo>
                  <a:cubicBezTo>
                    <a:pt x="59" y="307"/>
                    <a:pt x="59" y="307"/>
                    <a:pt x="59" y="307"/>
                  </a:cubicBezTo>
                  <a:cubicBezTo>
                    <a:pt x="57" y="307"/>
                    <a:pt x="57" y="307"/>
                    <a:pt x="57" y="307"/>
                  </a:cubicBezTo>
                  <a:cubicBezTo>
                    <a:pt x="55" y="307"/>
                    <a:pt x="55" y="307"/>
                    <a:pt x="55" y="307"/>
                  </a:cubicBezTo>
                  <a:cubicBezTo>
                    <a:pt x="57" y="305"/>
                    <a:pt x="57" y="305"/>
                    <a:pt x="57" y="305"/>
                  </a:cubicBezTo>
                  <a:cubicBezTo>
                    <a:pt x="59" y="303"/>
                    <a:pt x="59" y="303"/>
                    <a:pt x="59" y="303"/>
                  </a:cubicBezTo>
                  <a:close/>
                  <a:moveTo>
                    <a:pt x="53" y="299"/>
                  </a:moveTo>
                  <a:cubicBezTo>
                    <a:pt x="55" y="301"/>
                    <a:pt x="55" y="301"/>
                    <a:pt x="55" y="301"/>
                  </a:cubicBezTo>
                  <a:cubicBezTo>
                    <a:pt x="53" y="303"/>
                    <a:pt x="53" y="303"/>
                    <a:pt x="53" y="303"/>
                  </a:cubicBezTo>
                  <a:cubicBezTo>
                    <a:pt x="53" y="299"/>
                    <a:pt x="53" y="299"/>
                    <a:pt x="53" y="299"/>
                  </a:cubicBezTo>
                  <a:close/>
                  <a:moveTo>
                    <a:pt x="46" y="296"/>
                  </a:moveTo>
                  <a:cubicBezTo>
                    <a:pt x="51" y="296"/>
                    <a:pt x="51" y="296"/>
                    <a:pt x="51" y="296"/>
                  </a:cubicBezTo>
                  <a:cubicBezTo>
                    <a:pt x="51" y="298"/>
                    <a:pt x="51" y="298"/>
                    <a:pt x="51" y="298"/>
                  </a:cubicBezTo>
                  <a:cubicBezTo>
                    <a:pt x="48" y="299"/>
                    <a:pt x="48" y="299"/>
                    <a:pt x="48" y="299"/>
                  </a:cubicBezTo>
                  <a:cubicBezTo>
                    <a:pt x="46" y="298"/>
                    <a:pt x="46" y="298"/>
                    <a:pt x="46" y="298"/>
                  </a:cubicBezTo>
                  <a:cubicBezTo>
                    <a:pt x="46" y="296"/>
                    <a:pt x="46" y="296"/>
                    <a:pt x="46" y="296"/>
                  </a:cubicBezTo>
                  <a:close/>
                  <a:moveTo>
                    <a:pt x="39" y="290"/>
                  </a:moveTo>
                  <a:cubicBezTo>
                    <a:pt x="42" y="294"/>
                    <a:pt x="42" y="294"/>
                    <a:pt x="42" y="294"/>
                  </a:cubicBezTo>
                  <a:cubicBezTo>
                    <a:pt x="40" y="296"/>
                    <a:pt x="40" y="296"/>
                    <a:pt x="40" y="296"/>
                  </a:cubicBezTo>
                  <a:cubicBezTo>
                    <a:pt x="39" y="294"/>
                    <a:pt x="39" y="294"/>
                    <a:pt x="39" y="294"/>
                  </a:cubicBezTo>
                  <a:cubicBezTo>
                    <a:pt x="39" y="290"/>
                    <a:pt x="39" y="290"/>
                    <a:pt x="39" y="290"/>
                  </a:cubicBezTo>
                  <a:close/>
                  <a:moveTo>
                    <a:pt x="31" y="292"/>
                  </a:moveTo>
                  <a:cubicBezTo>
                    <a:pt x="35" y="292"/>
                    <a:pt x="35" y="292"/>
                    <a:pt x="35" y="292"/>
                  </a:cubicBezTo>
                  <a:cubicBezTo>
                    <a:pt x="33" y="294"/>
                    <a:pt x="33" y="294"/>
                    <a:pt x="33" y="294"/>
                  </a:cubicBezTo>
                  <a:cubicBezTo>
                    <a:pt x="31" y="292"/>
                    <a:pt x="31" y="292"/>
                    <a:pt x="31" y="292"/>
                  </a:cubicBezTo>
                  <a:close/>
                  <a:moveTo>
                    <a:pt x="10" y="298"/>
                  </a:moveTo>
                  <a:cubicBezTo>
                    <a:pt x="13" y="298"/>
                    <a:pt x="13" y="298"/>
                    <a:pt x="13" y="298"/>
                  </a:cubicBezTo>
                  <a:cubicBezTo>
                    <a:pt x="13" y="298"/>
                    <a:pt x="13" y="298"/>
                    <a:pt x="13" y="298"/>
                  </a:cubicBezTo>
                  <a:cubicBezTo>
                    <a:pt x="11" y="296"/>
                    <a:pt x="11" y="296"/>
                    <a:pt x="11" y="296"/>
                  </a:cubicBezTo>
                  <a:cubicBezTo>
                    <a:pt x="11" y="292"/>
                    <a:pt x="11" y="292"/>
                    <a:pt x="11" y="292"/>
                  </a:cubicBezTo>
                  <a:cubicBezTo>
                    <a:pt x="13" y="292"/>
                    <a:pt x="13" y="292"/>
                    <a:pt x="13" y="292"/>
                  </a:cubicBezTo>
                  <a:cubicBezTo>
                    <a:pt x="19" y="296"/>
                    <a:pt x="19" y="296"/>
                    <a:pt x="19" y="296"/>
                  </a:cubicBezTo>
                  <a:cubicBezTo>
                    <a:pt x="19" y="298"/>
                    <a:pt x="19" y="298"/>
                    <a:pt x="19" y="298"/>
                  </a:cubicBezTo>
                  <a:cubicBezTo>
                    <a:pt x="17" y="298"/>
                    <a:pt x="17" y="298"/>
                    <a:pt x="17" y="298"/>
                  </a:cubicBezTo>
                  <a:cubicBezTo>
                    <a:pt x="15" y="299"/>
                    <a:pt x="15" y="299"/>
                    <a:pt x="15" y="299"/>
                  </a:cubicBezTo>
                  <a:cubicBezTo>
                    <a:pt x="17" y="303"/>
                    <a:pt x="17" y="303"/>
                    <a:pt x="17" y="303"/>
                  </a:cubicBezTo>
                  <a:cubicBezTo>
                    <a:pt x="19" y="301"/>
                    <a:pt x="19" y="301"/>
                    <a:pt x="19" y="301"/>
                  </a:cubicBezTo>
                  <a:cubicBezTo>
                    <a:pt x="20" y="305"/>
                    <a:pt x="20" y="305"/>
                    <a:pt x="20" y="305"/>
                  </a:cubicBezTo>
                  <a:cubicBezTo>
                    <a:pt x="19" y="307"/>
                    <a:pt x="19" y="307"/>
                    <a:pt x="19" y="307"/>
                  </a:cubicBezTo>
                  <a:cubicBezTo>
                    <a:pt x="15" y="303"/>
                    <a:pt x="15" y="303"/>
                    <a:pt x="15" y="303"/>
                  </a:cubicBezTo>
                  <a:cubicBezTo>
                    <a:pt x="11" y="303"/>
                    <a:pt x="11" y="303"/>
                    <a:pt x="11" y="303"/>
                  </a:cubicBezTo>
                  <a:cubicBezTo>
                    <a:pt x="10" y="299"/>
                    <a:pt x="10" y="299"/>
                    <a:pt x="10" y="299"/>
                  </a:cubicBezTo>
                  <a:cubicBezTo>
                    <a:pt x="8" y="299"/>
                    <a:pt x="8" y="299"/>
                    <a:pt x="8" y="299"/>
                  </a:cubicBezTo>
                  <a:cubicBezTo>
                    <a:pt x="10" y="298"/>
                    <a:pt x="10" y="298"/>
                    <a:pt x="10" y="298"/>
                  </a:cubicBezTo>
                  <a:cubicBezTo>
                    <a:pt x="10" y="298"/>
                    <a:pt x="10" y="298"/>
                    <a:pt x="10" y="298"/>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179" name="Freeform 19"/>
            <p:cNvSpPr>
              <a:spLocks noEditPoints="1"/>
            </p:cNvSpPr>
            <p:nvPr/>
          </p:nvSpPr>
          <p:spPr bwMode="gray">
            <a:xfrm>
              <a:off x="3289" y="919"/>
              <a:ext cx="293" cy="197"/>
            </a:xfrm>
            <a:custGeom>
              <a:avLst/>
              <a:gdLst>
                <a:gd name="T0" fmla="*/ 287 w 293"/>
                <a:gd name="T1" fmla="*/ 172 h 197"/>
                <a:gd name="T2" fmla="*/ 271 w 293"/>
                <a:gd name="T3" fmla="*/ 102 h 197"/>
                <a:gd name="T4" fmla="*/ 280 w 293"/>
                <a:gd name="T5" fmla="*/ 45 h 197"/>
                <a:gd name="T6" fmla="*/ 293 w 293"/>
                <a:gd name="T7" fmla="*/ 29 h 197"/>
                <a:gd name="T8" fmla="*/ 239 w 293"/>
                <a:gd name="T9" fmla="*/ 22 h 197"/>
                <a:gd name="T10" fmla="*/ 188 w 293"/>
                <a:gd name="T11" fmla="*/ 3 h 197"/>
                <a:gd name="T12" fmla="*/ 169 w 293"/>
                <a:gd name="T13" fmla="*/ 3 h 197"/>
                <a:gd name="T14" fmla="*/ 169 w 293"/>
                <a:gd name="T15" fmla="*/ 16 h 197"/>
                <a:gd name="T16" fmla="*/ 137 w 293"/>
                <a:gd name="T17" fmla="*/ 16 h 197"/>
                <a:gd name="T18" fmla="*/ 121 w 293"/>
                <a:gd name="T19" fmla="*/ 22 h 197"/>
                <a:gd name="T20" fmla="*/ 96 w 293"/>
                <a:gd name="T21" fmla="*/ 32 h 197"/>
                <a:gd name="T22" fmla="*/ 70 w 293"/>
                <a:gd name="T23" fmla="*/ 86 h 197"/>
                <a:gd name="T24" fmla="*/ 96 w 293"/>
                <a:gd name="T25" fmla="*/ 86 h 197"/>
                <a:gd name="T26" fmla="*/ 83 w 293"/>
                <a:gd name="T27" fmla="*/ 112 h 197"/>
                <a:gd name="T28" fmla="*/ 112 w 293"/>
                <a:gd name="T29" fmla="*/ 131 h 197"/>
                <a:gd name="T30" fmla="*/ 128 w 293"/>
                <a:gd name="T31" fmla="*/ 127 h 197"/>
                <a:gd name="T32" fmla="*/ 128 w 293"/>
                <a:gd name="T33" fmla="*/ 156 h 197"/>
                <a:gd name="T34" fmla="*/ 169 w 293"/>
                <a:gd name="T35" fmla="*/ 156 h 197"/>
                <a:gd name="T36" fmla="*/ 188 w 293"/>
                <a:gd name="T37" fmla="*/ 150 h 197"/>
                <a:gd name="T38" fmla="*/ 217 w 293"/>
                <a:gd name="T39" fmla="*/ 169 h 197"/>
                <a:gd name="T40" fmla="*/ 239 w 293"/>
                <a:gd name="T41" fmla="*/ 197 h 197"/>
                <a:gd name="T42" fmla="*/ 280 w 293"/>
                <a:gd name="T43" fmla="*/ 191 h 197"/>
                <a:gd name="T44" fmla="*/ 54 w 293"/>
                <a:gd name="T45" fmla="*/ 61 h 197"/>
                <a:gd name="T46" fmla="*/ 58 w 293"/>
                <a:gd name="T47" fmla="*/ 70 h 197"/>
                <a:gd name="T48" fmla="*/ 54 w 293"/>
                <a:gd name="T49" fmla="*/ 61 h 197"/>
                <a:gd name="T50" fmla="*/ 29 w 293"/>
                <a:gd name="T51" fmla="*/ 83 h 197"/>
                <a:gd name="T52" fmla="*/ 10 w 293"/>
                <a:gd name="T53" fmla="*/ 83 h 197"/>
                <a:gd name="T54" fmla="*/ 29 w 293"/>
                <a:gd name="T55" fmla="*/ 61 h 197"/>
                <a:gd name="T56" fmla="*/ 51 w 293"/>
                <a:gd name="T57" fmla="*/ 70 h 197"/>
                <a:gd name="T58" fmla="*/ 42 w 293"/>
                <a:gd name="T59" fmla="*/ 86 h 197"/>
                <a:gd name="T60" fmla="*/ 38 w 293"/>
                <a:gd name="T61" fmla="*/ 89 h 197"/>
                <a:gd name="T62" fmla="*/ 54 w 293"/>
                <a:gd name="T63" fmla="*/ 89 h 197"/>
                <a:gd name="T64" fmla="*/ 70 w 293"/>
                <a:gd name="T65" fmla="*/ 112 h 197"/>
                <a:gd name="T66" fmla="*/ 54 w 293"/>
                <a:gd name="T67" fmla="*/ 99 h 197"/>
                <a:gd name="T68" fmla="*/ 13 w 293"/>
                <a:gd name="T69" fmla="*/ 159 h 197"/>
                <a:gd name="T70" fmla="*/ 26 w 293"/>
                <a:gd name="T71" fmla="*/ 131 h 197"/>
                <a:gd name="T72" fmla="*/ 54 w 293"/>
                <a:gd name="T73" fmla="*/ 115 h 197"/>
                <a:gd name="T74" fmla="*/ 67 w 293"/>
                <a:gd name="T75" fmla="*/ 112 h 197"/>
                <a:gd name="T76" fmla="*/ 29 w 293"/>
                <a:gd name="T77" fmla="*/ 102 h 197"/>
                <a:gd name="T78" fmla="*/ 23 w 293"/>
                <a:gd name="T79" fmla="*/ 102 h 197"/>
                <a:gd name="T80" fmla="*/ 10 w 293"/>
                <a:gd name="T81" fmla="*/ 102 h 197"/>
                <a:gd name="T82" fmla="*/ 10 w 293"/>
                <a:gd name="T83" fmla="*/ 115 h 197"/>
                <a:gd name="T84" fmla="*/ 0 w 293"/>
                <a:gd name="T85" fmla="*/ 131 h 197"/>
                <a:gd name="T86" fmla="*/ 13 w 293"/>
                <a:gd name="T87" fmla="*/ 150 h 197"/>
                <a:gd name="T88" fmla="*/ 10 w 293"/>
                <a:gd name="T89" fmla="*/ 159 h 19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93" h="197">
                  <a:moveTo>
                    <a:pt x="280" y="191"/>
                  </a:moveTo>
                  <a:lnTo>
                    <a:pt x="287" y="182"/>
                  </a:lnTo>
                  <a:lnTo>
                    <a:pt x="287" y="172"/>
                  </a:lnTo>
                  <a:lnTo>
                    <a:pt x="293" y="159"/>
                  </a:lnTo>
                  <a:lnTo>
                    <a:pt x="293" y="150"/>
                  </a:lnTo>
                  <a:lnTo>
                    <a:pt x="271" y="102"/>
                  </a:lnTo>
                  <a:lnTo>
                    <a:pt x="271" y="61"/>
                  </a:lnTo>
                  <a:lnTo>
                    <a:pt x="280" y="61"/>
                  </a:lnTo>
                  <a:lnTo>
                    <a:pt x="280" y="45"/>
                  </a:lnTo>
                  <a:lnTo>
                    <a:pt x="293" y="32"/>
                  </a:lnTo>
                  <a:lnTo>
                    <a:pt x="293" y="29"/>
                  </a:lnTo>
                  <a:lnTo>
                    <a:pt x="287" y="22"/>
                  </a:lnTo>
                  <a:lnTo>
                    <a:pt x="239" y="22"/>
                  </a:lnTo>
                  <a:lnTo>
                    <a:pt x="223" y="13"/>
                  </a:lnTo>
                  <a:lnTo>
                    <a:pt x="201" y="13"/>
                  </a:lnTo>
                  <a:lnTo>
                    <a:pt x="188" y="3"/>
                  </a:lnTo>
                  <a:lnTo>
                    <a:pt x="182" y="13"/>
                  </a:lnTo>
                  <a:lnTo>
                    <a:pt x="169" y="0"/>
                  </a:lnTo>
                  <a:lnTo>
                    <a:pt x="169" y="3"/>
                  </a:lnTo>
                  <a:lnTo>
                    <a:pt x="166" y="3"/>
                  </a:lnTo>
                  <a:lnTo>
                    <a:pt x="166" y="13"/>
                  </a:lnTo>
                  <a:lnTo>
                    <a:pt x="169" y="16"/>
                  </a:lnTo>
                  <a:lnTo>
                    <a:pt x="159" y="22"/>
                  </a:lnTo>
                  <a:lnTo>
                    <a:pt x="153" y="16"/>
                  </a:lnTo>
                  <a:lnTo>
                    <a:pt x="137" y="16"/>
                  </a:lnTo>
                  <a:lnTo>
                    <a:pt x="128" y="13"/>
                  </a:lnTo>
                  <a:lnTo>
                    <a:pt x="128" y="22"/>
                  </a:lnTo>
                  <a:lnTo>
                    <a:pt x="121" y="22"/>
                  </a:lnTo>
                  <a:lnTo>
                    <a:pt x="109" y="29"/>
                  </a:lnTo>
                  <a:lnTo>
                    <a:pt x="109" y="32"/>
                  </a:lnTo>
                  <a:lnTo>
                    <a:pt x="96" y="32"/>
                  </a:lnTo>
                  <a:lnTo>
                    <a:pt x="80" y="42"/>
                  </a:lnTo>
                  <a:lnTo>
                    <a:pt x="70" y="54"/>
                  </a:lnTo>
                  <a:lnTo>
                    <a:pt x="70" y="86"/>
                  </a:lnTo>
                  <a:lnTo>
                    <a:pt x="83" y="86"/>
                  </a:lnTo>
                  <a:lnTo>
                    <a:pt x="96" y="86"/>
                  </a:lnTo>
                  <a:lnTo>
                    <a:pt x="93" y="89"/>
                  </a:lnTo>
                  <a:lnTo>
                    <a:pt x="83" y="89"/>
                  </a:lnTo>
                  <a:lnTo>
                    <a:pt x="83" y="112"/>
                  </a:lnTo>
                  <a:lnTo>
                    <a:pt x="96" y="118"/>
                  </a:lnTo>
                  <a:lnTo>
                    <a:pt x="109" y="140"/>
                  </a:lnTo>
                  <a:lnTo>
                    <a:pt x="112" y="131"/>
                  </a:lnTo>
                  <a:lnTo>
                    <a:pt x="112" y="127"/>
                  </a:lnTo>
                  <a:lnTo>
                    <a:pt x="124" y="115"/>
                  </a:lnTo>
                  <a:lnTo>
                    <a:pt x="128" y="127"/>
                  </a:lnTo>
                  <a:lnTo>
                    <a:pt x="124" y="156"/>
                  </a:lnTo>
                  <a:lnTo>
                    <a:pt x="124" y="159"/>
                  </a:lnTo>
                  <a:lnTo>
                    <a:pt x="128" y="156"/>
                  </a:lnTo>
                  <a:lnTo>
                    <a:pt x="150" y="150"/>
                  </a:lnTo>
                  <a:lnTo>
                    <a:pt x="159" y="143"/>
                  </a:lnTo>
                  <a:lnTo>
                    <a:pt x="169" y="156"/>
                  </a:lnTo>
                  <a:lnTo>
                    <a:pt x="182" y="156"/>
                  </a:lnTo>
                  <a:lnTo>
                    <a:pt x="182" y="143"/>
                  </a:lnTo>
                  <a:lnTo>
                    <a:pt x="188" y="150"/>
                  </a:lnTo>
                  <a:lnTo>
                    <a:pt x="194" y="156"/>
                  </a:lnTo>
                  <a:lnTo>
                    <a:pt x="201" y="156"/>
                  </a:lnTo>
                  <a:lnTo>
                    <a:pt x="217" y="169"/>
                  </a:lnTo>
                  <a:lnTo>
                    <a:pt x="223" y="182"/>
                  </a:lnTo>
                  <a:lnTo>
                    <a:pt x="236" y="185"/>
                  </a:lnTo>
                  <a:lnTo>
                    <a:pt x="239" y="197"/>
                  </a:lnTo>
                  <a:lnTo>
                    <a:pt x="265" y="191"/>
                  </a:lnTo>
                  <a:lnTo>
                    <a:pt x="280" y="191"/>
                  </a:lnTo>
                  <a:close/>
                  <a:moveTo>
                    <a:pt x="54" y="61"/>
                  </a:moveTo>
                  <a:lnTo>
                    <a:pt x="67" y="61"/>
                  </a:lnTo>
                  <a:lnTo>
                    <a:pt x="67" y="70"/>
                  </a:lnTo>
                  <a:lnTo>
                    <a:pt x="58" y="70"/>
                  </a:lnTo>
                  <a:lnTo>
                    <a:pt x="54" y="61"/>
                  </a:lnTo>
                  <a:close/>
                  <a:moveTo>
                    <a:pt x="38" y="89"/>
                  </a:moveTo>
                  <a:lnTo>
                    <a:pt x="29" y="83"/>
                  </a:lnTo>
                  <a:lnTo>
                    <a:pt x="23" y="83"/>
                  </a:lnTo>
                  <a:lnTo>
                    <a:pt x="13" y="86"/>
                  </a:lnTo>
                  <a:lnTo>
                    <a:pt x="10" y="83"/>
                  </a:lnTo>
                  <a:lnTo>
                    <a:pt x="26" y="73"/>
                  </a:lnTo>
                  <a:lnTo>
                    <a:pt x="29" y="70"/>
                  </a:lnTo>
                  <a:lnTo>
                    <a:pt x="29" y="61"/>
                  </a:lnTo>
                  <a:lnTo>
                    <a:pt x="38" y="61"/>
                  </a:lnTo>
                  <a:lnTo>
                    <a:pt x="42" y="70"/>
                  </a:lnTo>
                  <a:lnTo>
                    <a:pt x="51" y="70"/>
                  </a:lnTo>
                  <a:lnTo>
                    <a:pt x="54" y="83"/>
                  </a:lnTo>
                  <a:lnTo>
                    <a:pt x="51" y="83"/>
                  </a:lnTo>
                  <a:lnTo>
                    <a:pt x="42" y="86"/>
                  </a:lnTo>
                  <a:lnTo>
                    <a:pt x="38" y="89"/>
                  </a:lnTo>
                  <a:close/>
                  <a:moveTo>
                    <a:pt x="54" y="99"/>
                  </a:moveTo>
                  <a:lnTo>
                    <a:pt x="54" y="89"/>
                  </a:lnTo>
                  <a:lnTo>
                    <a:pt x="70" y="89"/>
                  </a:lnTo>
                  <a:lnTo>
                    <a:pt x="80" y="102"/>
                  </a:lnTo>
                  <a:lnTo>
                    <a:pt x="70" y="112"/>
                  </a:lnTo>
                  <a:lnTo>
                    <a:pt x="54" y="99"/>
                  </a:lnTo>
                  <a:close/>
                  <a:moveTo>
                    <a:pt x="10" y="159"/>
                  </a:moveTo>
                  <a:lnTo>
                    <a:pt x="13" y="159"/>
                  </a:lnTo>
                  <a:lnTo>
                    <a:pt x="23" y="156"/>
                  </a:lnTo>
                  <a:lnTo>
                    <a:pt x="23" y="150"/>
                  </a:lnTo>
                  <a:lnTo>
                    <a:pt x="26" y="131"/>
                  </a:lnTo>
                  <a:lnTo>
                    <a:pt x="42" y="131"/>
                  </a:lnTo>
                  <a:lnTo>
                    <a:pt x="51" y="127"/>
                  </a:lnTo>
                  <a:lnTo>
                    <a:pt x="54" y="115"/>
                  </a:lnTo>
                  <a:lnTo>
                    <a:pt x="67" y="115"/>
                  </a:lnTo>
                  <a:lnTo>
                    <a:pt x="67" y="112"/>
                  </a:lnTo>
                  <a:lnTo>
                    <a:pt x="58" y="112"/>
                  </a:lnTo>
                  <a:lnTo>
                    <a:pt x="51" y="102"/>
                  </a:lnTo>
                  <a:lnTo>
                    <a:pt x="29" y="102"/>
                  </a:lnTo>
                  <a:lnTo>
                    <a:pt x="29" y="99"/>
                  </a:lnTo>
                  <a:lnTo>
                    <a:pt x="26" y="102"/>
                  </a:lnTo>
                  <a:lnTo>
                    <a:pt x="23" y="102"/>
                  </a:lnTo>
                  <a:lnTo>
                    <a:pt x="13" y="115"/>
                  </a:lnTo>
                  <a:lnTo>
                    <a:pt x="13" y="112"/>
                  </a:lnTo>
                  <a:lnTo>
                    <a:pt x="10" y="102"/>
                  </a:lnTo>
                  <a:lnTo>
                    <a:pt x="10" y="112"/>
                  </a:lnTo>
                  <a:lnTo>
                    <a:pt x="0" y="112"/>
                  </a:lnTo>
                  <a:lnTo>
                    <a:pt x="10" y="115"/>
                  </a:lnTo>
                  <a:lnTo>
                    <a:pt x="10" y="118"/>
                  </a:lnTo>
                  <a:lnTo>
                    <a:pt x="0" y="118"/>
                  </a:lnTo>
                  <a:lnTo>
                    <a:pt x="0" y="131"/>
                  </a:lnTo>
                  <a:lnTo>
                    <a:pt x="13" y="131"/>
                  </a:lnTo>
                  <a:lnTo>
                    <a:pt x="23" y="140"/>
                  </a:lnTo>
                  <a:lnTo>
                    <a:pt x="13" y="150"/>
                  </a:lnTo>
                  <a:lnTo>
                    <a:pt x="10" y="159"/>
                  </a:lnTo>
                  <a:close/>
                </a:path>
              </a:pathLst>
            </a:custGeom>
            <a:solidFill>
              <a:schemeClr val="bg1"/>
            </a:solidFill>
            <a:ln w="6350">
              <a:solidFill>
                <a:schemeClr val="accent2"/>
              </a:solidFill>
              <a:round/>
              <a:headEnd/>
              <a:tailEnd/>
            </a:ln>
          </p:spPr>
          <p:txBody>
            <a:bodyPr/>
            <a:lstStyle/>
            <a:p>
              <a:endParaRPr lang="de-DE"/>
            </a:p>
          </p:txBody>
        </p:sp>
        <p:sp>
          <p:nvSpPr>
            <p:cNvPr id="180" name="Freeform 20"/>
            <p:cNvSpPr>
              <a:spLocks noEditPoints="1"/>
            </p:cNvSpPr>
            <p:nvPr/>
          </p:nvSpPr>
          <p:spPr bwMode="gray">
            <a:xfrm>
              <a:off x="3289" y="919"/>
              <a:ext cx="293" cy="197"/>
            </a:xfrm>
            <a:custGeom>
              <a:avLst/>
              <a:gdLst>
                <a:gd name="T0" fmla="*/ 287 w 293"/>
                <a:gd name="T1" fmla="*/ 172 h 197"/>
                <a:gd name="T2" fmla="*/ 271 w 293"/>
                <a:gd name="T3" fmla="*/ 102 h 197"/>
                <a:gd name="T4" fmla="*/ 280 w 293"/>
                <a:gd name="T5" fmla="*/ 45 h 197"/>
                <a:gd name="T6" fmla="*/ 293 w 293"/>
                <a:gd name="T7" fmla="*/ 29 h 197"/>
                <a:gd name="T8" fmla="*/ 239 w 293"/>
                <a:gd name="T9" fmla="*/ 22 h 197"/>
                <a:gd name="T10" fmla="*/ 188 w 293"/>
                <a:gd name="T11" fmla="*/ 3 h 197"/>
                <a:gd name="T12" fmla="*/ 169 w 293"/>
                <a:gd name="T13" fmla="*/ 3 h 197"/>
                <a:gd name="T14" fmla="*/ 169 w 293"/>
                <a:gd name="T15" fmla="*/ 16 h 197"/>
                <a:gd name="T16" fmla="*/ 137 w 293"/>
                <a:gd name="T17" fmla="*/ 16 h 197"/>
                <a:gd name="T18" fmla="*/ 121 w 293"/>
                <a:gd name="T19" fmla="*/ 22 h 197"/>
                <a:gd name="T20" fmla="*/ 96 w 293"/>
                <a:gd name="T21" fmla="*/ 32 h 197"/>
                <a:gd name="T22" fmla="*/ 70 w 293"/>
                <a:gd name="T23" fmla="*/ 86 h 197"/>
                <a:gd name="T24" fmla="*/ 96 w 293"/>
                <a:gd name="T25" fmla="*/ 86 h 197"/>
                <a:gd name="T26" fmla="*/ 83 w 293"/>
                <a:gd name="T27" fmla="*/ 112 h 197"/>
                <a:gd name="T28" fmla="*/ 112 w 293"/>
                <a:gd name="T29" fmla="*/ 131 h 197"/>
                <a:gd name="T30" fmla="*/ 128 w 293"/>
                <a:gd name="T31" fmla="*/ 127 h 197"/>
                <a:gd name="T32" fmla="*/ 128 w 293"/>
                <a:gd name="T33" fmla="*/ 156 h 197"/>
                <a:gd name="T34" fmla="*/ 169 w 293"/>
                <a:gd name="T35" fmla="*/ 156 h 197"/>
                <a:gd name="T36" fmla="*/ 188 w 293"/>
                <a:gd name="T37" fmla="*/ 150 h 197"/>
                <a:gd name="T38" fmla="*/ 217 w 293"/>
                <a:gd name="T39" fmla="*/ 169 h 197"/>
                <a:gd name="T40" fmla="*/ 239 w 293"/>
                <a:gd name="T41" fmla="*/ 197 h 197"/>
                <a:gd name="T42" fmla="*/ 280 w 293"/>
                <a:gd name="T43" fmla="*/ 191 h 197"/>
                <a:gd name="T44" fmla="*/ 54 w 293"/>
                <a:gd name="T45" fmla="*/ 61 h 197"/>
                <a:gd name="T46" fmla="*/ 58 w 293"/>
                <a:gd name="T47" fmla="*/ 70 h 197"/>
                <a:gd name="T48" fmla="*/ 54 w 293"/>
                <a:gd name="T49" fmla="*/ 61 h 197"/>
                <a:gd name="T50" fmla="*/ 29 w 293"/>
                <a:gd name="T51" fmla="*/ 83 h 197"/>
                <a:gd name="T52" fmla="*/ 10 w 293"/>
                <a:gd name="T53" fmla="*/ 83 h 197"/>
                <a:gd name="T54" fmla="*/ 29 w 293"/>
                <a:gd name="T55" fmla="*/ 61 h 197"/>
                <a:gd name="T56" fmla="*/ 51 w 293"/>
                <a:gd name="T57" fmla="*/ 70 h 197"/>
                <a:gd name="T58" fmla="*/ 42 w 293"/>
                <a:gd name="T59" fmla="*/ 86 h 197"/>
                <a:gd name="T60" fmla="*/ 38 w 293"/>
                <a:gd name="T61" fmla="*/ 89 h 197"/>
                <a:gd name="T62" fmla="*/ 54 w 293"/>
                <a:gd name="T63" fmla="*/ 89 h 197"/>
                <a:gd name="T64" fmla="*/ 70 w 293"/>
                <a:gd name="T65" fmla="*/ 112 h 197"/>
                <a:gd name="T66" fmla="*/ 54 w 293"/>
                <a:gd name="T67" fmla="*/ 99 h 197"/>
                <a:gd name="T68" fmla="*/ 13 w 293"/>
                <a:gd name="T69" fmla="*/ 159 h 197"/>
                <a:gd name="T70" fmla="*/ 26 w 293"/>
                <a:gd name="T71" fmla="*/ 131 h 197"/>
                <a:gd name="T72" fmla="*/ 54 w 293"/>
                <a:gd name="T73" fmla="*/ 115 h 197"/>
                <a:gd name="T74" fmla="*/ 67 w 293"/>
                <a:gd name="T75" fmla="*/ 112 h 197"/>
                <a:gd name="T76" fmla="*/ 29 w 293"/>
                <a:gd name="T77" fmla="*/ 102 h 197"/>
                <a:gd name="T78" fmla="*/ 23 w 293"/>
                <a:gd name="T79" fmla="*/ 102 h 197"/>
                <a:gd name="T80" fmla="*/ 10 w 293"/>
                <a:gd name="T81" fmla="*/ 102 h 197"/>
                <a:gd name="T82" fmla="*/ 10 w 293"/>
                <a:gd name="T83" fmla="*/ 115 h 197"/>
                <a:gd name="T84" fmla="*/ 0 w 293"/>
                <a:gd name="T85" fmla="*/ 131 h 197"/>
                <a:gd name="T86" fmla="*/ 13 w 293"/>
                <a:gd name="T87" fmla="*/ 150 h 197"/>
                <a:gd name="T88" fmla="*/ 10 w 293"/>
                <a:gd name="T89" fmla="*/ 159 h 19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93" h="197">
                  <a:moveTo>
                    <a:pt x="280" y="191"/>
                  </a:moveTo>
                  <a:lnTo>
                    <a:pt x="287" y="182"/>
                  </a:lnTo>
                  <a:lnTo>
                    <a:pt x="287" y="172"/>
                  </a:lnTo>
                  <a:lnTo>
                    <a:pt x="293" y="159"/>
                  </a:lnTo>
                  <a:lnTo>
                    <a:pt x="293" y="150"/>
                  </a:lnTo>
                  <a:lnTo>
                    <a:pt x="271" y="102"/>
                  </a:lnTo>
                  <a:lnTo>
                    <a:pt x="271" y="61"/>
                  </a:lnTo>
                  <a:lnTo>
                    <a:pt x="280" y="61"/>
                  </a:lnTo>
                  <a:lnTo>
                    <a:pt x="280" y="45"/>
                  </a:lnTo>
                  <a:lnTo>
                    <a:pt x="293" y="32"/>
                  </a:lnTo>
                  <a:lnTo>
                    <a:pt x="293" y="29"/>
                  </a:lnTo>
                  <a:lnTo>
                    <a:pt x="287" y="22"/>
                  </a:lnTo>
                  <a:lnTo>
                    <a:pt x="239" y="22"/>
                  </a:lnTo>
                  <a:lnTo>
                    <a:pt x="223" y="13"/>
                  </a:lnTo>
                  <a:lnTo>
                    <a:pt x="201" y="13"/>
                  </a:lnTo>
                  <a:lnTo>
                    <a:pt x="188" y="3"/>
                  </a:lnTo>
                  <a:lnTo>
                    <a:pt x="182" y="13"/>
                  </a:lnTo>
                  <a:lnTo>
                    <a:pt x="169" y="0"/>
                  </a:lnTo>
                  <a:lnTo>
                    <a:pt x="169" y="3"/>
                  </a:lnTo>
                  <a:lnTo>
                    <a:pt x="166" y="3"/>
                  </a:lnTo>
                  <a:lnTo>
                    <a:pt x="166" y="13"/>
                  </a:lnTo>
                  <a:lnTo>
                    <a:pt x="169" y="16"/>
                  </a:lnTo>
                  <a:lnTo>
                    <a:pt x="159" y="22"/>
                  </a:lnTo>
                  <a:lnTo>
                    <a:pt x="153" y="16"/>
                  </a:lnTo>
                  <a:lnTo>
                    <a:pt x="137" y="16"/>
                  </a:lnTo>
                  <a:lnTo>
                    <a:pt x="128" y="13"/>
                  </a:lnTo>
                  <a:lnTo>
                    <a:pt x="128" y="22"/>
                  </a:lnTo>
                  <a:lnTo>
                    <a:pt x="121" y="22"/>
                  </a:lnTo>
                  <a:lnTo>
                    <a:pt x="109" y="29"/>
                  </a:lnTo>
                  <a:lnTo>
                    <a:pt x="109" y="32"/>
                  </a:lnTo>
                  <a:lnTo>
                    <a:pt x="96" y="32"/>
                  </a:lnTo>
                  <a:lnTo>
                    <a:pt x="80" y="42"/>
                  </a:lnTo>
                  <a:lnTo>
                    <a:pt x="70" y="54"/>
                  </a:lnTo>
                  <a:lnTo>
                    <a:pt x="70" y="86"/>
                  </a:lnTo>
                  <a:lnTo>
                    <a:pt x="83" y="86"/>
                  </a:lnTo>
                  <a:lnTo>
                    <a:pt x="96" y="86"/>
                  </a:lnTo>
                  <a:lnTo>
                    <a:pt x="93" y="89"/>
                  </a:lnTo>
                  <a:lnTo>
                    <a:pt x="83" y="89"/>
                  </a:lnTo>
                  <a:lnTo>
                    <a:pt x="83" y="112"/>
                  </a:lnTo>
                  <a:lnTo>
                    <a:pt x="96" y="118"/>
                  </a:lnTo>
                  <a:lnTo>
                    <a:pt x="109" y="140"/>
                  </a:lnTo>
                  <a:lnTo>
                    <a:pt x="112" y="131"/>
                  </a:lnTo>
                  <a:lnTo>
                    <a:pt x="112" y="127"/>
                  </a:lnTo>
                  <a:lnTo>
                    <a:pt x="124" y="115"/>
                  </a:lnTo>
                  <a:lnTo>
                    <a:pt x="128" y="127"/>
                  </a:lnTo>
                  <a:lnTo>
                    <a:pt x="124" y="156"/>
                  </a:lnTo>
                  <a:lnTo>
                    <a:pt x="124" y="159"/>
                  </a:lnTo>
                  <a:lnTo>
                    <a:pt x="128" y="156"/>
                  </a:lnTo>
                  <a:lnTo>
                    <a:pt x="150" y="150"/>
                  </a:lnTo>
                  <a:lnTo>
                    <a:pt x="159" y="143"/>
                  </a:lnTo>
                  <a:lnTo>
                    <a:pt x="169" y="156"/>
                  </a:lnTo>
                  <a:lnTo>
                    <a:pt x="182" y="156"/>
                  </a:lnTo>
                  <a:lnTo>
                    <a:pt x="182" y="143"/>
                  </a:lnTo>
                  <a:lnTo>
                    <a:pt x="188" y="150"/>
                  </a:lnTo>
                  <a:lnTo>
                    <a:pt x="194" y="156"/>
                  </a:lnTo>
                  <a:lnTo>
                    <a:pt x="201" y="156"/>
                  </a:lnTo>
                  <a:lnTo>
                    <a:pt x="217" y="169"/>
                  </a:lnTo>
                  <a:lnTo>
                    <a:pt x="223" y="182"/>
                  </a:lnTo>
                  <a:lnTo>
                    <a:pt x="236" y="185"/>
                  </a:lnTo>
                  <a:lnTo>
                    <a:pt x="239" y="197"/>
                  </a:lnTo>
                  <a:lnTo>
                    <a:pt x="265" y="191"/>
                  </a:lnTo>
                  <a:lnTo>
                    <a:pt x="280" y="191"/>
                  </a:lnTo>
                  <a:close/>
                  <a:moveTo>
                    <a:pt x="54" y="61"/>
                  </a:moveTo>
                  <a:lnTo>
                    <a:pt x="67" y="61"/>
                  </a:lnTo>
                  <a:lnTo>
                    <a:pt x="67" y="70"/>
                  </a:lnTo>
                  <a:lnTo>
                    <a:pt x="58" y="70"/>
                  </a:lnTo>
                  <a:lnTo>
                    <a:pt x="54" y="61"/>
                  </a:lnTo>
                  <a:close/>
                  <a:moveTo>
                    <a:pt x="38" y="89"/>
                  </a:moveTo>
                  <a:lnTo>
                    <a:pt x="29" y="83"/>
                  </a:lnTo>
                  <a:lnTo>
                    <a:pt x="23" y="83"/>
                  </a:lnTo>
                  <a:lnTo>
                    <a:pt x="13" y="86"/>
                  </a:lnTo>
                  <a:lnTo>
                    <a:pt x="10" y="83"/>
                  </a:lnTo>
                  <a:lnTo>
                    <a:pt x="26" y="73"/>
                  </a:lnTo>
                  <a:lnTo>
                    <a:pt x="29" y="70"/>
                  </a:lnTo>
                  <a:lnTo>
                    <a:pt x="29" y="61"/>
                  </a:lnTo>
                  <a:lnTo>
                    <a:pt x="38" y="61"/>
                  </a:lnTo>
                  <a:lnTo>
                    <a:pt x="42" y="70"/>
                  </a:lnTo>
                  <a:lnTo>
                    <a:pt x="51" y="70"/>
                  </a:lnTo>
                  <a:lnTo>
                    <a:pt x="54" y="83"/>
                  </a:lnTo>
                  <a:lnTo>
                    <a:pt x="51" y="83"/>
                  </a:lnTo>
                  <a:lnTo>
                    <a:pt x="42" y="86"/>
                  </a:lnTo>
                  <a:lnTo>
                    <a:pt x="38" y="89"/>
                  </a:lnTo>
                  <a:close/>
                  <a:moveTo>
                    <a:pt x="54" y="99"/>
                  </a:moveTo>
                  <a:lnTo>
                    <a:pt x="54" y="89"/>
                  </a:lnTo>
                  <a:lnTo>
                    <a:pt x="70" y="89"/>
                  </a:lnTo>
                  <a:lnTo>
                    <a:pt x="80" y="102"/>
                  </a:lnTo>
                  <a:lnTo>
                    <a:pt x="70" y="112"/>
                  </a:lnTo>
                  <a:lnTo>
                    <a:pt x="54" y="99"/>
                  </a:lnTo>
                  <a:close/>
                  <a:moveTo>
                    <a:pt x="10" y="159"/>
                  </a:moveTo>
                  <a:lnTo>
                    <a:pt x="13" y="159"/>
                  </a:lnTo>
                  <a:lnTo>
                    <a:pt x="23" y="156"/>
                  </a:lnTo>
                  <a:lnTo>
                    <a:pt x="23" y="150"/>
                  </a:lnTo>
                  <a:lnTo>
                    <a:pt x="26" y="131"/>
                  </a:lnTo>
                  <a:lnTo>
                    <a:pt x="42" y="131"/>
                  </a:lnTo>
                  <a:lnTo>
                    <a:pt x="51" y="127"/>
                  </a:lnTo>
                  <a:lnTo>
                    <a:pt x="54" y="115"/>
                  </a:lnTo>
                  <a:lnTo>
                    <a:pt x="67" y="115"/>
                  </a:lnTo>
                  <a:lnTo>
                    <a:pt x="67" y="112"/>
                  </a:lnTo>
                  <a:lnTo>
                    <a:pt x="58" y="112"/>
                  </a:lnTo>
                  <a:lnTo>
                    <a:pt x="51" y="102"/>
                  </a:lnTo>
                  <a:lnTo>
                    <a:pt x="29" y="102"/>
                  </a:lnTo>
                  <a:lnTo>
                    <a:pt x="29" y="99"/>
                  </a:lnTo>
                  <a:lnTo>
                    <a:pt x="26" y="102"/>
                  </a:lnTo>
                  <a:lnTo>
                    <a:pt x="23" y="102"/>
                  </a:lnTo>
                  <a:lnTo>
                    <a:pt x="13" y="115"/>
                  </a:lnTo>
                  <a:lnTo>
                    <a:pt x="13" y="112"/>
                  </a:lnTo>
                  <a:lnTo>
                    <a:pt x="10" y="102"/>
                  </a:lnTo>
                  <a:lnTo>
                    <a:pt x="10" y="112"/>
                  </a:lnTo>
                  <a:lnTo>
                    <a:pt x="0" y="112"/>
                  </a:lnTo>
                  <a:lnTo>
                    <a:pt x="10" y="115"/>
                  </a:lnTo>
                  <a:lnTo>
                    <a:pt x="10" y="118"/>
                  </a:lnTo>
                  <a:lnTo>
                    <a:pt x="0" y="118"/>
                  </a:lnTo>
                  <a:lnTo>
                    <a:pt x="0" y="131"/>
                  </a:lnTo>
                  <a:lnTo>
                    <a:pt x="13" y="131"/>
                  </a:lnTo>
                  <a:lnTo>
                    <a:pt x="23" y="140"/>
                  </a:lnTo>
                  <a:lnTo>
                    <a:pt x="13" y="150"/>
                  </a:lnTo>
                  <a:lnTo>
                    <a:pt x="10" y="159"/>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181" name="Freeform 21"/>
            <p:cNvSpPr>
              <a:spLocks/>
            </p:cNvSpPr>
            <p:nvPr/>
          </p:nvSpPr>
          <p:spPr bwMode="gray">
            <a:xfrm>
              <a:off x="3261" y="1062"/>
              <a:ext cx="350" cy="191"/>
            </a:xfrm>
            <a:custGeom>
              <a:avLst/>
              <a:gdLst>
                <a:gd name="T0" fmla="*/ 350 w 350"/>
                <a:gd name="T1" fmla="*/ 128 h 191"/>
                <a:gd name="T2" fmla="*/ 334 w 350"/>
                <a:gd name="T3" fmla="*/ 105 h 191"/>
                <a:gd name="T4" fmla="*/ 321 w 350"/>
                <a:gd name="T5" fmla="*/ 86 h 191"/>
                <a:gd name="T6" fmla="*/ 321 w 350"/>
                <a:gd name="T7" fmla="*/ 70 h 191"/>
                <a:gd name="T8" fmla="*/ 321 w 350"/>
                <a:gd name="T9" fmla="*/ 58 h 191"/>
                <a:gd name="T10" fmla="*/ 293 w 350"/>
                <a:gd name="T11" fmla="*/ 48 h 191"/>
                <a:gd name="T12" fmla="*/ 264 w 350"/>
                <a:gd name="T13" fmla="*/ 42 h 191"/>
                <a:gd name="T14" fmla="*/ 242 w 350"/>
                <a:gd name="T15" fmla="*/ 26 h 191"/>
                <a:gd name="T16" fmla="*/ 222 w 350"/>
                <a:gd name="T17" fmla="*/ 13 h 191"/>
                <a:gd name="T18" fmla="*/ 210 w 350"/>
                <a:gd name="T19" fmla="*/ 0 h 191"/>
                <a:gd name="T20" fmla="*/ 197 w 350"/>
                <a:gd name="T21" fmla="*/ 13 h 191"/>
                <a:gd name="T22" fmla="*/ 178 w 350"/>
                <a:gd name="T23" fmla="*/ 7 h 191"/>
                <a:gd name="T24" fmla="*/ 152 w 350"/>
                <a:gd name="T25" fmla="*/ 16 h 191"/>
                <a:gd name="T26" fmla="*/ 156 w 350"/>
                <a:gd name="T27" fmla="*/ 54 h 191"/>
                <a:gd name="T28" fmla="*/ 137 w 350"/>
                <a:gd name="T29" fmla="*/ 96 h 191"/>
                <a:gd name="T30" fmla="*/ 108 w 350"/>
                <a:gd name="T31" fmla="*/ 83 h 191"/>
                <a:gd name="T32" fmla="*/ 79 w 350"/>
                <a:gd name="T33" fmla="*/ 42 h 191"/>
                <a:gd name="T34" fmla="*/ 79 w 350"/>
                <a:gd name="T35" fmla="*/ 26 h 191"/>
                <a:gd name="T36" fmla="*/ 51 w 350"/>
                <a:gd name="T37" fmla="*/ 42 h 191"/>
                <a:gd name="T38" fmla="*/ 28 w 350"/>
                <a:gd name="T39" fmla="*/ 48 h 191"/>
                <a:gd name="T40" fmla="*/ 25 w 350"/>
                <a:gd name="T41" fmla="*/ 70 h 191"/>
                <a:gd name="T42" fmla="*/ 19 w 350"/>
                <a:gd name="T43" fmla="*/ 86 h 191"/>
                <a:gd name="T44" fmla="*/ 9 w 350"/>
                <a:gd name="T45" fmla="*/ 115 h 191"/>
                <a:gd name="T46" fmla="*/ 0 w 350"/>
                <a:gd name="T47" fmla="*/ 134 h 191"/>
                <a:gd name="T48" fmla="*/ 12 w 350"/>
                <a:gd name="T49" fmla="*/ 163 h 191"/>
                <a:gd name="T50" fmla="*/ 19 w 350"/>
                <a:gd name="T51" fmla="*/ 163 h 191"/>
                <a:gd name="T52" fmla="*/ 41 w 350"/>
                <a:gd name="T53" fmla="*/ 140 h 191"/>
                <a:gd name="T54" fmla="*/ 82 w 350"/>
                <a:gd name="T55" fmla="*/ 134 h 191"/>
                <a:gd name="T56" fmla="*/ 108 w 350"/>
                <a:gd name="T57" fmla="*/ 140 h 191"/>
                <a:gd name="T58" fmla="*/ 127 w 350"/>
                <a:gd name="T59" fmla="*/ 128 h 191"/>
                <a:gd name="T60" fmla="*/ 140 w 350"/>
                <a:gd name="T61" fmla="*/ 134 h 191"/>
                <a:gd name="T62" fmla="*/ 165 w 350"/>
                <a:gd name="T63" fmla="*/ 147 h 191"/>
                <a:gd name="T64" fmla="*/ 184 w 350"/>
                <a:gd name="T65" fmla="*/ 140 h 191"/>
                <a:gd name="T66" fmla="*/ 222 w 350"/>
                <a:gd name="T67" fmla="*/ 153 h 191"/>
                <a:gd name="T68" fmla="*/ 251 w 350"/>
                <a:gd name="T69" fmla="*/ 169 h 191"/>
                <a:gd name="T70" fmla="*/ 280 w 350"/>
                <a:gd name="T71" fmla="*/ 185 h 191"/>
                <a:gd name="T72" fmla="*/ 283 w 350"/>
                <a:gd name="T73" fmla="*/ 191 h 191"/>
                <a:gd name="T74" fmla="*/ 324 w 350"/>
                <a:gd name="T75" fmla="*/ 182 h 191"/>
                <a:gd name="T76" fmla="*/ 337 w 350"/>
                <a:gd name="T77" fmla="*/ 156 h 191"/>
                <a:gd name="T78" fmla="*/ 350 w 350"/>
                <a:gd name="T79" fmla="*/ 147 h 191"/>
                <a:gd name="T80" fmla="*/ 350 w 350"/>
                <a:gd name="T81" fmla="*/ 1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50" h="191">
                  <a:moveTo>
                    <a:pt x="350" y="147"/>
                  </a:moveTo>
                  <a:lnTo>
                    <a:pt x="350" y="128"/>
                  </a:lnTo>
                  <a:lnTo>
                    <a:pt x="337" y="124"/>
                  </a:lnTo>
                  <a:lnTo>
                    <a:pt x="334" y="105"/>
                  </a:lnTo>
                  <a:lnTo>
                    <a:pt x="334" y="99"/>
                  </a:lnTo>
                  <a:lnTo>
                    <a:pt x="321" y="86"/>
                  </a:lnTo>
                  <a:lnTo>
                    <a:pt x="324" y="83"/>
                  </a:lnTo>
                  <a:lnTo>
                    <a:pt x="321" y="70"/>
                  </a:lnTo>
                  <a:lnTo>
                    <a:pt x="312" y="67"/>
                  </a:lnTo>
                  <a:lnTo>
                    <a:pt x="321" y="58"/>
                  </a:lnTo>
                  <a:lnTo>
                    <a:pt x="312" y="54"/>
                  </a:lnTo>
                  <a:lnTo>
                    <a:pt x="293" y="48"/>
                  </a:lnTo>
                  <a:lnTo>
                    <a:pt x="267" y="54"/>
                  </a:lnTo>
                  <a:lnTo>
                    <a:pt x="264" y="42"/>
                  </a:lnTo>
                  <a:lnTo>
                    <a:pt x="251" y="39"/>
                  </a:lnTo>
                  <a:lnTo>
                    <a:pt x="242" y="26"/>
                  </a:lnTo>
                  <a:lnTo>
                    <a:pt x="226" y="13"/>
                  </a:lnTo>
                  <a:lnTo>
                    <a:pt x="222" y="13"/>
                  </a:lnTo>
                  <a:lnTo>
                    <a:pt x="213" y="7"/>
                  </a:lnTo>
                  <a:lnTo>
                    <a:pt x="210" y="0"/>
                  </a:lnTo>
                  <a:lnTo>
                    <a:pt x="210" y="13"/>
                  </a:lnTo>
                  <a:lnTo>
                    <a:pt x="197" y="13"/>
                  </a:lnTo>
                  <a:lnTo>
                    <a:pt x="184" y="0"/>
                  </a:lnTo>
                  <a:lnTo>
                    <a:pt x="178" y="7"/>
                  </a:lnTo>
                  <a:lnTo>
                    <a:pt x="156" y="13"/>
                  </a:lnTo>
                  <a:lnTo>
                    <a:pt x="152" y="16"/>
                  </a:lnTo>
                  <a:lnTo>
                    <a:pt x="152" y="29"/>
                  </a:lnTo>
                  <a:lnTo>
                    <a:pt x="156" y="54"/>
                  </a:lnTo>
                  <a:lnTo>
                    <a:pt x="152" y="70"/>
                  </a:lnTo>
                  <a:lnTo>
                    <a:pt x="137" y="96"/>
                  </a:lnTo>
                  <a:lnTo>
                    <a:pt x="121" y="96"/>
                  </a:lnTo>
                  <a:lnTo>
                    <a:pt x="108" y="83"/>
                  </a:lnTo>
                  <a:lnTo>
                    <a:pt x="108" y="70"/>
                  </a:lnTo>
                  <a:lnTo>
                    <a:pt x="79" y="42"/>
                  </a:lnTo>
                  <a:lnTo>
                    <a:pt x="79" y="26"/>
                  </a:lnTo>
                  <a:lnTo>
                    <a:pt x="66" y="39"/>
                  </a:lnTo>
                  <a:lnTo>
                    <a:pt x="51" y="42"/>
                  </a:lnTo>
                  <a:lnTo>
                    <a:pt x="41" y="48"/>
                  </a:lnTo>
                  <a:lnTo>
                    <a:pt x="28" y="48"/>
                  </a:lnTo>
                  <a:lnTo>
                    <a:pt x="25" y="58"/>
                  </a:lnTo>
                  <a:lnTo>
                    <a:pt x="25" y="70"/>
                  </a:lnTo>
                  <a:lnTo>
                    <a:pt x="19" y="70"/>
                  </a:lnTo>
                  <a:lnTo>
                    <a:pt x="19" y="86"/>
                  </a:lnTo>
                  <a:lnTo>
                    <a:pt x="9" y="105"/>
                  </a:lnTo>
                  <a:lnTo>
                    <a:pt x="9" y="115"/>
                  </a:lnTo>
                  <a:lnTo>
                    <a:pt x="9" y="124"/>
                  </a:lnTo>
                  <a:lnTo>
                    <a:pt x="0" y="134"/>
                  </a:lnTo>
                  <a:lnTo>
                    <a:pt x="9" y="156"/>
                  </a:lnTo>
                  <a:lnTo>
                    <a:pt x="12" y="163"/>
                  </a:lnTo>
                  <a:lnTo>
                    <a:pt x="12" y="169"/>
                  </a:lnTo>
                  <a:lnTo>
                    <a:pt x="19" y="163"/>
                  </a:lnTo>
                  <a:lnTo>
                    <a:pt x="25" y="153"/>
                  </a:lnTo>
                  <a:lnTo>
                    <a:pt x="41" y="140"/>
                  </a:lnTo>
                  <a:lnTo>
                    <a:pt x="66" y="134"/>
                  </a:lnTo>
                  <a:lnTo>
                    <a:pt x="82" y="134"/>
                  </a:lnTo>
                  <a:lnTo>
                    <a:pt x="98" y="134"/>
                  </a:lnTo>
                  <a:lnTo>
                    <a:pt x="108" y="140"/>
                  </a:lnTo>
                  <a:lnTo>
                    <a:pt x="121" y="128"/>
                  </a:lnTo>
                  <a:lnTo>
                    <a:pt x="127" y="128"/>
                  </a:lnTo>
                  <a:lnTo>
                    <a:pt x="127" y="134"/>
                  </a:lnTo>
                  <a:lnTo>
                    <a:pt x="140" y="134"/>
                  </a:lnTo>
                  <a:lnTo>
                    <a:pt x="149" y="147"/>
                  </a:lnTo>
                  <a:lnTo>
                    <a:pt x="165" y="147"/>
                  </a:lnTo>
                  <a:lnTo>
                    <a:pt x="168" y="153"/>
                  </a:lnTo>
                  <a:lnTo>
                    <a:pt x="184" y="140"/>
                  </a:lnTo>
                  <a:lnTo>
                    <a:pt x="207" y="147"/>
                  </a:lnTo>
                  <a:lnTo>
                    <a:pt x="222" y="153"/>
                  </a:lnTo>
                  <a:lnTo>
                    <a:pt x="238" y="163"/>
                  </a:lnTo>
                  <a:lnTo>
                    <a:pt x="251" y="169"/>
                  </a:lnTo>
                  <a:lnTo>
                    <a:pt x="264" y="185"/>
                  </a:lnTo>
                  <a:lnTo>
                    <a:pt x="280" y="185"/>
                  </a:lnTo>
                  <a:lnTo>
                    <a:pt x="283" y="191"/>
                  </a:lnTo>
                  <a:lnTo>
                    <a:pt x="305" y="182"/>
                  </a:lnTo>
                  <a:lnTo>
                    <a:pt x="324" y="182"/>
                  </a:lnTo>
                  <a:lnTo>
                    <a:pt x="324" y="163"/>
                  </a:lnTo>
                  <a:lnTo>
                    <a:pt x="337" y="156"/>
                  </a:lnTo>
                  <a:lnTo>
                    <a:pt x="337" y="153"/>
                  </a:lnTo>
                  <a:lnTo>
                    <a:pt x="350" y="147"/>
                  </a:lnTo>
                  <a:close/>
                </a:path>
              </a:pathLst>
            </a:custGeom>
            <a:solidFill>
              <a:schemeClr val="bg1"/>
            </a:solidFill>
            <a:ln w="6350">
              <a:solidFill>
                <a:schemeClr val="accent2"/>
              </a:solidFill>
              <a:round/>
              <a:headEnd/>
              <a:tailEnd/>
            </a:ln>
          </p:spPr>
          <p:txBody>
            <a:bodyPr/>
            <a:lstStyle/>
            <a:p>
              <a:endParaRPr lang="de-DE"/>
            </a:p>
          </p:txBody>
        </p:sp>
        <p:sp>
          <p:nvSpPr>
            <p:cNvPr id="182" name="Freeform 22"/>
            <p:cNvSpPr>
              <a:spLocks/>
            </p:cNvSpPr>
            <p:nvPr/>
          </p:nvSpPr>
          <p:spPr bwMode="gray">
            <a:xfrm>
              <a:off x="3261" y="1062"/>
              <a:ext cx="350" cy="191"/>
            </a:xfrm>
            <a:custGeom>
              <a:avLst/>
              <a:gdLst>
                <a:gd name="T0" fmla="*/ 350 w 350"/>
                <a:gd name="T1" fmla="*/ 128 h 191"/>
                <a:gd name="T2" fmla="*/ 334 w 350"/>
                <a:gd name="T3" fmla="*/ 105 h 191"/>
                <a:gd name="T4" fmla="*/ 321 w 350"/>
                <a:gd name="T5" fmla="*/ 86 h 191"/>
                <a:gd name="T6" fmla="*/ 321 w 350"/>
                <a:gd name="T7" fmla="*/ 70 h 191"/>
                <a:gd name="T8" fmla="*/ 321 w 350"/>
                <a:gd name="T9" fmla="*/ 58 h 191"/>
                <a:gd name="T10" fmla="*/ 293 w 350"/>
                <a:gd name="T11" fmla="*/ 48 h 191"/>
                <a:gd name="T12" fmla="*/ 264 w 350"/>
                <a:gd name="T13" fmla="*/ 42 h 191"/>
                <a:gd name="T14" fmla="*/ 242 w 350"/>
                <a:gd name="T15" fmla="*/ 26 h 191"/>
                <a:gd name="T16" fmla="*/ 222 w 350"/>
                <a:gd name="T17" fmla="*/ 13 h 191"/>
                <a:gd name="T18" fmla="*/ 210 w 350"/>
                <a:gd name="T19" fmla="*/ 0 h 191"/>
                <a:gd name="T20" fmla="*/ 197 w 350"/>
                <a:gd name="T21" fmla="*/ 13 h 191"/>
                <a:gd name="T22" fmla="*/ 178 w 350"/>
                <a:gd name="T23" fmla="*/ 7 h 191"/>
                <a:gd name="T24" fmla="*/ 152 w 350"/>
                <a:gd name="T25" fmla="*/ 16 h 191"/>
                <a:gd name="T26" fmla="*/ 156 w 350"/>
                <a:gd name="T27" fmla="*/ 54 h 191"/>
                <a:gd name="T28" fmla="*/ 137 w 350"/>
                <a:gd name="T29" fmla="*/ 96 h 191"/>
                <a:gd name="T30" fmla="*/ 108 w 350"/>
                <a:gd name="T31" fmla="*/ 83 h 191"/>
                <a:gd name="T32" fmla="*/ 79 w 350"/>
                <a:gd name="T33" fmla="*/ 42 h 191"/>
                <a:gd name="T34" fmla="*/ 79 w 350"/>
                <a:gd name="T35" fmla="*/ 26 h 191"/>
                <a:gd name="T36" fmla="*/ 51 w 350"/>
                <a:gd name="T37" fmla="*/ 42 h 191"/>
                <a:gd name="T38" fmla="*/ 28 w 350"/>
                <a:gd name="T39" fmla="*/ 48 h 191"/>
                <a:gd name="T40" fmla="*/ 25 w 350"/>
                <a:gd name="T41" fmla="*/ 70 h 191"/>
                <a:gd name="T42" fmla="*/ 19 w 350"/>
                <a:gd name="T43" fmla="*/ 86 h 191"/>
                <a:gd name="T44" fmla="*/ 9 w 350"/>
                <a:gd name="T45" fmla="*/ 115 h 191"/>
                <a:gd name="T46" fmla="*/ 0 w 350"/>
                <a:gd name="T47" fmla="*/ 134 h 191"/>
                <a:gd name="T48" fmla="*/ 12 w 350"/>
                <a:gd name="T49" fmla="*/ 163 h 191"/>
                <a:gd name="T50" fmla="*/ 19 w 350"/>
                <a:gd name="T51" fmla="*/ 163 h 191"/>
                <a:gd name="T52" fmla="*/ 41 w 350"/>
                <a:gd name="T53" fmla="*/ 140 h 191"/>
                <a:gd name="T54" fmla="*/ 82 w 350"/>
                <a:gd name="T55" fmla="*/ 134 h 191"/>
                <a:gd name="T56" fmla="*/ 108 w 350"/>
                <a:gd name="T57" fmla="*/ 140 h 191"/>
                <a:gd name="T58" fmla="*/ 127 w 350"/>
                <a:gd name="T59" fmla="*/ 128 h 191"/>
                <a:gd name="T60" fmla="*/ 140 w 350"/>
                <a:gd name="T61" fmla="*/ 134 h 191"/>
                <a:gd name="T62" fmla="*/ 165 w 350"/>
                <a:gd name="T63" fmla="*/ 147 h 191"/>
                <a:gd name="T64" fmla="*/ 184 w 350"/>
                <a:gd name="T65" fmla="*/ 140 h 191"/>
                <a:gd name="T66" fmla="*/ 222 w 350"/>
                <a:gd name="T67" fmla="*/ 153 h 191"/>
                <a:gd name="T68" fmla="*/ 251 w 350"/>
                <a:gd name="T69" fmla="*/ 169 h 191"/>
                <a:gd name="T70" fmla="*/ 280 w 350"/>
                <a:gd name="T71" fmla="*/ 185 h 191"/>
                <a:gd name="T72" fmla="*/ 283 w 350"/>
                <a:gd name="T73" fmla="*/ 191 h 191"/>
                <a:gd name="T74" fmla="*/ 324 w 350"/>
                <a:gd name="T75" fmla="*/ 182 h 191"/>
                <a:gd name="T76" fmla="*/ 337 w 350"/>
                <a:gd name="T77" fmla="*/ 156 h 191"/>
                <a:gd name="T78" fmla="*/ 350 w 350"/>
                <a:gd name="T79" fmla="*/ 147 h 191"/>
                <a:gd name="T80" fmla="*/ 350 w 350"/>
                <a:gd name="T81" fmla="*/ 1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50" h="191">
                  <a:moveTo>
                    <a:pt x="350" y="147"/>
                  </a:moveTo>
                  <a:lnTo>
                    <a:pt x="350" y="128"/>
                  </a:lnTo>
                  <a:lnTo>
                    <a:pt x="337" y="124"/>
                  </a:lnTo>
                  <a:lnTo>
                    <a:pt x="334" y="105"/>
                  </a:lnTo>
                  <a:lnTo>
                    <a:pt x="334" y="99"/>
                  </a:lnTo>
                  <a:lnTo>
                    <a:pt x="321" y="86"/>
                  </a:lnTo>
                  <a:lnTo>
                    <a:pt x="324" y="83"/>
                  </a:lnTo>
                  <a:lnTo>
                    <a:pt x="321" y="70"/>
                  </a:lnTo>
                  <a:lnTo>
                    <a:pt x="312" y="67"/>
                  </a:lnTo>
                  <a:lnTo>
                    <a:pt x="321" y="58"/>
                  </a:lnTo>
                  <a:lnTo>
                    <a:pt x="312" y="54"/>
                  </a:lnTo>
                  <a:lnTo>
                    <a:pt x="293" y="48"/>
                  </a:lnTo>
                  <a:lnTo>
                    <a:pt x="267" y="54"/>
                  </a:lnTo>
                  <a:lnTo>
                    <a:pt x="264" y="42"/>
                  </a:lnTo>
                  <a:lnTo>
                    <a:pt x="251" y="39"/>
                  </a:lnTo>
                  <a:lnTo>
                    <a:pt x="242" y="26"/>
                  </a:lnTo>
                  <a:lnTo>
                    <a:pt x="226" y="13"/>
                  </a:lnTo>
                  <a:lnTo>
                    <a:pt x="222" y="13"/>
                  </a:lnTo>
                  <a:lnTo>
                    <a:pt x="213" y="7"/>
                  </a:lnTo>
                  <a:lnTo>
                    <a:pt x="210" y="0"/>
                  </a:lnTo>
                  <a:lnTo>
                    <a:pt x="210" y="13"/>
                  </a:lnTo>
                  <a:lnTo>
                    <a:pt x="197" y="13"/>
                  </a:lnTo>
                  <a:lnTo>
                    <a:pt x="184" y="0"/>
                  </a:lnTo>
                  <a:lnTo>
                    <a:pt x="178" y="7"/>
                  </a:lnTo>
                  <a:lnTo>
                    <a:pt x="156" y="13"/>
                  </a:lnTo>
                  <a:lnTo>
                    <a:pt x="152" y="16"/>
                  </a:lnTo>
                  <a:lnTo>
                    <a:pt x="152" y="29"/>
                  </a:lnTo>
                  <a:lnTo>
                    <a:pt x="156" y="54"/>
                  </a:lnTo>
                  <a:lnTo>
                    <a:pt x="152" y="70"/>
                  </a:lnTo>
                  <a:lnTo>
                    <a:pt x="137" y="96"/>
                  </a:lnTo>
                  <a:lnTo>
                    <a:pt x="121" y="96"/>
                  </a:lnTo>
                  <a:lnTo>
                    <a:pt x="108" y="83"/>
                  </a:lnTo>
                  <a:lnTo>
                    <a:pt x="108" y="70"/>
                  </a:lnTo>
                  <a:lnTo>
                    <a:pt x="79" y="42"/>
                  </a:lnTo>
                  <a:lnTo>
                    <a:pt x="79" y="26"/>
                  </a:lnTo>
                  <a:lnTo>
                    <a:pt x="66" y="39"/>
                  </a:lnTo>
                  <a:lnTo>
                    <a:pt x="51" y="42"/>
                  </a:lnTo>
                  <a:lnTo>
                    <a:pt x="41" y="48"/>
                  </a:lnTo>
                  <a:lnTo>
                    <a:pt x="28" y="48"/>
                  </a:lnTo>
                  <a:lnTo>
                    <a:pt x="25" y="58"/>
                  </a:lnTo>
                  <a:lnTo>
                    <a:pt x="25" y="70"/>
                  </a:lnTo>
                  <a:lnTo>
                    <a:pt x="19" y="70"/>
                  </a:lnTo>
                  <a:lnTo>
                    <a:pt x="19" y="86"/>
                  </a:lnTo>
                  <a:lnTo>
                    <a:pt x="9" y="105"/>
                  </a:lnTo>
                  <a:lnTo>
                    <a:pt x="9" y="115"/>
                  </a:lnTo>
                  <a:lnTo>
                    <a:pt x="9" y="124"/>
                  </a:lnTo>
                  <a:lnTo>
                    <a:pt x="0" y="134"/>
                  </a:lnTo>
                  <a:lnTo>
                    <a:pt x="9" y="156"/>
                  </a:lnTo>
                  <a:lnTo>
                    <a:pt x="12" y="163"/>
                  </a:lnTo>
                  <a:lnTo>
                    <a:pt x="12" y="169"/>
                  </a:lnTo>
                  <a:lnTo>
                    <a:pt x="19" y="163"/>
                  </a:lnTo>
                  <a:lnTo>
                    <a:pt x="25" y="153"/>
                  </a:lnTo>
                  <a:lnTo>
                    <a:pt x="41" y="140"/>
                  </a:lnTo>
                  <a:lnTo>
                    <a:pt x="66" y="134"/>
                  </a:lnTo>
                  <a:lnTo>
                    <a:pt x="82" y="134"/>
                  </a:lnTo>
                  <a:lnTo>
                    <a:pt x="98" y="134"/>
                  </a:lnTo>
                  <a:lnTo>
                    <a:pt x="108" y="140"/>
                  </a:lnTo>
                  <a:lnTo>
                    <a:pt x="121" y="128"/>
                  </a:lnTo>
                  <a:lnTo>
                    <a:pt x="127" y="128"/>
                  </a:lnTo>
                  <a:lnTo>
                    <a:pt x="127" y="134"/>
                  </a:lnTo>
                  <a:lnTo>
                    <a:pt x="140" y="134"/>
                  </a:lnTo>
                  <a:lnTo>
                    <a:pt x="149" y="147"/>
                  </a:lnTo>
                  <a:lnTo>
                    <a:pt x="165" y="147"/>
                  </a:lnTo>
                  <a:lnTo>
                    <a:pt x="168" y="153"/>
                  </a:lnTo>
                  <a:lnTo>
                    <a:pt x="184" y="140"/>
                  </a:lnTo>
                  <a:lnTo>
                    <a:pt x="207" y="147"/>
                  </a:lnTo>
                  <a:lnTo>
                    <a:pt x="222" y="153"/>
                  </a:lnTo>
                  <a:lnTo>
                    <a:pt x="238" y="163"/>
                  </a:lnTo>
                  <a:lnTo>
                    <a:pt x="251" y="169"/>
                  </a:lnTo>
                  <a:lnTo>
                    <a:pt x="264" y="185"/>
                  </a:lnTo>
                  <a:lnTo>
                    <a:pt x="280" y="185"/>
                  </a:lnTo>
                  <a:lnTo>
                    <a:pt x="283" y="191"/>
                  </a:lnTo>
                  <a:lnTo>
                    <a:pt x="305" y="182"/>
                  </a:lnTo>
                  <a:lnTo>
                    <a:pt x="324" y="182"/>
                  </a:lnTo>
                  <a:lnTo>
                    <a:pt x="324" y="163"/>
                  </a:lnTo>
                  <a:lnTo>
                    <a:pt x="337" y="156"/>
                  </a:lnTo>
                  <a:lnTo>
                    <a:pt x="337" y="153"/>
                  </a:lnTo>
                  <a:lnTo>
                    <a:pt x="350" y="147"/>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184" name="Freeform 24"/>
            <p:cNvSpPr>
              <a:spLocks/>
            </p:cNvSpPr>
            <p:nvPr/>
          </p:nvSpPr>
          <p:spPr bwMode="gray">
            <a:xfrm>
              <a:off x="3273" y="1190"/>
              <a:ext cx="271" cy="203"/>
            </a:xfrm>
            <a:custGeom>
              <a:avLst/>
              <a:gdLst>
                <a:gd name="T0" fmla="*/ 86 w 271"/>
                <a:gd name="T1" fmla="*/ 127 h 203"/>
                <a:gd name="T2" fmla="*/ 86 w 271"/>
                <a:gd name="T3" fmla="*/ 111 h 203"/>
                <a:gd name="T4" fmla="*/ 74 w 271"/>
                <a:gd name="T5" fmla="*/ 98 h 203"/>
                <a:gd name="T6" fmla="*/ 45 w 271"/>
                <a:gd name="T7" fmla="*/ 98 h 203"/>
                <a:gd name="T8" fmla="*/ 16 w 271"/>
                <a:gd name="T9" fmla="*/ 76 h 203"/>
                <a:gd name="T10" fmla="*/ 0 w 271"/>
                <a:gd name="T11" fmla="*/ 76 h 203"/>
                <a:gd name="T12" fmla="*/ 0 w 271"/>
                <a:gd name="T13" fmla="*/ 54 h 203"/>
                <a:gd name="T14" fmla="*/ 7 w 271"/>
                <a:gd name="T15" fmla="*/ 35 h 203"/>
                <a:gd name="T16" fmla="*/ 29 w 271"/>
                <a:gd name="T17" fmla="*/ 12 h 203"/>
                <a:gd name="T18" fmla="*/ 70 w 271"/>
                <a:gd name="T19" fmla="*/ 6 h 203"/>
                <a:gd name="T20" fmla="*/ 96 w 271"/>
                <a:gd name="T21" fmla="*/ 12 h 203"/>
                <a:gd name="T22" fmla="*/ 115 w 271"/>
                <a:gd name="T23" fmla="*/ 0 h 203"/>
                <a:gd name="T24" fmla="*/ 128 w 271"/>
                <a:gd name="T25" fmla="*/ 6 h 203"/>
                <a:gd name="T26" fmla="*/ 153 w 271"/>
                <a:gd name="T27" fmla="*/ 19 h 203"/>
                <a:gd name="T28" fmla="*/ 172 w 271"/>
                <a:gd name="T29" fmla="*/ 12 h 203"/>
                <a:gd name="T30" fmla="*/ 210 w 271"/>
                <a:gd name="T31" fmla="*/ 25 h 203"/>
                <a:gd name="T32" fmla="*/ 239 w 271"/>
                <a:gd name="T33" fmla="*/ 41 h 203"/>
                <a:gd name="T34" fmla="*/ 268 w 271"/>
                <a:gd name="T35" fmla="*/ 57 h 203"/>
                <a:gd name="T36" fmla="*/ 255 w 271"/>
                <a:gd name="T37" fmla="*/ 76 h 203"/>
                <a:gd name="T38" fmla="*/ 268 w 271"/>
                <a:gd name="T39" fmla="*/ 95 h 203"/>
                <a:gd name="T40" fmla="*/ 239 w 271"/>
                <a:gd name="T41" fmla="*/ 124 h 203"/>
                <a:gd name="T42" fmla="*/ 226 w 271"/>
                <a:gd name="T43" fmla="*/ 140 h 203"/>
                <a:gd name="T44" fmla="*/ 239 w 271"/>
                <a:gd name="T45" fmla="*/ 156 h 203"/>
                <a:gd name="T46" fmla="*/ 226 w 271"/>
                <a:gd name="T47" fmla="*/ 152 h 203"/>
                <a:gd name="T48" fmla="*/ 210 w 271"/>
                <a:gd name="T49" fmla="*/ 168 h 203"/>
                <a:gd name="T50" fmla="*/ 198 w 271"/>
                <a:gd name="T51" fmla="*/ 184 h 203"/>
                <a:gd name="T52" fmla="*/ 172 w 271"/>
                <a:gd name="T53" fmla="*/ 191 h 203"/>
                <a:gd name="T54" fmla="*/ 140 w 271"/>
                <a:gd name="T55" fmla="*/ 191 h 203"/>
                <a:gd name="T56" fmla="*/ 125 w 271"/>
                <a:gd name="T57" fmla="*/ 191 h 203"/>
                <a:gd name="T58" fmla="*/ 115 w 271"/>
                <a:gd name="T59" fmla="*/ 156 h 203"/>
                <a:gd name="T60" fmla="*/ 99 w 271"/>
                <a:gd name="T61" fmla="*/ 143 h 203"/>
                <a:gd name="T62" fmla="*/ 86 w 271"/>
                <a:gd name="T63" fmla="*/ 143 h 2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71" h="203">
                  <a:moveTo>
                    <a:pt x="86" y="143"/>
                  </a:moveTo>
                  <a:lnTo>
                    <a:pt x="86" y="127"/>
                  </a:lnTo>
                  <a:lnTo>
                    <a:pt x="96" y="114"/>
                  </a:lnTo>
                  <a:lnTo>
                    <a:pt x="86" y="111"/>
                  </a:lnTo>
                  <a:lnTo>
                    <a:pt x="83" y="111"/>
                  </a:lnTo>
                  <a:lnTo>
                    <a:pt x="74" y="98"/>
                  </a:lnTo>
                  <a:lnTo>
                    <a:pt x="70" y="98"/>
                  </a:lnTo>
                  <a:lnTo>
                    <a:pt x="45" y="98"/>
                  </a:lnTo>
                  <a:lnTo>
                    <a:pt x="35" y="95"/>
                  </a:lnTo>
                  <a:lnTo>
                    <a:pt x="16" y="76"/>
                  </a:lnTo>
                  <a:lnTo>
                    <a:pt x="0" y="76"/>
                  </a:lnTo>
                  <a:lnTo>
                    <a:pt x="7" y="70"/>
                  </a:lnTo>
                  <a:lnTo>
                    <a:pt x="0" y="54"/>
                  </a:lnTo>
                  <a:lnTo>
                    <a:pt x="0" y="41"/>
                  </a:lnTo>
                  <a:lnTo>
                    <a:pt x="7" y="35"/>
                  </a:lnTo>
                  <a:lnTo>
                    <a:pt x="13" y="25"/>
                  </a:lnTo>
                  <a:lnTo>
                    <a:pt x="29" y="12"/>
                  </a:lnTo>
                  <a:lnTo>
                    <a:pt x="54" y="6"/>
                  </a:lnTo>
                  <a:lnTo>
                    <a:pt x="70" y="6"/>
                  </a:lnTo>
                  <a:lnTo>
                    <a:pt x="86" y="6"/>
                  </a:lnTo>
                  <a:lnTo>
                    <a:pt x="96" y="12"/>
                  </a:lnTo>
                  <a:lnTo>
                    <a:pt x="105" y="0"/>
                  </a:lnTo>
                  <a:lnTo>
                    <a:pt x="115" y="0"/>
                  </a:lnTo>
                  <a:lnTo>
                    <a:pt x="115" y="6"/>
                  </a:lnTo>
                  <a:lnTo>
                    <a:pt x="128" y="6"/>
                  </a:lnTo>
                  <a:lnTo>
                    <a:pt x="137" y="19"/>
                  </a:lnTo>
                  <a:lnTo>
                    <a:pt x="153" y="19"/>
                  </a:lnTo>
                  <a:lnTo>
                    <a:pt x="156" y="25"/>
                  </a:lnTo>
                  <a:lnTo>
                    <a:pt x="172" y="12"/>
                  </a:lnTo>
                  <a:lnTo>
                    <a:pt x="195" y="19"/>
                  </a:lnTo>
                  <a:lnTo>
                    <a:pt x="210" y="25"/>
                  </a:lnTo>
                  <a:lnTo>
                    <a:pt x="226" y="35"/>
                  </a:lnTo>
                  <a:lnTo>
                    <a:pt x="239" y="41"/>
                  </a:lnTo>
                  <a:lnTo>
                    <a:pt x="252" y="57"/>
                  </a:lnTo>
                  <a:lnTo>
                    <a:pt x="268" y="57"/>
                  </a:lnTo>
                  <a:lnTo>
                    <a:pt x="271" y="63"/>
                  </a:lnTo>
                  <a:lnTo>
                    <a:pt x="255" y="76"/>
                  </a:lnTo>
                  <a:lnTo>
                    <a:pt x="268" y="82"/>
                  </a:lnTo>
                  <a:lnTo>
                    <a:pt x="268" y="95"/>
                  </a:lnTo>
                  <a:lnTo>
                    <a:pt x="252" y="105"/>
                  </a:lnTo>
                  <a:lnTo>
                    <a:pt x="239" y="124"/>
                  </a:lnTo>
                  <a:lnTo>
                    <a:pt x="230" y="124"/>
                  </a:lnTo>
                  <a:lnTo>
                    <a:pt x="226" y="140"/>
                  </a:lnTo>
                  <a:lnTo>
                    <a:pt x="239" y="143"/>
                  </a:lnTo>
                  <a:lnTo>
                    <a:pt x="239" y="156"/>
                  </a:lnTo>
                  <a:lnTo>
                    <a:pt x="226" y="156"/>
                  </a:lnTo>
                  <a:lnTo>
                    <a:pt x="226" y="152"/>
                  </a:lnTo>
                  <a:lnTo>
                    <a:pt x="214" y="156"/>
                  </a:lnTo>
                  <a:lnTo>
                    <a:pt x="210" y="168"/>
                  </a:lnTo>
                  <a:lnTo>
                    <a:pt x="195" y="168"/>
                  </a:lnTo>
                  <a:lnTo>
                    <a:pt x="198" y="184"/>
                  </a:lnTo>
                  <a:lnTo>
                    <a:pt x="195" y="184"/>
                  </a:lnTo>
                  <a:lnTo>
                    <a:pt x="172" y="191"/>
                  </a:lnTo>
                  <a:lnTo>
                    <a:pt x="166" y="184"/>
                  </a:lnTo>
                  <a:lnTo>
                    <a:pt x="140" y="191"/>
                  </a:lnTo>
                  <a:lnTo>
                    <a:pt x="128" y="203"/>
                  </a:lnTo>
                  <a:lnTo>
                    <a:pt x="125" y="191"/>
                  </a:lnTo>
                  <a:lnTo>
                    <a:pt x="125" y="175"/>
                  </a:lnTo>
                  <a:lnTo>
                    <a:pt x="115" y="156"/>
                  </a:lnTo>
                  <a:lnTo>
                    <a:pt x="112" y="156"/>
                  </a:lnTo>
                  <a:lnTo>
                    <a:pt x="99" y="143"/>
                  </a:lnTo>
                  <a:lnTo>
                    <a:pt x="86" y="143"/>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185" name="Freeform 25"/>
            <p:cNvSpPr>
              <a:spLocks/>
            </p:cNvSpPr>
            <p:nvPr/>
          </p:nvSpPr>
          <p:spPr bwMode="gray">
            <a:xfrm>
              <a:off x="3401" y="1206"/>
              <a:ext cx="458" cy="356"/>
            </a:xfrm>
            <a:custGeom>
              <a:avLst/>
              <a:gdLst>
                <a:gd name="T0" fmla="*/ 12 w 458"/>
                <a:gd name="T1" fmla="*/ 175 h 356"/>
                <a:gd name="T2" fmla="*/ 47 w 458"/>
                <a:gd name="T3" fmla="*/ 175 h 356"/>
                <a:gd name="T4" fmla="*/ 70 w 458"/>
                <a:gd name="T5" fmla="*/ 168 h 356"/>
                <a:gd name="T6" fmla="*/ 82 w 458"/>
                <a:gd name="T7" fmla="*/ 152 h 356"/>
                <a:gd name="T8" fmla="*/ 98 w 458"/>
                <a:gd name="T9" fmla="*/ 136 h 356"/>
                <a:gd name="T10" fmla="*/ 111 w 458"/>
                <a:gd name="T11" fmla="*/ 140 h 356"/>
                <a:gd name="T12" fmla="*/ 98 w 458"/>
                <a:gd name="T13" fmla="*/ 124 h 356"/>
                <a:gd name="T14" fmla="*/ 111 w 458"/>
                <a:gd name="T15" fmla="*/ 108 h 356"/>
                <a:gd name="T16" fmla="*/ 140 w 458"/>
                <a:gd name="T17" fmla="*/ 79 h 356"/>
                <a:gd name="T18" fmla="*/ 130 w 458"/>
                <a:gd name="T19" fmla="*/ 57 h 356"/>
                <a:gd name="T20" fmla="*/ 165 w 458"/>
                <a:gd name="T21" fmla="*/ 38 h 356"/>
                <a:gd name="T22" fmla="*/ 188 w 458"/>
                <a:gd name="T23" fmla="*/ 19 h 356"/>
                <a:gd name="T24" fmla="*/ 200 w 458"/>
                <a:gd name="T25" fmla="*/ 9 h 356"/>
                <a:gd name="T26" fmla="*/ 223 w 458"/>
                <a:gd name="T27" fmla="*/ 9 h 356"/>
                <a:gd name="T28" fmla="*/ 245 w 458"/>
                <a:gd name="T29" fmla="*/ 19 h 356"/>
                <a:gd name="T30" fmla="*/ 273 w 458"/>
                <a:gd name="T31" fmla="*/ 12 h 356"/>
                <a:gd name="T32" fmla="*/ 299 w 458"/>
                <a:gd name="T33" fmla="*/ 19 h 356"/>
                <a:gd name="T34" fmla="*/ 318 w 458"/>
                <a:gd name="T35" fmla="*/ 25 h 356"/>
                <a:gd name="T36" fmla="*/ 353 w 458"/>
                <a:gd name="T37" fmla="*/ 28 h 356"/>
                <a:gd name="T38" fmla="*/ 353 w 458"/>
                <a:gd name="T39" fmla="*/ 57 h 356"/>
                <a:gd name="T40" fmla="*/ 359 w 458"/>
                <a:gd name="T41" fmla="*/ 89 h 356"/>
                <a:gd name="T42" fmla="*/ 382 w 458"/>
                <a:gd name="T43" fmla="*/ 117 h 356"/>
                <a:gd name="T44" fmla="*/ 401 w 458"/>
                <a:gd name="T45" fmla="*/ 140 h 356"/>
                <a:gd name="T46" fmla="*/ 426 w 458"/>
                <a:gd name="T47" fmla="*/ 165 h 356"/>
                <a:gd name="T48" fmla="*/ 445 w 458"/>
                <a:gd name="T49" fmla="*/ 194 h 356"/>
                <a:gd name="T50" fmla="*/ 455 w 458"/>
                <a:gd name="T51" fmla="*/ 210 h 356"/>
                <a:gd name="T52" fmla="*/ 417 w 458"/>
                <a:gd name="T53" fmla="*/ 232 h 356"/>
                <a:gd name="T54" fmla="*/ 401 w 458"/>
                <a:gd name="T55" fmla="*/ 229 h 356"/>
                <a:gd name="T56" fmla="*/ 414 w 458"/>
                <a:gd name="T57" fmla="*/ 264 h 356"/>
                <a:gd name="T58" fmla="*/ 426 w 458"/>
                <a:gd name="T59" fmla="*/ 292 h 356"/>
                <a:gd name="T60" fmla="*/ 417 w 458"/>
                <a:gd name="T61" fmla="*/ 302 h 356"/>
                <a:gd name="T62" fmla="*/ 385 w 458"/>
                <a:gd name="T63" fmla="*/ 308 h 356"/>
                <a:gd name="T64" fmla="*/ 372 w 458"/>
                <a:gd name="T65" fmla="*/ 350 h 356"/>
                <a:gd name="T66" fmla="*/ 353 w 458"/>
                <a:gd name="T67" fmla="*/ 343 h 356"/>
                <a:gd name="T68" fmla="*/ 328 w 458"/>
                <a:gd name="T69" fmla="*/ 343 h 356"/>
                <a:gd name="T70" fmla="*/ 302 w 458"/>
                <a:gd name="T71" fmla="*/ 356 h 356"/>
                <a:gd name="T72" fmla="*/ 289 w 458"/>
                <a:gd name="T73" fmla="*/ 343 h 356"/>
                <a:gd name="T74" fmla="*/ 261 w 458"/>
                <a:gd name="T75" fmla="*/ 350 h 356"/>
                <a:gd name="T76" fmla="*/ 242 w 458"/>
                <a:gd name="T77" fmla="*/ 343 h 356"/>
                <a:gd name="T78" fmla="*/ 229 w 458"/>
                <a:gd name="T79" fmla="*/ 350 h 356"/>
                <a:gd name="T80" fmla="*/ 200 w 458"/>
                <a:gd name="T81" fmla="*/ 350 h 356"/>
                <a:gd name="T82" fmla="*/ 181 w 458"/>
                <a:gd name="T83" fmla="*/ 340 h 356"/>
                <a:gd name="T84" fmla="*/ 133 w 458"/>
                <a:gd name="T85" fmla="*/ 321 h 356"/>
                <a:gd name="T86" fmla="*/ 118 w 458"/>
                <a:gd name="T87" fmla="*/ 331 h 356"/>
                <a:gd name="T88" fmla="*/ 60 w 458"/>
                <a:gd name="T89" fmla="*/ 340 h 356"/>
                <a:gd name="T90" fmla="*/ 38 w 458"/>
                <a:gd name="T91" fmla="*/ 331 h 356"/>
                <a:gd name="T92" fmla="*/ 25 w 458"/>
                <a:gd name="T93" fmla="*/ 331 h 356"/>
                <a:gd name="T94" fmla="*/ 12 w 458"/>
                <a:gd name="T95" fmla="*/ 299 h 356"/>
                <a:gd name="T96" fmla="*/ 28 w 458"/>
                <a:gd name="T97" fmla="*/ 280 h 356"/>
                <a:gd name="T98" fmla="*/ 25 w 458"/>
                <a:gd name="T99" fmla="*/ 238 h 356"/>
                <a:gd name="T100" fmla="*/ 12 w 458"/>
                <a:gd name="T101" fmla="*/ 216 h 356"/>
                <a:gd name="T102" fmla="*/ 0 w 458"/>
                <a:gd name="T103" fmla="*/ 187 h 356"/>
                <a:gd name="T104" fmla="*/ 0 w 458"/>
                <a:gd name="T105" fmla="*/ 187 h 35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58" h="356">
                  <a:moveTo>
                    <a:pt x="0" y="187"/>
                  </a:moveTo>
                  <a:lnTo>
                    <a:pt x="12" y="175"/>
                  </a:lnTo>
                  <a:lnTo>
                    <a:pt x="38" y="168"/>
                  </a:lnTo>
                  <a:lnTo>
                    <a:pt x="47" y="175"/>
                  </a:lnTo>
                  <a:lnTo>
                    <a:pt x="67" y="168"/>
                  </a:lnTo>
                  <a:lnTo>
                    <a:pt x="70" y="168"/>
                  </a:lnTo>
                  <a:lnTo>
                    <a:pt x="67" y="152"/>
                  </a:lnTo>
                  <a:lnTo>
                    <a:pt x="82" y="152"/>
                  </a:lnTo>
                  <a:lnTo>
                    <a:pt x="89" y="140"/>
                  </a:lnTo>
                  <a:lnTo>
                    <a:pt x="98" y="136"/>
                  </a:lnTo>
                  <a:lnTo>
                    <a:pt x="98" y="140"/>
                  </a:lnTo>
                  <a:lnTo>
                    <a:pt x="111" y="140"/>
                  </a:lnTo>
                  <a:lnTo>
                    <a:pt x="111" y="127"/>
                  </a:lnTo>
                  <a:lnTo>
                    <a:pt x="98" y="124"/>
                  </a:lnTo>
                  <a:lnTo>
                    <a:pt x="105" y="108"/>
                  </a:lnTo>
                  <a:lnTo>
                    <a:pt x="111" y="108"/>
                  </a:lnTo>
                  <a:lnTo>
                    <a:pt x="124" y="89"/>
                  </a:lnTo>
                  <a:lnTo>
                    <a:pt x="140" y="79"/>
                  </a:lnTo>
                  <a:lnTo>
                    <a:pt x="140" y="66"/>
                  </a:lnTo>
                  <a:lnTo>
                    <a:pt x="130" y="57"/>
                  </a:lnTo>
                  <a:lnTo>
                    <a:pt x="146" y="47"/>
                  </a:lnTo>
                  <a:lnTo>
                    <a:pt x="165" y="38"/>
                  </a:lnTo>
                  <a:lnTo>
                    <a:pt x="188" y="38"/>
                  </a:lnTo>
                  <a:lnTo>
                    <a:pt x="188" y="19"/>
                  </a:lnTo>
                  <a:lnTo>
                    <a:pt x="200" y="12"/>
                  </a:lnTo>
                  <a:lnTo>
                    <a:pt x="200" y="9"/>
                  </a:lnTo>
                  <a:lnTo>
                    <a:pt x="216" y="0"/>
                  </a:lnTo>
                  <a:lnTo>
                    <a:pt x="223" y="9"/>
                  </a:lnTo>
                  <a:lnTo>
                    <a:pt x="232" y="0"/>
                  </a:lnTo>
                  <a:lnTo>
                    <a:pt x="245" y="19"/>
                  </a:lnTo>
                  <a:lnTo>
                    <a:pt x="261" y="12"/>
                  </a:lnTo>
                  <a:lnTo>
                    <a:pt x="273" y="12"/>
                  </a:lnTo>
                  <a:lnTo>
                    <a:pt x="283" y="28"/>
                  </a:lnTo>
                  <a:lnTo>
                    <a:pt x="299" y="19"/>
                  </a:lnTo>
                  <a:lnTo>
                    <a:pt x="315" y="12"/>
                  </a:lnTo>
                  <a:lnTo>
                    <a:pt x="318" y="25"/>
                  </a:lnTo>
                  <a:lnTo>
                    <a:pt x="328" y="25"/>
                  </a:lnTo>
                  <a:lnTo>
                    <a:pt x="353" y="28"/>
                  </a:lnTo>
                  <a:lnTo>
                    <a:pt x="356" y="41"/>
                  </a:lnTo>
                  <a:lnTo>
                    <a:pt x="353" y="57"/>
                  </a:lnTo>
                  <a:lnTo>
                    <a:pt x="359" y="70"/>
                  </a:lnTo>
                  <a:lnTo>
                    <a:pt x="359" y="89"/>
                  </a:lnTo>
                  <a:lnTo>
                    <a:pt x="372" y="98"/>
                  </a:lnTo>
                  <a:lnTo>
                    <a:pt x="382" y="117"/>
                  </a:lnTo>
                  <a:lnTo>
                    <a:pt x="388" y="136"/>
                  </a:lnTo>
                  <a:lnTo>
                    <a:pt x="401" y="140"/>
                  </a:lnTo>
                  <a:lnTo>
                    <a:pt x="410" y="165"/>
                  </a:lnTo>
                  <a:lnTo>
                    <a:pt x="426" y="165"/>
                  </a:lnTo>
                  <a:lnTo>
                    <a:pt x="445" y="181"/>
                  </a:lnTo>
                  <a:lnTo>
                    <a:pt x="445" y="194"/>
                  </a:lnTo>
                  <a:lnTo>
                    <a:pt x="458" y="203"/>
                  </a:lnTo>
                  <a:lnTo>
                    <a:pt x="455" y="210"/>
                  </a:lnTo>
                  <a:lnTo>
                    <a:pt x="442" y="229"/>
                  </a:lnTo>
                  <a:lnTo>
                    <a:pt x="417" y="232"/>
                  </a:lnTo>
                  <a:lnTo>
                    <a:pt x="401" y="222"/>
                  </a:lnTo>
                  <a:lnTo>
                    <a:pt x="401" y="229"/>
                  </a:lnTo>
                  <a:lnTo>
                    <a:pt x="401" y="245"/>
                  </a:lnTo>
                  <a:lnTo>
                    <a:pt x="414" y="264"/>
                  </a:lnTo>
                  <a:lnTo>
                    <a:pt x="410" y="273"/>
                  </a:lnTo>
                  <a:lnTo>
                    <a:pt x="426" y="292"/>
                  </a:lnTo>
                  <a:lnTo>
                    <a:pt x="426" y="302"/>
                  </a:lnTo>
                  <a:lnTo>
                    <a:pt x="417" y="302"/>
                  </a:lnTo>
                  <a:lnTo>
                    <a:pt x="398" y="308"/>
                  </a:lnTo>
                  <a:lnTo>
                    <a:pt x="385" y="308"/>
                  </a:lnTo>
                  <a:lnTo>
                    <a:pt x="372" y="331"/>
                  </a:lnTo>
                  <a:lnTo>
                    <a:pt x="372" y="350"/>
                  </a:lnTo>
                  <a:lnTo>
                    <a:pt x="359" y="350"/>
                  </a:lnTo>
                  <a:lnTo>
                    <a:pt x="353" y="343"/>
                  </a:lnTo>
                  <a:lnTo>
                    <a:pt x="340" y="350"/>
                  </a:lnTo>
                  <a:lnTo>
                    <a:pt x="328" y="343"/>
                  </a:lnTo>
                  <a:lnTo>
                    <a:pt x="315" y="343"/>
                  </a:lnTo>
                  <a:lnTo>
                    <a:pt x="302" y="356"/>
                  </a:lnTo>
                  <a:lnTo>
                    <a:pt x="299" y="350"/>
                  </a:lnTo>
                  <a:lnTo>
                    <a:pt x="289" y="343"/>
                  </a:lnTo>
                  <a:lnTo>
                    <a:pt x="283" y="340"/>
                  </a:lnTo>
                  <a:lnTo>
                    <a:pt x="261" y="350"/>
                  </a:lnTo>
                  <a:lnTo>
                    <a:pt x="251" y="343"/>
                  </a:lnTo>
                  <a:lnTo>
                    <a:pt x="242" y="343"/>
                  </a:lnTo>
                  <a:lnTo>
                    <a:pt x="232" y="350"/>
                  </a:lnTo>
                  <a:lnTo>
                    <a:pt x="229" y="350"/>
                  </a:lnTo>
                  <a:lnTo>
                    <a:pt x="216" y="343"/>
                  </a:lnTo>
                  <a:lnTo>
                    <a:pt x="200" y="350"/>
                  </a:lnTo>
                  <a:lnTo>
                    <a:pt x="194" y="343"/>
                  </a:lnTo>
                  <a:lnTo>
                    <a:pt x="181" y="340"/>
                  </a:lnTo>
                  <a:lnTo>
                    <a:pt x="153" y="331"/>
                  </a:lnTo>
                  <a:lnTo>
                    <a:pt x="133" y="321"/>
                  </a:lnTo>
                  <a:lnTo>
                    <a:pt x="130" y="321"/>
                  </a:lnTo>
                  <a:lnTo>
                    <a:pt x="118" y="331"/>
                  </a:lnTo>
                  <a:lnTo>
                    <a:pt x="98" y="331"/>
                  </a:lnTo>
                  <a:lnTo>
                    <a:pt x="60" y="340"/>
                  </a:lnTo>
                  <a:lnTo>
                    <a:pt x="54" y="343"/>
                  </a:lnTo>
                  <a:lnTo>
                    <a:pt x="38" y="331"/>
                  </a:lnTo>
                  <a:lnTo>
                    <a:pt x="25" y="340"/>
                  </a:lnTo>
                  <a:lnTo>
                    <a:pt x="25" y="331"/>
                  </a:lnTo>
                  <a:lnTo>
                    <a:pt x="12" y="315"/>
                  </a:lnTo>
                  <a:lnTo>
                    <a:pt x="12" y="299"/>
                  </a:lnTo>
                  <a:lnTo>
                    <a:pt x="19" y="280"/>
                  </a:lnTo>
                  <a:lnTo>
                    <a:pt x="28" y="280"/>
                  </a:lnTo>
                  <a:lnTo>
                    <a:pt x="28" y="245"/>
                  </a:lnTo>
                  <a:lnTo>
                    <a:pt x="25" y="238"/>
                  </a:lnTo>
                  <a:lnTo>
                    <a:pt x="19" y="229"/>
                  </a:lnTo>
                  <a:lnTo>
                    <a:pt x="12" y="216"/>
                  </a:lnTo>
                  <a:lnTo>
                    <a:pt x="9" y="187"/>
                  </a:lnTo>
                  <a:lnTo>
                    <a:pt x="0" y="187"/>
                  </a:lnTo>
                  <a:close/>
                </a:path>
              </a:pathLst>
            </a:custGeom>
            <a:solidFill>
              <a:schemeClr val="bg1"/>
            </a:solidFill>
            <a:ln w="6350">
              <a:solidFill>
                <a:schemeClr val="accent2"/>
              </a:solidFill>
              <a:round/>
              <a:headEnd/>
              <a:tailEnd/>
            </a:ln>
          </p:spPr>
          <p:txBody>
            <a:bodyPr/>
            <a:lstStyle/>
            <a:p>
              <a:endParaRPr lang="de-DE"/>
            </a:p>
          </p:txBody>
        </p:sp>
        <p:sp>
          <p:nvSpPr>
            <p:cNvPr id="186" name="Freeform 26"/>
            <p:cNvSpPr>
              <a:spLocks/>
            </p:cNvSpPr>
            <p:nvPr/>
          </p:nvSpPr>
          <p:spPr bwMode="gray">
            <a:xfrm>
              <a:off x="3401" y="1206"/>
              <a:ext cx="458" cy="356"/>
            </a:xfrm>
            <a:custGeom>
              <a:avLst/>
              <a:gdLst>
                <a:gd name="T0" fmla="*/ 12 w 458"/>
                <a:gd name="T1" fmla="*/ 175 h 356"/>
                <a:gd name="T2" fmla="*/ 47 w 458"/>
                <a:gd name="T3" fmla="*/ 175 h 356"/>
                <a:gd name="T4" fmla="*/ 70 w 458"/>
                <a:gd name="T5" fmla="*/ 168 h 356"/>
                <a:gd name="T6" fmla="*/ 82 w 458"/>
                <a:gd name="T7" fmla="*/ 152 h 356"/>
                <a:gd name="T8" fmla="*/ 98 w 458"/>
                <a:gd name="T9" fmla="*/ 136 h 356"/>
                <a:gd name="T10" fmla="*/ 111 w 458"/>
                <a:gd name="T11" fmla="*/ 140 h 356"/>
                <a:gd name="T12" fmla="*/ 98 w 458"/>
                <a:gd name="T13" fmla="*/ 124 h 356"/>
                <a:gd name="T14" fmla="*/ 111 w 458"/>
                <a:gd name="T15" fmla="*/ 108 h 356"/>
                <a:gd name="T16" fmla="*/ 140 w 458"/>
                <a:gd name="T17" fmla="*/ 79 h 356"/>
                <a:gd name="T18" fmla="*/ 130 w 458"/>
                <a:gd name="T19" fmla="*/ 57 h 356"/>
                <a:gd name="T20" fmla="*/ 165 w 458"/>
                <a:gd name="T21" fmla="*/ 38 h 356"/>
                <a:gd name="T22" fmla="*/ 188 w 458"/>
                <a:gd name="T23" fmla="*/ 19 h 356"/>
                <a:gd name="T24" fmla="*/ 200 w 458"/>
                <a:gd name="T25" fmla="*/ 9 h 356"/>
                <a:gd name="T26" fmla="*/ 223 w 458"/>
                <a:gd name="T27" fmla="*/ 9 h 356"/>
                <a:gd name="T28" fmla="*/ 245 w 458"/>
                <a:gd name="T29" fmla="*/ 19 h 356"/>
                <a:gd name="T30" fmla="*/ 273 w 458"/>
                <a:gd name="T31" fmla="*/ 12 h 356"/>
                <a:gd name="T32" fmla="*/ 299 w 458"/>
                <a:gd name="T33" fmla="*/ 19 h 356"/>
                <a:gd name="T34" fmla="*/ 318 w 458"/>
                <a:gd name="T35" fmla="*/ 25 h 356"/>
                <a:gd name="T36" fmla="*/ 353 w 458"/>
                <a:gd name="T37" fmla="*/ 28 h 356"/>
                <a:gd name="T38" fmla="*/ 353 w 458"/>
                <a:gd name="T39" fmla="*/ 57 h 356"/>
                <a:gd name="T40" fmla="*/ 359 w 458"/>
                <a:gd name="T41" fmla="*/ 89 h 356"/>
                <a:gd name="T42" fmla="*/ 382 w 458"/>
                <a:gd name="T43" fmla="*/ 117 h 356"/>
                <a:gd name="T44" fmla="*/ 401 w 458"/>
                <a:gd name="T45" fmla="*/ 140 h 356"/>
                <a:gd name="T46" fmla="*/ 426 w 458"/>
                <a:gd name="T47" fmla="*/ 165 h 356"/>
                <a:gd name="T48" fmla="*/ 445 w 458"/>
                <a:gd name="T49" fmla="*/ 194 h 356"/>
                <a:gd name="T50" fmla="*/ 455 w 458"/>
                <a:gd name="T51" fmla="*/ 210 h 356"/>
                <a:gd name="T52" fmla="*/ 417 w 458"/>
                <a:gd name="T53" fmla="*/ 232 h 356"/>
                <a:gd name="T54" fmla="*/ 401 w 458"/>
                <a:gd name="T55" fmla="*/ 229 h 356"/>
                <a:gd name="T56" fmla="*/ 414 w 458"/>
                <a:gd name="T57" fmla="*/ 264 h 356"/>
                <a:gd name="T58" fmla="*/ 426 w 458"/>
                <a:gd name="T59" fmla="*/ 292 h 356"/>
                <a:gd name="T60" fmla="*/ 417 w 458"/>
                <a:gd name="T61" fmla="*/ 302 h 356"/>
                <a:gd name="T62" fmla="*/ 385 w 458"/>
                <a:gd name="T63" fmla="*/ 308 h 356"/>
                <a:gd name="T64" fmla="*/ 372 w 458"/>
                <a:gd name="T65" fmla="*/ 350 h 356"/>
                <a:gd name="T66" fmla="*/ 353 w 458"/>
                <a:gd name="T67" fmla="*/ 343 h 356"/>
                <a:gd name="T68" fmla="*/ 328 w 458"/>
                <a:gd name="T69" fmla="*/ 343 h 356"/>
                <a:gd name="T70" fmla="*/ 302 w 458"/>
                <a:gd name="T71" fmla="*/ 356 h 356"/>
                <a:gd name="T72" fmla="*/ 289 w 458"/>
                <a:gd name="T73" fmla="*/ 343 h 356"/>
                <a:gd name="T74" fmla="*/ 261 w 458"/>
                <a:gd name="T75" fmla="*/ 350 h 356"/>
                <a:gd name="T76" fmla="*/ 242 w 458"/>
                <a:gd name="T77" fmla="*/ 343 h 356"/>
                <a:gd name="T78" fmla="*/ 229 w 458"/>
                <a:gd name="T79" fmla="*/ 350 h 356"/>
                <a:gd name="T80" fmla="*/ 200 w 458"/>
                <a:gd name="T81" fmla="*/ 350 h 356"/>
                <a:gd name="T82" fmla="*/ 181 w 458"/>
                <a:gd name="T83" fmla="*/ 340 h 356"/>
                <a:gd name="T84" fmla="*/ 133 w 458"/>
                <a:gd name="T85" fmla="*/ 321 h 356"/>
                <a:gd name="T86" fmla="*/ 118 w 458"/>
                <a:gd name="T87" fmla="*/ 331 h 356"/>
                <a:gd name="T88" fmla="*/ 60 w 458"/>
                <a:gd name="T89" fmla="*/ 340 h 356"/>
                <a:gd name="T90" fmla="*/ 38 w 458"/>
                <a:gd name="T91" fmla="*/ 331 h 356"/>
                <a:gd name="T92" fmla="*/ 25 w 458"/>
                <a:gd name="T93" fmla="*/ 331 h 356"/>
                <a:gd name="T94" fmla="*/ 12 w 458"/>
                <a:gd name="T95" fmla="*/ 299 h 356"/>
                <a:gd name="T96" fmla="*/ 28 w 458"/>
                <a:gd name="T97" fmla="*/ 280 h 356"/>
                <a:gd name="T98" fmla="*/ 25 w 458"/>
                <a:gd name="T99" fmla="*/ 238 h 356"/>
                <a:gd name="T100" fmla="*/ 12 w 458"/>
                <a:gd name="T101" fmla="*/ 216 h 356"/>
                <a:gd name="T102" fmla="*/ 0 w 458"/>
                <a:gd name="T103" fmla="*/ 187 h 356"/>
                <a:gd name="T104" fmla="*/ 0 w 458"/>
                <a:gd name="T105" fmla="*/ 187 h 35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58" h="356">
                  <a:moveTo>
                    <a:pt x="0" y="187"/>
                  </a:moveTo>
                  <a:lnTo>
                    <a:pt x="12" y="175"/>
                  </a:lnTo>
                  <a:lnTo>
                    <a:pt x="38" y="168"/>
                  </a:lnTo>
                  <a:lnTo>
                    <a:pt x="47" y="175"/>
                  </a:lnTo>
                  <a:lnTo>
                    <a:pt x="67" y="168"/>
                  </a:lnTo>
                  <a:lnTo>
                    <a:pt x="70" y="168"/>
                  </a:lnTo>
                  <a:lnTo>
                    <a:pt x="67" y="152"/>
                  </a:lnTo>
                  <a:lnTo>
                    <a:pt x="82" y="152"/>
                  </a:lnTo>
                  <a:lnTo>
                    <a:pt x="89" y="140"/>
                  </a:lnTo>
                  <a:lnTo>
                    <a:pt x="98" y="136"/>
                  </a:lnTo>
                  <a:lnTo>
                    <a:pt x="98" y="140"/>
                  </a:lnTo>
                  <a:lnTo>
                    <a:pt x="111" y="140"/>
                  </a:lnTo>
                  <a:lnTo>
                    <a:pt x="111" y="127"/>
                  </a:lnTo>
                  <a:lnTo>
                    <a:pt x="98" y="124"/>
                  </a:lnTo>
                  <a:lnTo>
                    <a:pt x="105" y="108"/>
                  </a:lnTo>
                  <a:lnTo>
                    <a:pt x="111" y="108"/>
                  </a:lnTo>
                  <a:lnTo>
                    <a:pt x="124" y="89"/>
                  </a:lnTo>
                  <a:lnTo>
                    <a:pt x="140" y="79"/>
                  </a:lnTo>
                  <a:lnTo>
                    <a:pt x="140" y="66"/>
                  </a:lnTo>
                  <a:lnTo>
                    <a:pt x="130" y="57"/>
                  </a:lnTo>
                  <a:lnTo>
                    <a:pt x="146" y="47"/>
                  </a:lnTo>
                  <a:lnTo>
                    <a:pt x="165" y="38"/>
                  </a:lnTo>
                  <a:lnTo>
                    <a:pt x="188" y="38"/>
                  </a:lnTo>
                  <a:lnTo>
                    <a:pt x="188" y="19"/>
                  </a:lnTo>
                  <a:lnTo>
                    <a:pt x="200" y="12"/>
                  </a:lnTo>
                  <a:lnTo>
                    <a:pt x="200" y="9"/>
                  </a:lnTo>
                  <a:lnTo>
                    <a:pt x="216" y="0"/>
                  </a:lnTo>
                  <a:lnTo>
                    <a:pt x="223" y="9"/>
                  </a:lnTo>
                  <a:lnTo>
                    <a:pt x="232" y="0"/>
                  </a:lnTo>
                  <a:lnTo>
                    <a:pt x="245" y="19"/>
                  </a:lnTo>
                  <a:lnTo>
                    <a:pt x="261" y="12"/>
                  </a:lnTo>
                  <a:lnTo>
                    <a:pt x="273" y="12"/>
                  </a:lnTo>
                  <a:lnTo>
                    <a:pt x="283" y="28"/>
                  </a:lnTo>
                  <a:lnTo>
                    <a:pt x="299" y="19"/>
                  </a:lnTo>
                  <a:lnTo>
                    <a:pt x="315" y="12"/>
                  </a:lnTo>
                  <a:lnTo>
                    <a:pt x="318" y="25"/>
                  </a:lnTo>
                  <a:lnTo>
                    <a:pt x="328" y="25"/>
                  </a:lnTo>
                  <a:lnTo>
                    <a:pt x="353" y="28"/>
                  </a:lnTo>
                  <a:lnTo>
                    <a:pt x="356" y="41"/>
                  </a:lnTo>
                  <a:lnTo>
                    <a:pt x="353" y="57"/>
                  </a:lnTo>
                  <a:lnTo>
                    <a:pt x="359" y="70"/>
                  </a:lnTo>
                  <a:lnTo>
                    <a:pt x="359" y="89"/>
                  </a:lnTo>
                  <a:lnTo>
                    <a:pt x="372" y="98"/>
                  </a:lnTo>
                  <a:lnTo>
                    <a:pt x="382" y="117"/>
                  </a:lnTo>
                  <a:lnTo>
                    <a:pt x="388" y="136"/>
                  </a:lnTo>
                  <a:lnTo>
                    <a:pt x="401" y="140"/>
                  </a:lnTo>
                  <a:lnTo>
                    <a:pt x="410" y="165"/>
                  </a:lnTo>
                  <a:lnTo>
                    <a:pt x="426" y="165"/>
                  </a:lnTo>
                  <a:lnTo>
                    <a:pt x="445" y="181"/>
                  </a:lnTo>
                  <a:lnTo>
                    <a:pt x="445" y="194"/>
                  </a:lnTo>
                  <a:lnTo>
                    <a:pt x="458" y="203"/>
                  </a:lnTo>
                  <a:lnTo>
                    <a:pt x="455" y="210"/>
                  </a:lnTo>
                  <a:lnTo>
                    <a:pt x="442" y="229"/>
                  </a:lnTo>
                  <a:lnTo>
                    <a:pt x="417" y="232"/>
                  </a:lnTo>
                  <a:lnTo>
                    <a:pt x="401" y="222"/>
                  </a:lnTo>
                  <a:lnTo>
                    <a:pt x="401" y="229"/>
                  </a:lnTo>
                  <a:lnTo>
                    <a:pt x="401" y="245"/>
                  </a:lnTo>
                  <a:lnTo>
                    <a:pt x="414" y="264"/>
                  </a:lnTo>
                  <a:lnTo>
                    <a:pt x="410" y="273"/>
                  </a:lnTo>
                  <a:lnTo>
                    <a:pt x="426" y="292"/>
                  </a:lnTo>
                  <a:lnTo>
                    <a:pt x="426" y="302"/>
                  </a:lnTo>
                  <a:lnTo>
                    <a:pt x="417" y="302"/>
                  </a:lnTo>
                  <a:lnTo>
                    <a:pt x="398" y="308"/>
                  </a:lnTo>
                  <a:lnTo>
                    <a:pt x="385" y="308"/>
                  </a:lnTo>
                  <a:lnTo>
                    <a:pt x="372" y="331"/>
                  </a:lnTo>
                  <a:lnTo>
                    <a:pt x="372" y="350"/>
                  </a:lnTo>
                  <a:lnTo>
                    <a:pt x="359" y="350"/>
                  </a:lnTo>
                  <a:lnTo>
                    <a:pt x="353" y="343"/>
                  </a:lnTo>
                  <a:lnTo>
                    <a:pt x="340" y="350"/>
                  </a:lnTo>
                  <a:lnTo>
                    <a:pt x="328" y="343"/>
                  </a:lnTo>
                  <a:lnTo>
                    <a:pt x="315" y="343"/>
                  </a:lnTo>
                  <a:lnTo>
                    <a:pt x="302" y="356"/>
                  </a:lnTo>
                  <a:lnTo>
                    <a:pt x="299" y="350"/>
                  </a:lnTo>
                  <a:lnTo>
                    <a:pt x="289" y="343"/>
                  </a:lnTo>
                  <a:lnTo>
                    <a:pt x="283" y="340"/>
                  </a:lnTo>
                  <a:lnTo>
                    <a:pt x="261" y="350"/>
                  </a:lnTo>
                  <a:lnTo>
                    <a:pt x="251" y="343"/>
                  </a:lnTo>
                  <a:lnTo>
                    <a:pt x="242" y="343"/>
                  </a:lnTo>
                  <a:lnTo>
                    <a:pt x="232" y="350"/>
                  </a:lnTo>
                  <a:lnTo>
                    <a:pt x="229" y="350"/>
                  </a:lnTo>
                  <a:lnTo>
                    <a:pt x="216" y="343"/>
                  </a:lnTo>
                  <a:lnTo>
                    <a:pt x="200" y="350"/>
                  </a:lnTo>
                  <a:lnTo>
                    <a:pt x="194" y="343"/>
                  </a:lnTo>
                  <a:lnTo>
                    <a:pt x="181" y="340"/>
                  </a:lnTo>
                  <a:lnTo>
                    <a:pt x="153" y="331"/>
                  </a:lnTo>
                  <a:lnTo>
                    <a:pt x="133" y="321"/>
                  </a:lnTo>
                  <a:lnTo>
                    <a:pt x="130" y="321"/>
                  </a:lnTo>
                  <a:lnTo>
                    <a:pt x="118" y="331"/>
                  </a:lnTo>
                  <a:lnTo>
                    <a:pt x="98" y="331"/>
                  </a:lnTo>
                  <a:lnTo>
                    <a:pt x="60" y="340"/>
                  </a:lnTo>
                  <a:lnTo>
                    <a:pt x="54" y="343"/>
                  </a:lnTo>
                  <a:lnTo>
                    <a:pt x="38" y="331"/>
                  </a:lnTo>
                  <a:lnTo>
                    <a:pt x="25" y="340"/>
                  </a:lnTo>
                  <a:lnTo>
                    <a:pt x="25" y="331"/>
                  </a:lnTo>
                  <a:lnTo>
                    <a:pt x="12" y="315"/>
                  </a:lnTo>
                  <a:lnTo>
                    <a:pt x="12" y="299"/>
                  </a:lnTo>
                  <a:lnTo>
                    <a:pt x="19" y="280"/>
                  </a:lnTo>
                  <a:lnTo>
                    <a:pt x="28" y="280"/>
                  </a:lnTo>
                  <a:lnTo>
                    <a:pt x="28" y="245"/>
                  </a:lnTo>
                  <a:lnTo>
                    <a:pt x="25" y="238"/>
                  </a:lnTo>
                  <a:lnTo>
                    <a:pt x="19" y="229"/>
                  </a:lnTo>
                  <a:lnTo>
                    <a:pt x="12" y="216"/>
                  </a:lnTo>
                  <a:lnTo>
                    <a:pt x="9" y="187"/>
                  </a:lnTo>
                  <a:lnTo>
                    <a:pt x="0" y="187"/>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187" name="Freeform 27"/>
            <p:cNvSpPr>
              <a:spLocks/>
            </p:cNvSpPr>
            <p:nvPr/>
          </p:nvSpPr>
          <p:spPr bwMode="gray">
            <a:xfrm>
              <a:off x="3372" y="1492"/>
              <a:ext cx="901" cy="557"/>
            </a:xfrm>
            <a:custGeom>
              <a:avLst/>
              <a:gdLst>
                <a:gd name="T0" fmla="*/ 127 w 901"/>
                <a:gd name="T1" fmla="*/ 45 h 557"/>
                <a:gd name="T2" fmla="*/ 210 w 901"/>
                <a:gd name="T3" fmla="*/ 54 h 557"/>
                <a:gd name="T4" fmla="*/ 261 w 901"/>
                <a:gd name="T5" fmla="*/ 67 h 557"/>
                <a:gd name="T6" fmla="*/ 318 w 901"/>
                <a:gd name="T7" fmla="*/ 57 h 557"/>
                <a:gd name="T8" fmla="*/ 366 w 901"/>
                <a:gd name="T9" fmla="*/ 67 h 557"/>
                <a:gd name="T10" fmla="*/ 414 w 901"/>
                <a:gd name="T11" fmla="*/ 25 h 557"/>
                <a:gd name="T12" fmla="*/ 471 w 901"/>
                <a:gd name="T13" fmla="*/ 6 h 557"/>
                <a:gd name="T14" fmla="*/ 560 w 901"/>
                <a:gd name="T15" fmla="*/ 0 h 557"/>
                <a:gd name="T16" fmla="*/ 624 w 901"/>
                <a:gd name="T17" fmla="*/ 67 h 557"/>
                <a:gd name="T18" fmla="*/ 653 w 901"/>
                <a:gd name="T19" fmla="*/ 115 h 557"/>
                <a:gd name="T20" fmla="*/ 726 w 901"/>
                <a:gd name="T21" fmla="*/ 140 h 557"/>
                <a:gd name="T22" fmla="*/ 783 w 901"/>
                <a:gd name="T23" fmla="*/ 169 h 557"/>
                <a:gd name="T24" fmla="*/ 847 w 901"/>
                <a:gd name="T25" fmla="*/ 172 h 557"/>
                <a:gd name="T26" fmla="*/ 901 w 901"/>
                <a:gd name="T27" fmla="*/ 194 h 557"/>
                <a:gd name="T28" fmla="*/ 895 w 901"/>
                <a:gd name="T29" fmla="*/ 255 h 557"/>
                <a:gd name="T30" fmla="*/ 853 w 901"/>
                <a:gd name="T31" fmla="*/ 312 h 557"/>
                <a:gd name="T32" fmla="*/ 818 w 901"/>
                <a:gd name="T33" fmla="*/ 360 h 557"/>
                <a:gd name="T34" fmla="*/ 780 w 901"/>
                <a:gd name="T35" fmla="*/ 382 h 557"/>
                <a:gd name="T36" fmla="*/ 732 w 901"/>
                <a:gd name="T37" fmla="*/ 401 h 557"/>
                <a:gd name="T38" fmla="*/ 681 w 901"/>
                <a:gd name="T39" fmla="*/ 401 h 557"/>
                <a:gd name="T40" fmla="*/ 672 w 901"/>
                <a:gd name="T41" fmla="*/ 436 h 557"/>
                <a:gd name="T42" fmla="*/ 672 w 901"/>
                <a:gd name="T43" fmla="*/ 417 h 557"/>
                <a:gd name="T44" fmla="*/ 640 w 901"/>
                <a:gd name="T45" fmla="*/ 446 h 557"/>
                <a:gd name="T46" fmla="*/ 599 w 901"/>
                <a:gd name="T47" fmla="*/ 446 h 557"/>
                <a:gd name="T48" fmla="*/ 643 w 901"/>
                <a:gd name="T49" fmla="*/ 458 h 557"/>
                <a:gd name="T50" fmla="*/ 653 w 901"/>
                <a:gd name="T51" fmla="*/ 474 h 557"/>
                <a:gd name="T52" fmla="*/ 672 w 901"/>
                <a:gd name="T53" fmla="*/ 500 h 557"/>
                <a:gd name="T54" fmla="*/ 653 w 901"/>
                <a:gd name="T55" fmla="*/ 446 h 557"/>
                <a:gd name="T56" fmla="*/ 697 w 901"/>
                <a:gd name="T57" fmla="*/ 500 h 557"/>
                <a:gd name="T58" fmla="*/ 742 w 901"/>
                <a:gd name="T59" fmla="*/ 484 h 557"/>
                <a:gd name="T60" fmla="*/ 748 w 901"/>
                <a:gd name="T61" fmla="*/ 516 h 557"/>
                <a:gd name="T62" fmla="*/ 669 w 901"/>
                <a:gd name="T63" fmla="*/ 535 h 557"/>
                <a:gd name="T64" fmla="*/ 599 w 901"/>
                <a:gd name="T65" fmla="*/ 544 h 557"/>
                <a:gd name="T66" fmla="*/ 570 w 901"/>
                <a:gd name="T67" fmla="*/ 500 h 557"/>
                <a:gd name="T68" fmla="*/ 599 w 901"/>
                <a:gd name="T69" fmla="*/ 471 h 557"/>
                <a:gd name="T70" fmla="*/ 586 w 901"/>
                <a:gd name="T71" fmla="*/ 455 h 557"/>
                <a:gd name="T72" fmla="*/ 529 w 901"/>
                <a:gd name="T73" fmla="*/ 446 h 557"/>
                <a:gd name="T74" fmla="*/ 503 w 901"/>
                <a:gd name="T75" fmla="*/ 423 h 557"/>
                <a:gd name="T76" fmla="*/ 525 w 901"/>
                <a:gd name="T77" fmla="*/ 417 h 557"/>
                <a:gd name="T78" fmla="*/ 503 w 901"/>
                <a:gd name="T79" fmla="*/ 407 h 557"/>
                <a:gd name="T80" fmla="*/ 487 w 901"/>
                <a:gd name="T81" fmla="*/ 407 h 557"/>
                <a:gd name="T82" fmla="*/ 446 w 901"/>
                <a:gd name="T83" fmla="*/ 436 h 557"/>
                <a:gd name="T84" fmla="*/ 408 w 901"/>
                <a:gd name="T85" fmla="*/ 484 h 557"/>
                <a:gd name="T86" fmla="*/ 401 w 901"/>
                <a:gd name="T87" fmla="*/ 503 h 557"/>
                <a:gd name="T88" fmla="*/ 347 w 901"/>
                <a:gd name="T89" fmla="*/ 503 h 557"/>
                <a:gd name="T90" fmla="*/ 344 w 901"/>
                <a:gd name="T91" fmla="*/ 474 h 557"/>
                <a:gd name="T92" fmla="*/ 373 w 901"/>
                <a:gd name="T93" fmla="*/ 423 h 557"/>
                <a:gd name="T94" fmla="*/ 401 w 901"/>
                <a:gd name="T95" fmla="*/ 414 h 557"/>
                <a:gd name="T96" fmla="*/ 373 w 901"/>
                <a:gd name="T97" fmla="*/ 366 h 557"/>
                <a:gd name="T98" fmla="*/ 325 w 901"/>
                <a:gd name="T99" fmla="*/ 302 h 557"/>
                <a:gd name="T100" fmla="*/ 274 w 901"/>
                <a:gd name="T101" fmla="*/ 290 h 557"/>
                <a:gd name="T102" fmla="*/ 232 w 901"/>
                <a:gd name="T103" fmla="*/ 280 h 557"/>
                <a:gd name="T104" fmla="*/ 223 w 901"/>
                <a:gd name="T105" fmla="*/ 312 h 557"/>
                <a:gd name="T106" fmla="*/ 140 w 901"/>
                <a:gd name="T107" fmla="*/ 341 h 557"/>
                <a:gd name="T108" fmla="*/ 73 w 901"/>
                <a:gd name="T109" fmla="*/ 325 h 557"/>
                <a:gd name="T110" fmla="*/ 26 w 901"/>
                <a:gd name="T111" fmla="*/ 312 h 557"/>
                <a:gd name="T112" fmla="*/ 13 w 901"/>
                <a:gd name="T113" fmla="*/ 251 h 557"/>
                <a:gd name="T114" fmla="*/ 57 w 901"/>
                <a:gd name="T115" fmla="*/ 166 h 557"/>
                <a:gd name="T116" fmla="*/ 73 w 901"/>
                <a:gd name="T117" fmla="*/ 124 h 557"/>
                <a:gd name="T118" fmla="*/ 54 w 901"/>
                <a:gd name="T119" fmla="*/ 57 h 55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01" h="557">
                  <a:moveTo>
                    <a:pt x="54" y="54"/>
                  </a:moveTo>
                  <a:lnTo>
                    <a:pt x="67" y="45"/>
                  </a:lnTo>
                  <a:lnTo>
                    <a:pt x="83" y="57"/>
                  </a:lnTo>
                  <a:lnTo>
                    <a:pt x="86" y="54"/>
                  </a:lnTo>
                  <a:lnTo>
                    <a:pt x="127" y="45"/>
                  </a:lnTo>
                  <a:lnTo>
                    <a:pt x="143" y="45"/>
                  </a:lnTo>
                  <a:lnTo>
                    <a:pt x="156" y="35"/>
                  </a:lnTo>
                  <a:lnTo>
                    <a:pt x="162" y="35"/>
                  </a:lnTo>
                  <a:lnTo>
                    <a:pt x="182" y="45"/>
                  </a:lnTo>
                  <a:lnTo>
                    <a:pt x="210" y="54"/>
                  </a:lnTo>
                  <a:lnTo>
                    <a:pt x="223" y="57"/>
                  </a:lnTo>
                  <a:lnTo>
                    <a:pt x="226" y="67"/>
                  </a:lnTo>
                  <a:lnTo>
                    <a:pt x="245" y="57"/>
                  </a:lnTo>
                  <a:lnTo>
                    <a:pt x="255" y="67"/>
                  </a:lnTo>
                  <a:lnTo>
                    <a:pt x="261" y="67"/>
                  </a:lnTo>
                  <a:lnTo>
                    <a:pt x="267" y="57"/>
                  </a:lnTo>
                  <a:lnTo>
                    <a:pt x="280" y="57"/>
                  </a:lnTo>
                  <a:lnTo>
                    <a:pt x="290" y="67"/>
                  </a:lnTo>
                  <a:lnTo>
                    <a:pt x="309" y="54"/>
                  </a:lnTo>
                  <a:lnTo>
                    <a:pt x="318" y="57"/>
                  </a:lnTo>
                  <a:lnTo>
                    <a:pt x="325" y="67"/>
                  </a:lnTo>
                  <a:lnTo>
                    <a:pt x="331" y="70"/>
                  </a:lnTo>
                  <a:lnTo>
                    <a:pt x="344" y="57"/>
                  </a:lnTo>
                  <a:lnTo>
                    <a:pt x="357" y="57"/>
                  </a:lnTo>
                  <a:lnTo>
                    <a:pt x="366" y="67"/>
                  </a:lnTo>
                  <a:lnTo>
                    <a:pt x="379" y="57"/>
                  </a:lnTo>
                  <a:lnTo>
                    <a:pt x="388" y="67"/>
                  </a:lnTo>
                  <a:lnTo>
                    <a:pt x="401" y="67"/>
                  </a:lnTo>
                  <a:lnTo>
                    <a:pt x="401" y="45"/>
                  </a:lnTo>
                  <a:lnTo>
                    <a:pt x="414" y="25"/>
                  </a:lnTo>
                  <a:lnTo>
                    <a:pt x="427" y="25"/>
                  </a:lnTo>
                  <a:lnTo>
                    <a:pt x="446" y="16"/>
                  </a:lnTo>
                  <a:lnTo>
                    <a:pt x="458" y="16"/>
                  </a:lnTo>
                  <a:lnTo>
                    <a:pt x="471" y="16"/>
                  </a:lnTo>
                  <a:lnTo>
                    <a:pt x="471" y="6"/>
                  </a:lnTo>
                  <a:lnTo>
                    <a:pt x="484" y="0"/>
                  </a:lnTo>
                  <a:lnTo>
                    <a:pt x="503" y="6"/>
                  </a:lnTo>
                  <a:lnTo>
                    <a:pt x="532" y="6"/>
                  </a:lnTo>
                  <a:lnTo>
                    <a:pt x="544" y="0"/>
                  </a:lnTo>
                  <a:lnTo>
                    <a:pt x="560" y="0"/>
                  </a:lnTo>
                  <a:lnTo>
                    <a:pt x="570" y="25"/>
                  </a:lnTo>
                  <a:lnTo>
                    <a:pt x="583" y="35"/>
                  </a:lnTo>
                  <a:lnTo>
                    <a:pt x="573" y="45"/>
                  </a:lnTo>
                  <a:lnTo>
                    <a:pt x="595" y="70"/>
                  </a:lnTo>
                  <a:lnTo>
                    <a:pt x="624" y="67"/>
                  </a:lnTo>
                  <a:lnTo>
                    <a:pt x="630" y="70"/>
                  </a:lnTo>
                  <a:lnTo>
                    <a:pt x="630" y="83"/>
                  </a:lnTo>
                  <a:lnTo>
                    <a:pt x="643" y="86"/>
                  </a:lnTo>
                  <a:lnTo>
                    <a:pt x="643" y="99"/>
                  </a:lnTo>
                  <a:lnTo>
                    <a:pt x="653" y="115"/>
                  </a:lnTo>
                  <a:lnTo>
                    <a:pt x="672" y="140"/>
                  </a:lnTo>
                  <a:lnTo>
                    <a:pt x="685" y="130"/>
                  </a:lnTo>
                  <a:lnTo>
                    <a:pt x="697" y="140"/>
                  </a:lnTo>
                  <a:lnTo>
                    <a:pt x="713" y="130"/>
                  </a:lnTo>
                  <a:lnTo>
                    <a:pt x="726" y="140"/>
                  </a:lnTo>
                  <a:lnTo>
                    <a:pt x="742" y="124"/>
                  </a:lnTo>
                  <a:lnTo>
                    <a:pt x="748" y="124"/>
                  </a:lnTo>
                  <a:lnTo>
                    <a:pt x="761" y="153"/>
                  </a:lnTo>
                  <a:lnTo>
                    <a:pt x="780" y="166"/>
                  </a:lnTo>
                  <a:lnTo>
                    <a:pt x="783" y="169"/>
                  </a:lnTo>
                  <a:lnTo>
                    <a:pt x="796" y="166"/>
                  </a:lnTo>
                  <a:lnTo>
                    <a:pt x="812" y="169"/>
                  </a:lnTo>
                  <a:lnTo>
                    <a:pt x="825" y="169"/>
                  </a:lnTo>
                  <a:lnTo>
                    <a:pt x="837" y="172"/>
                  </a:lnTo>
                  <a:lnTo>
                    <a:pt x="847" y="172"/>
                  </a:lnTo>
                  <a:lnTo>
                    <a:pt x="866" y="181"/>
                  </a:lnTo>
                  <a:lnTo>
                    <a:pt x="885" y="185"/>
                  </a:lnTo>
                  <a:lnTo>
                    <a:pt x="888" y="172"/>
                  </a:lnTo>
                  <a:lnTo>
                    <a:pt x="895" y="194"/>
                  </a:lnTo>
                  <a:lnTo>
                    <a:pt x="901" y="194"/>
                  </a:lnTo>
                  <a:lnTo>
                    <a:pt x="901" y="210"/>
                  </a:lnTo>
                  <a:lnTo>
                    <a:pt x="895" y="223"/>
                  </a:lnTo>
                  <a:lnTo>
                    <a:pt x="885" y="223"/>
                  </a:lnTo>
                  <a:lnTo>
                    <a:pt x="876" y="242"/>
                  </a:lnTo>
                  <a:lnTo>
                    <a:pt x="895" y="255"/>
                  </a:lnTo>
                  <a:lnTo>
                    <a:pt x="895" y="271"/>
                  </a:lnTo>
                  <a:lnTo>
                    <a:pt x="888" y="296"/>
                  </a:lnTo>
                  <a:lnTo>
                    <a:pt x="888" y="309"/>
                  </a:lnTo>
                  <a:lnTo>
                    <a:pt x="885" y="312"/>
                  </a:lnTo>
                  <a:lnTo>
                    <a:pt x="853" y="312"/>
                  </a:lnTo>
                  <a:lnTo>
                    <a:pt x="844" y="337"/>
                  </a:lnTo>
                  <a:lnTo>
                    <a:pt x="837" y="337"/>
                  </a:lnTo>
                  <a:lnTo>
                    <a:pt x="831" y="366"/>
                  </a:lnTo>
                  <a:lnTo>
                    <a:pt x="825" y="366"/>
                  </a:lnTo>
                  <a:lnTo>
                    <a:pt x="818" y="360"/>
                  </a:lnTo>
                  <a:lnTo>
                    <a:pt x="812" y="360"/>
                  </a:lnTo>
                  <a:lnTo>
                    <a:pt x="802" y="366"/>
                  </a:lnTo>
                  <a:lnTo>
                    <a:pt x="790" y="366"/>
                  </a:lnTo>
                  <a:lnTo>
                    <a:pt x="780" y="372"/>
                  </a:lnTo>
                  <a:lnTo>
                    <a:pt x="780" y="382"/>
                  </a:lnTo>
                  <a:lnTo>
                    <a:pt x="767" y="382"/>
                  </a:lnTo>
                  <a:lnTo>
                    <a:pt x="761" y="388"/>
                  </a:lnTo>
                  <a:lnTo>
                    <a:pt x="748" y="401"/>
                  </a:lnTo>
                  <a:lnTo>
                    <a:pt x="742" y="401"/>
                  </a:lnTo>
                  <a:lnTo>
                    <a:pt x="732" y="401"/>
                  </a:lnTo>
                  <a:lnTo>
                    <a:pt x="720" y="407"/>
                  </a:lnTo>
                  <a:lnTo>
                    <a:pt x="710" y="407"/>
                  </a:lnTo>
                  <a:lnTo>
                    <a:pt x="697" y="414"/>
                  </a:lnTo>
                  <a:lnTo>
                    <a:pt x="691" y="414"/>
                  </a:lnTo>
                  <a:lnTo>
                    <a:pt x="681" y="401"/>
                  </a:lnTo>
                  <a:lnTo>
                    <a:pt x="681" y="407"/>
                  </a:lnTo>
                  <a:lnTo>
                    <a:pt x="685" y="414"/>
                  </a:lnTo>
                  <a:lnTo>
                    <a:pt x="685" y="423"/>
                  </a:lnTo>
                  <a:lnTo>
                    <a:pt x="672" y="436"/>
                  </a:lnTo>
                  <a:lnTo>
                    <a:pt x="669" y="442"/>
                  </a:lnTo>
                  <a:lnTo>
                    <a:pt x="662" y="436"/>
                  </a:lnTo>
                  <a:lnTo>
                    <a:pt x="669" y="436"/>
                  </a:lnTo>
                  <a:lnTo>
                    <a:pt x="681" y="423"/>
                  </a:lnTo>
                  <a:lnTo>
                    <a:pt x="672" y="417"/>
                  </a:lnTo>
                  <a:lnTo>
                    <a:pt x="669" y="414"/>
                  </a:lnTo>
                  <a:lnTo>
                    <a:pt x="669" y="417"/>
                  </a:lnTo>
                  <a:lnTo>
                    <a:pt x="653" y="436"/>
                  </a:lnTo>
                  <a:lnTo>
                    <a:pt x="643" y="442"/>
                  </a:lnTo>
                  <a:lnTo>
                    <a:pt x="640" y="446"/>
                  </a:lnTo>
                  <a:lnTo>
                    <a:pt x="627" y="446"/>
                  </a:lnTo>
                  <a:lnTo>
                    <a:pt x="624" y="442"/>
                  </a:lnTo>
                  <a:lnTo>
                    <a:pt x="614" y="446"/>
                  </a:lnTo>
                  <a:lnTo>
                    <a:pt x="602" y="442"/>
                  </a:lnTo>
                  <a:lnTo>
                    <a:pt x="599" y="446"/>
                  </a:lnTo>
                  <a:lnTo>
                    <a:pt x="611" y="455"/>
                  </a:lnTo>
                  <a:lnTo>
                    <a:pt x="627" y="455"/>
                  </a:lnTo>
                  <a:lnTo>
                    <a:pt x="630" y="458"/>
                  </a:lnTo>
                  <a:lnTo>
                    <a:pt x="640" y="465"/>
                  </a:lnTo>
                  <a:lnTo>
                    <a:pt x="643" y="458"/>
                  </a:lnTo>
                  <a:lnTo>
                    <a:pt x="653" y="465"/>
                  </a:lnTo>
                  <a:lnTo>
                    <a:pt x="643" y="471"/>
                  </a:lnTo>
                  <a:lnTo>
                    <a:pt x="643" y="474"/>
                  </a:lnTo>
                  <a:lnTo>
                    <a:pt x="653" y="474"/>
                  </a:lnTo>
                  <a:lnTo>
                    <a:pt x="653" y="484"/>
                  </a:lnTo>
                  <a:lnTo>
                    <a:pt x="656" y="474"/>
                  </a:lnTo>
                  <a:lnTo>
                    <a:pt x="662" y="484"/>
                  </a:lnTo>
                  <a:lnTo>
                    <a:pt x="669" y="493"/>
                  </a:lnTo>
                  <a:lnTo>
                    <a:pt x="672" y="500"/>
                  </a:lnTo>
                  <a:lnTo>
                    <a:pt x="685" y="503"/>
                  </a:lnTo>
                  <a:lnTo>
                    <a:pt x="691" y="500"/>
                  </a:lnTo>
                  <a:lnTo>
                    <a:pt x="672" y="484"/>
                  </a:lnTo>
                  <a:lnTo>
                    <a:pt x="653" y="458"/>
                  </a:lnTo>
                  <a:lnTo>
                    <a:pt x="653" y="446"/>
                  </a:lnTo>
                  <a:lnTo>
                    <a:pt x="653" y="442"/>
                  </a:lnTo>
                  <a:lnTo>
                    <a:pt x="662" y="455"/>
                  </a:lnTo>
                  <a:lnTo>
                    <a:pt x="662" y="471"/>
                  </a:lnTo>
                  <a:lnTo>
                    <a:pt x="691" y="500"/>
                  </a:lnTo>
                  <a:lnTo>
                    <a:pt x="697" y="500"/>
                  </a:lnTo>
                  <a:lnTo>
                    <a:pt x="710" y="493"/>
                  </a:lnTo>
                  <a:lnTo>
                    <a:pt x="713" y="493"/>
                  </a:lnTo>
                  <a:lnTo>
                    <a:pt x="726" y="500"/>
                  </a:lnTo>
                  <a:lnTo>
                    <a:pt x="726" y="487"/>
                  </a:lnTo>
                  <a:lnTo>
                    <a:pt x="742" y="484"/>
                  </a:lnTo>
                  <a:lnTo>
                    <a:pt x="761" y="487"/>
                  </a:lnTo>
                  <a:lnTo>
                    <a:pt x="755" y="493"/>
                  </a:lnTo>
                  <a:lnTo>
                    <a:pt x="748" y="500"/>
                  </a:lnTo>
                  <a:lnTo>
                    <a:pt x="755" y="503"/>
                  </a:lnTo>
                  <a:lnTo>
                    <a:pt x="748" y="516"/>
                  </a:lnTo>
                  <a:lnTo>
                    <a:pt x="732" y="516"/>
                  </a:lnTo>
                  <a:lnTo>
                    <a:pt x="710" y="512"/>
                  </a:lnTo>
                  <a:lnTo>
                    <a:pt x="697" y="516"/>
                  </a:lnTo>
                  <a:lnTo>
                    <a:pt x="685" y="535"/>
                  </a:lnTo>
                  <a:lnTo>
                    <a:pt x="669" y="535"/>
                  </a:lnTo>
                  <a:lnTo>
                    <a:pt x="643" y="554"/>
                  </a:lnTo>
                  <a:lnTo>
                    <a:pt x="624" y="557"/>
                  </a:lnTo>
                  <a:lnTo>
                    <a:pt x="602" y="557"/>
                  </a:lnTo>
                  <a:lnTo>
                    <a:pt x="595" y="554"/>
                  </a:lnTo>
                  <a:lnTo>
                    <a:pt x="599" y="544"/>
                  </a:lnTo>
                  <a:lnTo>
                    <a:pt x="602" y="528"/>
                  </a:lnTo>
                  <a:lnTo>
                    <a:pt x="602" y="525"/>
                  </a:lnTo>
                  <a:lnTo>
                    <a:pt x="586" y="503"/>
                  </a:lnTo>
                  <a:lnTo>
                    <a:pt x="583" y="503"/>
                  </a:lnTo>
                  <a:lnTo>
                    <a:pt x="570" y="500"/>
                  </a:lnTo>
                  <a:lnTo>
                    <a:pt x="557" y="503"/>
                  </a:lnTo>
                  <a:lnTo>
                    <a:pt x="554" y="503"/>
                  </a:lnTo>
                  <a:lnTo>
                    <a:pt x="560" y="487"/>
                  </a:lnTo>
                  <a:lnTo>
                    <a:pt x="583" y="474"/>
                  </a:lnTo>
                  <a:lnTo>
                    <a:pt x="599" y="471"/>
                  </a:lnTo>
                  <a:lnTo>
                    <a:pt x="602" y="471"/>
                  </a:lnTo>
                  <a:lnTo>
                    <a:pt x="599" y="458"/>
                  </a:lnTo>
                  <a:lnTo>
                    <a:pt x="595" y="446"/>
                  </a:lnTo>
                  <a:lnTo>
                    <a:pt x="586" y="446"/>
                  </a:lnTo>
                  <a:lnTo>
                    <a:pt x="586" y="455"/>
                  </a:lnTo>
                  <a:lnTo>
                    <a:pt x="573" y="446"/>
                  </a:lnTo>
                  <a:lnTo>
                    <a:pt x="560" y="442"/>
                  </a:lnTo>
                  <a:lnTo>
                    <a:pt x="554" y="446"/>
                  </a:lnTo>
                  <a:lnTo>
                    <a:pt x="541" y="455"/>
                  </a:lnTo>
                  <a:lnTo>
                    <a:pt x="529" y="446"/>
                  </a:lnTo>
                  <a:lnTo>
                    <a:pt x="525" y="446"/>
                  </a:lnTo>
                  <a:lnTo>
                    <a:pt x="513" y="436"/>
                  </a:lnTo>
                  <a:lnTo>
                    <a:pt x="516" y="436"/>
                  </a:lnTo>
                  <a:lnTo>
                    <a:pt x="525" y="430"/>
                  </a:lnTo>
                  <a:lnTo>
                    <a:pt x="503" y="423"/>
                  </a:lnTo>
                  <a:lnTo>
                    <a:pt x="484" y="423"/>
                  </a:lnTo>
                  <a:lnTo>
                    <a:pt x="484" y="417"/>
                  </a:lnTo>
                  <a:lnTo>
                    <a:pt x="497" y="417"/>
                  </a:lnTo>
                  <a:lnTo>
                    <a:pt x="513" y="417"/>
                  </a:lnTo>
                  <a:lnTo>
                    <a:pt x="525" y="417"/>
                  </a:lnTo>
                  <a:lnTo>
                    <a:pt x="529" y="414"/>
                  </a:lnTo>
                  <a:lnTo>
                    <a:pt x="541" y="407"/>
                  </a:lnTo>
                  <a:lnTo>
                    <a:pt x="525" y="414"/>
                  </a:lnTo>
                  <a:lnTo>
                    <a:pt x="516" y="407"/>
                  </a:lnTo>
                  <a:lnTo>
                    <a:pt x="503" y="407"/>
                  </a:lnTo>
                  <a:lnTo>
                    <a:pt x="503" y="395"/>
                  </a:lnTo>
                  <a:lnTo>
                    <a:pt x="500" y="407"/>
                  </a:lnTo>
                  <a:lnTo>
                    <a:pt x="497" y="414"/>
                  </a:lnTo>
                  <a:lnTo>
                    <a:pt x="487" y="414"/>
                  </a:lnTo>
                  <a:lnTo>
                    <a:pt x="487" y="407"/>
                  </a:lnTo>
                  <a:lnTo>
                    <a:pt x="484" y="401"/>
                  </a:lnTo>
                  <a:lnTo>
                    <a:pt x="471" y="417"/>
                  </a:lnTo>
                  <a:lnTo>
                    <a:pt x="455" y="417"/>
                  </a:lnTo>
                  <a:lnTo>
                    <a:pt x="446" y="423"/>
                  </a:lnTo>
                  <a:lnTo>
                    <a:pt x="446" y="436"/>
                  </a:lnTo>
                  <a:lnTo>
                    <a:pt x="436" y="455"/>
                  </a:lnTo>
                  <a:lnTo>
                    <a:pt x="430" y="455"/>
                  </a:lnTo>
                  <a:lnTo>
                    <a:pt x="436" y="458"/>
                  </a:lnTo>
                  <a:lnTo>
                    <a:pt x="414" y="484"/>
                  </a:lnTo>
                  <a:lnTo>
                    <a:pt x="408" y="484"/>
                  </a:lnTo>
                  <a:lnTo>
                    <a:pt x="401" y="474"/>
                  </a:lnTo>
                  <a:lnTo>
                    <a:pt x="401" y="484"/>
                  </a:lnTo>
                  <a:lnTo>
                    <a:pt x="401" y="493"/>
                  </a:lnTo>
                  <a:lnTo>
                    <a:pt x="408" y="500"/>
                  </a:lnTo>
                  <a:lnTo>
                    <a:pt x="401" y="503"/>
                  </a:lnTo>
                  <a:lnTo>
                    <a:pt x="398" y="500"/>
                  </a:lnTo>
                  <a:lnTo>
                    <a:pt x="379" y="500"/>
                  </a:lnTo>
                  <a:lnTo>
                    <a:pt x="366" y="503"/>
                  </a:lnTo>
                  <a:lnTo>
                    <a:pt x="347" y="503"/>
                  </a:lnTo>
                  <a:lnTo>
                    <a:pt x="331" y="503"/>
                  </a:lnTo>
                  <a:lnTo>
                    <a:pt x="325" y="487"/>
                  </a:lnTo>
                  <a:lnTo>
                    <a:pt x="331" y="484"/>
                  </a:lnTo>
                  <a:lnTo>
                    <a:pt x="344" y="487"/>
                  </a:lnTo>
                  <a:lnTo>
                    <a:pt x="344" y="474"/>
                  </a:lnTo>
                  <a:lnTo>
                    <a:pt x="357" y="458"/>
                  </a:lnTo>
                  <a:lnTo>
                    <a:pt x="360" y="458"/>
                  </a:lnTo>
                  <a:lnTo>
                    <a:pt x="357" y="446"/>
                  </a:lnTo>
                  <a:lnTo>
                    <a:pt x="360" y="423"/>
                  </a:lnTo>
                  <a:lnTo>
                    <a:pt x="373" y="423"/>
                  </a:lnTo>
                  <a:lnTo>
                    <a:pt x="385" y="417"/>
                  </a:lnTo>
                  <a:lnTo>
                    <a:pt x="388" y="423"/>
                  </a:lnTo>
                  <a:lnTo>
                    <a:pt x="408" y="423"/>
                  </a:lnTo>
                  <a:lnTo>
                    <a:pt x="414" y="417"/>
                  </a:lnTo>
                  <a:lnTo>
                    <a:pt x="401" y="414"/>
                  </a:lnTo>
                  <a:lnTo>
                    <a:pt x="408" y="401"/>
                  </a:lnTo>
                  <a:lnTo>
                    <a:pt x="408" y="388"/>
                  </a:lnTo>
                  <a:lnTo>
                    <a:pt x="388" y="382"/>
                  </a:lnTo>
                  <a:lnTo>
                    <a:pt x="373" y="372"/>
                  </a:lnTo>
                  <a:lnTo>
                    <a:pt x="373" y="366"/>
                  </a:lnTo>
                  <a:lnTo>
                    <a:pt x="360" y="360"/>
                  </a:lnTo>
                  <a:lnTo>
                    <a:pt x="360" y="341"/>
                  </a:lnTo>
                  <a:lnTo>
                    <a:pt x="360" y="325"/>
                  </a:lnTo>
                  <a:lnTo>
                    <a:pt x="344" y="318"/>
                  </a:lnTo>
                  <a:lnTo>
                    <a:pt x="325" y="302"/>
                  </a:lnTo>
                  <a:lnTo>
                    <a:pt x="318" y="302"/>
                  </a:lnTo>
                  <a:lnTo>
                    <a:pt x="318" y="309"/>
                  </a:lnTo>
                  <a:lnTo>
                    <a:pt x="302" y="309"/>
                  </a:lnTo>
                  <a:lnTo>
                    <a:pt x="283" y="290"/>
                  </a:lnTo>
                  <a:lnTo>
                    <a:pt x="274" y="290"/>
                  </a:lnTo>
                  <a:lnTo>
                    <a:pt x="261" y="280"/>
                  </a:lnTo>
                  <a:lnTo>
                    <a:pt x="255" y="283"/>
                  </a:lnTo>
                  <a:lnTo>
                    <a:pt x="245" y="283"/>
                  </a:lnTo>
                  <a:lnTo>
                    <a:pt x="232" y="280"/>
                  </a:lnTo>
                  <a:lnTo>
                    <a:pt x="232" y="283"/>
                  </a:lnTo>
                  <a:lnTo>
                    <a:pt x="223" y="280"/>
                  </a:lnTo>
                  <a:lnTo>
                    <a:pt x="223" y="296"/>
                  </a:lnTo>
                  <a:lnTo>
                    <a:pt x="223" y="302"/>
                  </a:lnTo>
                  <a:lnTo>
                    <a:pt x="223" y="312"/>
                  </a:lnTo>
                  <a:lnTo>
                    <a:pt x="210" y="318"/>
                  </a:lnTo>
                  <a:lnTo>
                    <a:pt x="197" y="325"/>
                  </a:lnTo>
                  <a:lnTo>
                    <a:pt x="162" y="331"/>
                  </a:lnTo>
                  <a:lnTo>
                    <a:pt x="153" y="341"/>
                  </a:lnTo>
                  <a:lnTo>
                    <a:pt x="140" y="341"/>
                  </a:lnTo>
                  <a:lnTo>
                    <a:pt x="124" y="350"/>
                  </a:lnTo>
                  <a:lnTo>
                    <a:pt x="111" y="341"/>
                  </a:lnTo>
                  <a:lnTo>
                    <a:pt x="102" y="337"/>
                  </a:lnTo>
                  <a:lnTo>
                    <a:pt x="96" y="331"/>
                  </a:lnTo>
                  <a:lnTo>
                    <a:pt x="73" y="325"/>
                  </a:lnTo>
                  <a:lnTo>
                    <a:pt x="57" y="312"/>
                  </a:lnTo>
                  <a:lnTo>
                    <a:pt x="45" y="312"/>
                  </a:lnTo>
                  <a:lnTo>
                    <a:pt x="41" y="325"/>
                  </a:lnTo>
                  <a:lnTo>
                    <a:pt x="29" y="325"/>
                  </a:lnTo>
                  <a:lnTo>
                    <a:pt x="26" y="312"/>
                  </a:lnTo>
                  <a:lnTo>
                    <a:pt x="13" y="302"/>
                  </a:lnTo>
                  <a:lnTo>
                    <a:pt x="0" y="290"/>
                  </a:lnTo>
                  <a:lnTo>
                    <a:pt x="0" y="271"/>
                  </a:lnTo>
                  <a:lnTo>
                    <a:pt x="13" y="251"/>
                  </a:lnTo>
                  <a:lnTo>
                    <a:pt x="26" y="251"/>
                  </a:lnTo>
                  <a:lnTo>
                    <a:pt x="26" y="229"/>
                  </a:lnTo>
                  <a:lnTo>
                    <a:pt x="26" y="213"/>
                  </a:lnTo>
                  <a:lnTo>
                    <a:pt x="57" y="181"/>
                  </a:lnTo>
                  <a:lnTo>
                    <a:pt x="57" y="166"/>
                  </a:lnTo>
                  <a:lnTo>
                    <a:pt x="70" y="156"/>
                  </a:lnTo>
                  <a:lnTo>
                    <a:pt x="73" y="153"/>
                  </a:lnTo>
                  <a:lnTo>
                    <a:pt x="83" y="140"/>
                  </a:lnTo>
                  <a:lnTo>
                    <a:pt x="73" y="127"/>
                  </a:lnTo>
                  <a:lnTo>
                    <a:pt x="73" y="124"/>
                  </a:lnTo>
                  <a:lnTo>
                    <a:pt x="83" y="115"/>
                  </a:lnTo>
                  <a:lnTo>
                    <a:pt x="70" y="111"/>
                  </a:lnTo>
                  <a:lnTo>
                    <a:pt x="57" y="95"/>
                  </a:lnTo>
                  <a:lnTo>
                    <a:pt x="54" y="86"/>
                  </a:lnTo>
                  <a:lnTo>
                    <a:pt x="54" y="57"/>
                  </a:lnTo>
                  <a:lnTo>
                    <a:pt x="54" y="54"/>
                  </a:lnTo>
                  <a:close/>
                </a:path>
              </a:pathLst>
            </a:custGeom>
            <a:solidFill>
              <a:schemeClr val="bg1"/>
            </a:solidFill>
            <a:ln w="6350">
              <a:solidFill>
                <a:schemeClr val="accent2"/>
              </a:solidFill>
              <a:round/>
              <a:headEnd/>
              <a:tailEnd/>
            </a:ln>
          </p:spPr>
          <p:txBody>
            <a:bodyPr/>
            <a:lstStyle/>
            <a:p>
              <a:endParaRPr lang="de-DE"/>
            </a:p>
          </p:txBody>
        </p:sp>
        <p:sp>
          <p:nvSpPr>
            <p:cNvPr id="188" name="Freeform 28"/>
            <p:cNvSpPr>
              <a:spLocks/>
            </p:cNvSpPr>
            <p:nvPr/>
          </p:nvSpPr>
          <p:spPr bwMode="gray">
            <a:xfrm>
              <a:off x="3372" y="1492"/>
              <a:ext cx="901" cy="557"/>
            </a:xfrm>
            <a:custGeom>
              <a:avLst/>
              <a:gdLst>
                <a:gd name="T0" fmla="*/ 127 w 901"/>
                <a:gd name="T1" fmla="*/ 45 h 557"/>
                <a:gd name="T2" fmla="*/ 210 w 901"/>
                <a:gd name="T3" fmla="*/ 54 h 557"/>
                <a:gd name="T4" fmla="*/ 261 w 901"/>
                <a:gd name="T5" fmla="*/ 67 h 557"/>
                <a:gd name="T6" fmla="*/ 318 w 901"/>
                <a:gd name="T7" fmla="*/ 57 h 557"/>
                <a:gd name="T8" fmla="*/ 366 w 901"/>
                <a:gd name="T9" fmla="*/ 67 h 557"/>
                <a:gd name="T10" fmla="*/ 414 w 901"/>
                <a:gd name="T11" fmla="*/ 25 h 557"/>
                <a:gd name="T12" fmla="*/ 471 w 901"/>
                <a:gd name="T13" fmla="*/ 6 h 557"/>
                <a:gd name="T14" fmla="*/ 560 w 901"/>
                <a:gd name="T15" fmla="*/ 0 h 557"/>
                <a:gd name="T16" fmla="*/ 624 w 901"/>
                <a:gd name="T17" fmla="*/ 67 h 557"/>
                <a:gd name="T18" fmla="*/ 653 w 901"/>
                <a:gd name="T19" fmla="*/ 115 h 557"/>
                <a:gd name="T20" fmla="*/ 726 w 901"/>
                <a:gd name="T21" fmla="*/ 140 h 557"/>
                <a:gd name="T22" fmla="*/ 783 w 901"/>
                <a:gd name="T23" fmla="*/ 169 h 557"/>
                <a:gd name="T24" fmla="*/ 847 w 901"/>
                <a:gd name="T25" fmla="*/ 172 h 557"/>
                <a:gd name="T26" fmla="*/ 901 w 901"/>
                <a:gd name="T27" fmla="*/ 194 h 557"/>
                <a:gd name="T28" fmla="*/ 895 w 901"/>
                <a:gd name="T29" fmla="*/ 255 h 557"/>
                <a:gd name="T30" fmla="*/ 853 w 901"/>
                <a:gd name="T31" fmla="*/ 312 h 557"/>
                <a:gd name="T32" fmla="*/ 818 w 901"/>
                <a:gd name="T33" fmla="*/ 360 h 557"/>
                <a:gd name="T34" fmla="*/ 780 w 901"/>
                <a:gd name="T35" fmla="*/ 382 h 557"/>
                <a:gd name="T36" fmla="*/ 732 w 901"/>
                <a:gd name="T37" fmla="*/ 401 h 557"/>
                <a:gd name="T38" fmla="*/ 681 w 901"/>
                <a:gd name="T39" fmla="*/ 401 h 557"/>
                <a:gd name="T40" fmla="*/ 672 w 901"/>
                <a:gd name="T41" fmla="*/ 436 h 557"/>
                <a:gd name="T42" fmla="*/ 672 w 901"/>
                <a:gd name="T43" fmla="*/ 417 h 557"/>
                <a:gd name="T44" fmla="*/ 640 w 901"/>
                <a:gd name="T45" fmla="*/ 446 h 557"/>
                <a:gd name="T46" fmla="*/ 599 w 901"/>
                <a:gd name="T47" fmla="*/ 446 h 557"/>
                <a:gd name="T48" fmla="*/ 643 w 901"/>
                <a:gd name="T49" fmla="*/ 458 h 557"/>
                <a:gd name="T50" fmla="*/ 653 w 901"/>
                <a:gd name="T51" fmla="*/ 474 h 557"/>
                <a:gd name="T52" fmla="*/ 672 w 901"/>
                <a:gd name="T53" fmla="*/ 500 h 557"/>
                <a:gd name="T54" fmla="*/ 653 w 901"/>
                <a:gd name="T55" fmla="*/ 446 h 557"/>
                <a:gd name="T56" fmla="*/ 697 w 901"/>
                <a:gd name="T57" fmla="*/ 500 h 557"/>
                <a:gd name="T58" fmla="*/ 742 w 901"/>
                <a:gd name="T59" fmla="*/ 484 h 557"/>
                <a:gd name="T60" fmla="*/ 748 w 901"/>
                <a:gd name="T61" fmla="*/ 516 h 557"/>
                <a:gd name="T62" fmla="*/ 669 w 901"/>
                <a:gd name="T63" fmla="*/ 535 h 557"/>
                <a:gd name="T64" fmla="*/ 599 w 901"/>
                <a:gd name="T65" fmla="*/ 544 h 557"/>
                <a:gd name="T66" fmla="*/ 570 w 901"/>
                <a:gd name="T67" fmla="*/ 500 h 557"/>
                <a:gd name="T68" fmla="*/ 599 w 901"/>
                <a:gd name="T69" fmla="*/ 471 h 557"/>
                <a:gd name="T70" fmla="*/ 586 w 901"/>
                <a:gd name="T71" fmla="*/ 455 h 557"/>
                <a:gd name="T72" fmla="*/ 529 w 901"/>
                <a:gd name="T73" fmla="*/ 446 h 557"/>
                <a:gd name="T74" fmla="*/ 503 w 901"/>
                <a:gd name="T75" fmla="*/ 423 h 557"/>
                <a:gd name="T76" fmla="*/ 525 w 901"/>
                <a:gd name="T77" fmla="*/ 417 h 557"/>
                <a:gd name="T78" fmla="*/ 503 w 901"/>
                <a:gd name="T79" fmla="*/ 407 h 557"/>
                <a:gd name="T80" fmla="*/ 487 w 901"/>
                <a:gd name="T81" fmla="*/ 407 h 557"/>
                <a:gd name="T82" fmla="*/ 446 w 901"/>
                <a:gd name="T83" fmla="*/ 436 h 557"/>
                <a:gd name="T84" fmla="*/ 408 w 901"/>
                <a:gd name="T85" fmla="*/ 484 h 557"/>
                <a:gd name="T86" fmla="*/ 401 w 901"/>
                <a:gd name="T87" fmla="*/ 503 h 557"/>
                <a:gd name="T88" fmla="*/ 347 w 901"/>
                <a:gd name="T89" fmla="*/ 503 h 557"/>
                <a:gd name="T90" fmla="*/ 344 w 901"/>
                <a:gd name="T91" fmla="*/ 474 h 557"/>
                <a:gd name="T92" fmla="*/ 373 w 901"/>
                <a:gd name="T93" fmla="*/ 423 h 557"/>
                <a:gd name="T94" fmla="*/ 401 w 901"/>
                <a:gd name="T95" fmla="*/ 414 h 557"/>
                <a:gd name="T96" fmla="*/ 373 w 901"/>
                <a:gd name="T97" fmla="*/ 366 h 557"/>
                <a:gd name="T98" fmla="*/ 325 w 901"/>
                <a:gd name="T99" fmla="*/ 302 h 557"/>
                <a:gd name="T100" fmla="*/ 274 w 901"/>
                <a:gd name="T101" fmla="*/ 290 h 557"/>
                <a:gd name="T102" fmla="*/ 232 w 901"/>
                <a:gd name="T103" fmla="*/ 280 h 557"/>
                <a:gd name="T104" fmla="*/ 223 w 901"/>
                <a:gd name="T105" fmla="*/ 312 h 557"/>
                <a:gd name="T106" fmla="*/ 140 w 901"/>
                <a:gd name="T107" fmla="*/ 341 h 557"/>
                <a:gd name="T108" fmla="*/ 73 w 901"/>
                <a:gd name="T109" fmla="*/ 325 h 557"/>
                <a:gd name="T110" fmla="*/ 26 w 901"/>
                <a:gd name="T111" fmla="*/ 312 h 557"/>
                <a:gd name="T112" fmla="*/ 13 w 901"/>
                <a:gd name="T113" fmla="*/ 251 h 557"/>
                <a:gd name="T114" fmla="*/ 57 w 901"/>
                <a:gd name="T115" fmla="*/ 166 h 557"/>
                <a:gd name="T116" fmla="*/ 73 w 901"/>
                <a:gd name="T117" fmla="*/ 124 h 557"/>
                <a:gd name="T118" fmla="*/ 54 w 901"/>
                <a:gd name="T119" fmla="*/ 57 h 55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01" h="557">
                  <a:moveTo>
                    <a:pt x="54" y="54"/>
                  </a:moveTo>
                  <a:lnTo>
                    <a:pt x="67" y="45"/>
                  </a:lnTo>
                  <a:lnTo>
                    <a:pt x="83" y="57"/>
                  </a:lnTo>
                  <a:lnTo>
                    <a:pt x="86" y="54"/>
                  </a:lnTo>
                  <a:lnTo>
                    <a:pt x="127" y="45"/>
                  </a:lnTo>
                  <a:lnTo>
                    <a:pt x="143" y="45"/>
                  </a:lnTo>
                  <a:lnTo>
                    <a:pt x="156" y="35"/>
                  </a:lnTo>
                  <a:lnTo>
                    <a:pt x="162" y="35"/>
                  </a:lnTo>
                  <a:lnTo>
                    <a:pt x="182" y="45"/>
                  </a:lnTo>
                  <a:lnTo>
                    <a:pt x="210" y="54"/>
                  </a:lnTo>
                  <a:lnTo>
                    <a:pt x="223" y="57"/>
                  </a:lnTo>
                  <a:lnTo>
                    <a:pt x="226" y="67"/>
                  </a:lnTo>
                  <a:lnTo>
                    <a:pt x="245" y="57"/>
                  </a:lnTo>
                  <a:lnTo>
                    <a:pt x="255" y="67"/>
                  </a:lnTo>
                  <a:lnTo>
                    <a:pt x="261" y="67"/>
                  </a:lnTo>
                  <a:lnTo>
                    <a:pt x="267" y="57"/>
                  </a:lnTo>
                  <a:lnTo>
                    <a:pt x="280" y="57"/>
                  </a:lnTo>
                  <a:lnTo>
                    <a:pt x="290" y="67"/>
                  </a:lnTo>
                  <a:lnTo>
                    <a:pt x="309" y="54"/>
                  </a:lnTo>
                  <a:lnTo>
                    <a:pt x="318" y="57"/>
                  </a:lnTo>
                  <a:lnTo>
                    <a:pt x="325" y="67"/>
                  </a:lnTo>
                  <a:lnTo>
                    <a:pt x="331" y="70"/>
                  </a:lnTo>
                  <a:lnTo>
                    <a:pt x="344" y="57"/>
                  </a:lnTo>
                  <a:lnTo>
                    <a:pt x="357" y="57"/>
                  </a:lnTo>
                  <a:lnTo>
                    <a:pt x="366" y="67"/>
                  </a:lnTo>
                  <a:lnTo>
                    <a:pt x="379" y="57"/>
                  </a:lnTo>
                  <a:lnTo>
                    <a:pt x="388" y="67"/>
                  </a:lnTo>
                  <a:lnTo>
                    <a:pt x="401" y="67"/>
                  </a:lnTo>
                  <a:lnTo>
                    <a:pt x="401" y="45"/>
                  </a:lnTo>
                  <a:lnTo>
                    <a:pt x="414" y="25"/>
                  </a:lnTo>
                  <a:lnTo>
                    <a:pt x="427" y="25"/>
                  </a:lnTo>
                  <a:lnTo>
                    <a:pt x="446" y="16"/>
                  </a:lnTo>
                  <a:lnTo>
                    <a:pt x="458" y="16"/>
                  </a:lnTo>
                  <a:lnTo>
                    <a:pt x="471" y="16"/>
                  </a:lnTo>
                  <a:lnTo>
                    <a:pt x="471" y="6"/>
                  </a:lnTo>
                  <a:lnTo>
                    <a:pt x="484" y="0"/>
                  </a:lnTo>
                  <a:lnTo>
                    <a:pt x="503" y="6"/>
                  </a:lnTo>
                  <a:lnTo>
                    <a:pt x="532" y="6"/>
                  </a:lnTo>
                  <a:lnTo>
                    <a:pt x="544" y="0"/>
                  </a:lnTo>
                  <a:lnTo>
                    <a:pt x="560" y="0"/>
                  </a:lnTo>
                  <a:lnTo>
                    <a:pt x="570" y="25"/>
                  </a:lnTo>
                  <a:lnTo>
                    <a:pt x="583" y="35"/>
                  </a:lnTo>
                  <a:lnTo>
                    <a:pt x="573" y="45"/>
                  </a:lnTo>
                  <a:lnTo>
                    <a:pt x="595" y="70"/>
                  </a:lnTo>
                  <a:lnTo>
                    <a:pt x="624" y="67"/>
                  </a:lnTo>
                  <a:lnTo>
                    <a:pt x="630" y="70"/>
                  </a:lnTo>
                  <a:lnTo>
                    <a:pt x="630" y="83"/>
                  </a:lnTo>
                  <a:lnTo>
                    <a:pt x="643" y="86"/>
                  </a:lnTo>
                  <a:lnTo>
                    <a:pt x="643" y="99"/>
                  </a:lnTo>
                  <a:lnTo>
                    <a:pt x="653" y="115"/>
                  </a:lnTo>
                  <a:lnTo>
                    <a:pt x="672" y="140"/>
                  </a:lnTo>
                  <a:lnTo>
                    <a:pt x="685" y="130"/>
                  </a:lnTo>
                  <a:lnTo>
                    <a:pt x="697" y="140"/>
                  </a:lnTo>
                  <a:lnTo>
                    <a:pt x="713" y="130"/>
                  </a:lnTo>
                  <a:lnTo>
                    <a:pt x="726" y="140"/>
                  </a:lnTo>
                  <a:lnTo>
                    <a:pt x="742" y="124"/>
                  </a:lnTo>
                  <a:lnTo>
                    <a:pt x="748" y="124"/>
                  </a:lnTo>
                  <a:lnTo>
                    <a:pt x="761" y="153"/>
                  </a:lnTo>
                  <a:lnTo>
                    <a:pt x="780" y="166"/>
                  </a:lnTo>
                  <a:lnTo>
                    <a:pt x="783" y="169"/>
                  </a:lnTo>
                  <a:lnTo>
                    <a:pt x="796" y="166"/>
                  </a:lnTo>
                  <a:lnTo>
                    <a:pt x="812" y="169"/>
                  </a:lnTo>
                  <a:lnTo>
                    <a:pt x="825" y="169"/>
                  </a:lnTo>
                  <a:lnTo>
                    <a:pt x="837" y="172"/>
                  </a:lnTo>
                  <a:lnTo>
                    <a:pt x="847" y="172"/>
                  </a:lnTo>
                  <a:lnTo>
                    <a:pt x="866" y="181"/>
                  </a:lnTo>
                  <a:lnTo>
                    <a:pt x="885" y="185"/>
                  </a:lnTo>
                  <a:lnTo>
                    <a:pt x="888" y="172"/>
                  </a:lnTo>
                  <a:lnTo>
                    <a:pt x="895" y="194"/>
                  </a:lnTo>
                  <a:lnTo>
                    <a:pt x="901" y="194"/>
                  </a:lnTo>
                  <a:lnTo>
                    <a:pt x="901" y="210"/>
                  </a:lnTo>
                  <a:lnTo>
                    <a:pt x="895" y="223"/>
                  </a:lnTo>
                  <a:lnTo>
                    <a:pt x="885" y="223"/>
                  </a:lnTo>
                  <a:lnTo>
                    <a:pt x="876" y="242"/>
                  </a:lnTo>
                  <a:lnTo>
                    <a:pt x="895" y="255"/>
                  </a:lnTo>
                  <a:lnTo>
                    <a:pt x="895" y="271"/>
                  </a:lnTo>
                  <a:lnTo>
                    <a:pt x="888" y="296"/>
                  </a:lnTo>
                  <a:lnTo>
                    <a:pt x="888" y="309"/>
                  </a:lnTo>
                  <a:lnTo>
                    <a:pt x="885" y="312"/>
                  </a:lnTo>
                  <a:lnTo>
                    <a:pt x="853" y="312"/>
                  </a:lnTo>
                  <a:lnTo>
                    <a:pt x="844" y="337"/>
                  </a:lnTo>
                  <a:lnTo>
                    <a:pt x="837" y="337"/>
                  </a:lnTo>
                  <a:lnTo>
                    <a:pt x="831" y="366"/>
                  </a:lnTo>
                  <a:lnTo>
                    <a:pt x="825" y="366"/>
                  </a:lnTo>
                  <a:lnTo>
                    <a:pt x="818" y="360"/>
                  </a:lnTo>
                  <a:lnTo>
                    <a:pt x="812" y="360"/>
                  </a:lnTo>
                  <a:lnTo>
                    <a:pt x="802" y="366"/>
                  </a:lnTo>
                  <a:lnTo>
                    <a:pt x="790" y="366"/>
                  </a:lnTo>
                  <a:lnTo>
                    <a:pt x="780" y="372"/>
                  </a:lnTo>
                  <a:lnTo>
                    <a:pt x="780" y="382"/>
                  </a:lnTo>
                  <a:lnTo>
                    <a:pt x="767" y="382"/>
                  </a:lnTo>
                  <a:lnTo>
                    <a:pt x="761" y="388"/>
                  </a:lnTo>
                  <a:lnTo>
                    <a:pt x="748" y="401"/>
                  </a:lnTo>
                  <a:lnTo>
                    <a:pt x="742" y="401"/>
                  </a:lnTo>
                  <a:lnTo>
                    <a:pt x="732" y="401"/>
                  </a:lnTo>
                  <a:lnTo>
                    <a:pt x="720" y="407"/>
                  </a:lnTo>
                  <a:lnTo>
                    <a:pt x="710" y="407"/>
                  </a:lnTo>
                  <a:lnTo>
                    <a:pt x="697" y="414"/>
                  </a:lnTo>
                  <a:lnTo>
                    <a:pt x="691" y="414"/>
                  </a:lnTo>
                  <a:lnTo>
                    <a:pt x="681" y="401"/>
                  </a:lnTo>
                  <a:lnTo>
                    <a:pt x="681" y="407"/>
                  </a:lnTo>
                  <a:lnTo>
                    <a:pt x="685" y="414"/>
                  </a:lnTo>
                  <a:lnTo>
                    <a:pt x="685" y="423"/>
                  </a:lnTo>
                  <a:lnTo>
                    <a:pt x="672" y="436"/>
                  </a:lnTo>
                  <a:lnTo>
                    <a:pt x="669" y="442"/>
                  </a:lnTo>
                  <a:lnTo>
                    <a:pt x="662" y="436"/>
                  </a:lnTo>
                  <a:lnTo>
                    <a:pt x="669" y="436"/>
                  </a:lnTo>
                  <a:lnTo>
                    <a:pt x="681" y="423"/>
                  </a:lnTo>
                  <a:lnTo>
                    <a:pt x="672" y="417"/>
                  </a:lnTo>
                  <a:lnTo>
                    <a:pt x="669" y="414"/>
                  </a:lnTo>
                  <a:lnTo>
                    <a:pt x="669" y="417"/>
                  </a:lnTo>
                  <a:lnTo>
                    <a:pt x="653" y="436"/>
                  </a:lnTo>
                  <a:lnTo>
                    <a:pt x="643" y="442"/>
                  </a:lnTo>
                  <a:lnTo>
                    <a:pt x="640" y="446"/>
                  </a:lnTo>
                  <a:lnTo>
                    <a:pt x="627" y="446"/>
                  </a:lnTo>
                  <a:lnTo>
                    <a:pt x="624" y="442"/>
                  </a:lnTo>
                  <a:lnTo>
                    <a:pt x="614" y="446"/>
                  </a:lnTo>
                  <a:lnTo>
                    <a:pt x="602" y="442"/>
                  </a:lnTo>
                  <a:lnTo>
                    <a:pt x="599" y="446"/>
                  </a:lnTo>
                  <a:lnTo>
                    <a:pt x="611" y="455"/>
                  </a:lnTo>
                  <a:lnTo>
                    <a:pt x="627" y="455"/>
                  </a:lnTo>
                  <a:lnTo>
                    <a:pt x="630" y="458"/>
                  </a:lnTo>
                  <a:lnTo>
                    <a:pt x="640" y="465"/>
                  </a:lnTo>
                  <a:lnTo>
                    <a:pt x="643" y="458"/>
                  </a:lnTo>
                  <a:lnTo>
                    <a:pt x="653" y="465"/>
                  </a:lnTo>
                  <a:lnTo>
                    <a:pt x="643" y="471"/>
                  </a:lnTo>
                  <a:lnTo>
                    <a:pt x="643" y="474"/>
                  </a:lnTo>
                  <a:lnTo>
                    <a:pt x="653" y="474"/>
                  </a:lnTo>
                  <a:lnTo>
                    <a:pt x="653" y="484"/>
                  </a:lnTo>
                  <a:lnTo>
                    <a:pt x="656" y="474"/>
                  </a:lnTo>
                  <a:lnTo>
                    <a:pt x="662" y="484"/>
                  </a:lnTo>
                  <a:lnTo>
                    <a:pt x="669" y="493"/>
                  </a:lnTo>
                  <a:lnTo>
                    <a:pt x="672" y="500"/>
                  </a:lnTo>
                  <a:lnTo>
                    <a:pt x="685" y="503"/>
                  </a:lnTo>
                  <a:lnTo>
                    <a:pt x="691" y="500"/>
                  </a:lnTo>
                  <a:lnTo>
                    <a:pt x="672" y="484"/>
                  </a:lnTo>
                  <a:lnTo>
                    <a:pt x="653" y="458"/>
                  </a:lnTo>
                  <a:lnTo>
                    <a:pt x="653" y="446"/>
                  </a:lnTo>
                  <a:lnTo>
                    <a:pt x="653" y="442"/>
                  </a:lnTo>
                  <a:lnTo>
                    <a:pt x="662" y="455"/>
                  </a:lnTo>
                  <a:lnTo>
                    <a:pt x="662" y="471"/>
                  </a:lnTo>
                  <a:lnTo>
                    <a:pt x="691" y="500"/>
                  </a:lnTo>
                  <a:lnTo>
                    <a:pt x="697" y="500"/>
                  </a:lnTo>
                  <a:lnTo>
                    <a:pt x="710" y="493"/>
                  </a:lnTo>
                  <a:lnTo>
                    <a:pt x="713" y="493"/>
                  </a:lnTo>
                  <a:lnTo>
                    <a:pt x="726" y="500"/>
                  </a:lnTo>
                  <a:lnTo>
                    <a:pt x="726" y="487"/>
                  </a:lnTo>
                  <a:lnTo>
                    <a:pt x="742" y="484"/>
                  </a:lnTo>
                  <a:lnTo>
                    <a:pt x="761" y="487"/>
                  </a:lnTo>
                  <a:lnTo>
                    <a:pt x="755" y="493"/>
                  </a:lnTo>
                  <a:lnTo>
                    <a:pt x="748" y="500"/>
                  </a:lnTo>
                  <a:lnTo>
                    <a:pt x="755" y="503"/>
                  </a:lnTo>
                  <a:lnTo>
                    <a:pt x="748" y="516"/>
                  </a:lnTo>
                  <a:lnTo>
                    <a:pt x="732" y="516"/>
                  </a:lnTo>
                  <a:lnTo>
                    <a:pt x="710" y="512"/>
                  </a:lnTo>
                  <a:lnTo>
                    <a:pt x="697" y="516"/>
                  </a:lnTo>
                  <a:lnTo>
                    <a:pt x="685" y="535"/>
                  </a:lnTo>
                  <a:lnTo>
                    <a:pt x="669" y="535"/>
                  </a:lnTo>
                  <a:lnTo>
                    <a:pt x="643" y="554"/>
                  </a:lnTo>
                  <a:lnTo>
                    <a:pt x="624" y="557"/>
                  </a:lnTo>
                  <a:lnTo>
                    <a:pt x="602" y="557"/>
                  </a:lnTo>
                  <a:lnTo>
                    <a:pt x="595" y="554"/>
                  </a:lnTo>
                  <a:lnTo>
                    <a:pt x="599" y="544"/>
                  </a:lnTo>
                  <a:lnTo>
                    <a:pt x="602" y="528"/>
                  </a:lnTo>
                  <a:lnTo>
                    <a:pt x="602" y="525"/>
                  </a:lnTo>
                  <a:lnTo>
                    <a:pt x="586" y="503"/>
                  </a:lnTo>
                  <a:lnTo>
                    <a:pt x="583" y="503"/>
                  </a:lnTo>
                  <a:lnTo>
                    <a:pt x="570" y="500"/>
                  </a:lnTo>
                  <a:lnTo>
                    <a:pt x="557" y="503"/>
                  </a:lnTo>
                  <a:lnTo>
                    <a:pt x="554" y="503"/>
                  </a:lnTo>
                  <a:lnTo>
                    <a:pt x="560" y="487"/>
                  </a:lnTo>
                  <a:lnTo>
                    <a:pt x="583" y="474"/>
                  </a:lnTo>
                  <a:lnTo>
                    <a:pt x="599" y="471"/>
                  </a:lnTo>
                  <a:lnTo>
                    <a:pt x="602" y="471"/>
                  </a:lnTo>
                  <a:lnTo>
                    <a:pt x="599" y="458"/>
                  </a:lnTo>
                  <a:lnTo>
                    <a:pt x="595" y="446"/>
                  </a:lnTo>
                  <a:lnTo>
                    <a:pt x="586" y="446"/>
                  </a:lnTo>
                  <a:lnTo>
                    <a:pt x="586" y="455"/>
                  </a:lnTo>
                  <a:lnTo>
                    <a:pt x="573" y="446"/>
                  </a:lnTo>
                  <a:lnTo>
                    <a:pt x="560" y="442"/>
                  </a:lnTo>
                  <a:lnTo>
                    <a:pt x="554" y="446"/>
                  </a:lnTo>
                  <a:lnTo>
                    <a:pt x="541" y="455"/>
                  </a:lnTo>
                  <a:lnTo>
                    <a:pt x="529" y="446"/>
                  </a:lnTo>
                  <a:lnTo>
                    <a:pt x="525" y="446"/>
                  </a:lnTo>
                  <a:lnTo>
                    <a:pt x="513" y="436"/>
                  </a:lnTo>
                  <a:lnTo>
                    <a:pt x="516" y="436"/>
                  </a:lnTo>
                  <a:lnTo>
                    <a:pt x="525" y="430"/>
                  </a:lnTo>
                  <a:lnTo>
                    <a:pt x="503" y="423"/>
                  </a:lnTo>
                  <a:lnTo>
                    <a:pt x="484" y="423"/>
                  </a:lnTo>
                  <a:lnTo>
                    <a:pt x="484" y="417"/>
                  </a:lnTo>
                  <a:lnTo>
                    <a:pt x="497" y="417"/>
                  </a:lnTo>
                  <a:lnTo>
                    <a:pt x="513" y="417"/>
                  </a:lnTo>
                  <a:lnTo>
                    <a:pt x="525" y="417"/>
                  </a:lnTo>
                  <a:lnTo>
                    <a:pt x="529" y="414"/>
                  </a:lnTo>
                  <a:lnTo>
                    <a:pt x="541" y="407"/>
                  </a:lnTo>
                  <a:lnTo>
                    <a:pt x="525" y="414"/>
                  </a:lnTo>
                  <a:lnTo>
                    <a:pt x="516" y="407"/>
                  </a:lnTo>
                  <a:lnTo>
                    <a:pt x="503" y="407"/>
                  </a:lnTo>
                  <a:lnTo>
                    <a:pt x="503" y="395"/>
                  </a:lnTo>
                  <a:lnTo>
                    <a:pt x="500" y="407"/>
                  </a:lnTo>
                  <a:lnTo>
                    <a:pt x="497" y="414"/>
                  </a:lnTo>
                  <a:lnTo>
                    <a:pt x="487" y="414"/>
                  </a:lnTo>
                  <a:lnTo>
                    <a:pt x="487" y="407"/>
                  </a:lnTo>
                  <a:lnTo>
                    <a:pt x="484" y="401"/>
                  </a:lnTo>
                  <a:lnTo>
                    <a:pt x="471" y="417"/>
                  </a:lnTo>
                  <a:lnTo>
                    <a:pt x="455" y="417"/>
                  </a:lnTo>
                  <a:lnTo>
                    <a:pt x="446" y="423"/>
                  </a:lnTo>
                  <a:lnTo>
                    <a:pt x="446" y="436"/>
                  </a:lnTo>
                  <a:lnTo>
                    <a:pt x="436" y="455"/>
                  </a:lnTo>
                  <a:lnTo>
                    <a:pt x="430" y="455"/>
                  </a:lnTo>
                  <a:lnTo>
                    <a:pt x="436" y="458"/>
                  </a:lnTo>
                  <a:lnTo>
                    <a:pt x="414" y="484"/>
                  </a:lnTo>
                  <a:lnTo>
                    <a:pt x="408" y="484"/>
                  </a:lnTo>
                  <a:lnTo>
                    <a:pt x="401" y="474"/>
                  </a:lnTo>
                  <a:lnTo>
                    <a:pt x="401" y="484"/>
                  </a:lnTo>
                  <a:lnTo>
                    <a:pt x="401" y="493"/>
                  </a:lnTo>
                  <a:lnTo>
                    <a:pt x="408" y="500"/>
                  </a:lnTo>
                  <a:lnTo>
                    <a:pt x="401" y="503"/>
                  </a:lnTo>
                  <a:lnTo>
                    <a:pt x="398" y="500"/>
                  </a:lnTo>
                  <a:lnTo>
                    <a:pt x="379" y="500"/>
                  </a:lnTo>
                  <a:lnTo>
                    <a:pt x="366" y="503"/>
                  </a:lnTo>
                  <a:lnTo>
                    <a:pt x="347" y="503"/>
                  </a:lnTo>
                  <a:lnTo>
                    <a:pt x="331" y="503"/>
                  </a:lnTo>
                  <a:lnTo>
                    <a:pt x="325" y="487"/>
                  </a:lnTo>
                  <a:lnTo>
                    <a:pt x="331" y="484"/>
                  </a:lnTo>
                  <a:lnTo>
                    <a:pt x="344" y="487"/>
                  </a:lnTo>
                  <a:lnTo>
                    <a:pt x="344" y="474"/>
                  </a:lnTo>
                  <a:lnTo>
                    <a:pt x="357" y="458"/>
                  </a:lnTo>
                  <a:lnTo>
                    <a:pt x="360" y="458"/>
                  </a:lnTo>
                  <a:lnTo>
                    <a:pt x="357" y="446"/>
                  </a:lnTo>
                  <a:lnTo>
                    <a:pt x="360" y="423"/>
                  </a:lnTo>
                  <a:lnTo>
                    <a:pt x="373" y="423"/>
                  </a:lnTo>
                  <a:lnTo>
                    <a:pt x="385" y="417"/>
                  </a:lnTo>
                  <a:lnTo>
                    <a:pt x="388" y="423"/>
                  </a:lnTo>
                  <a:lnTo>
                    <a:pt x="408" y="423"/>
                  </a:lnTo>
                  <a:lnTo>
                    <a:pt x="414" y="417"/>
                  </a:lnTo>
                  <a:lnTo>
                    <a:pt x="401" y="414"/>
                  </a:lnTo>
                  <a:lnTo>
                    <a:pt x="408" y="401"/>
                  </a:lnTo>
                  <a:lnTo>
                    <a:pt x="408" y="388"/>
                  </a:lnTo>
                  <a:lnTo>
                    <a:pt x="388" y="382"/>
                  </a:lnTo>
                  <a:lnTo>
                    <a:pt x="373" y="372"/>
                  </a:lnTo>
                  <a:lnTo>
                    <a:pt x="373" y="366"/>
                  </a:lnTo>
                  <a:lnTo>
                    <a:pt x="360" y="360"/>
                  </a:lnTo>
                  <a:lnTo>
                    <a:pt x="360" y="341"/>
                  </a:lnTo>
                  <a:lnTo>
                    <a:pt x="360" y="325"/>
                  </a:lnTo>
                  <a:lnTo>
                    <a:pt x="344" y="318"/>
                  </a:lnTo>
                  <a:lnTo>
                    <a:pt x="325" y="302"/>
                  </a:lnTo>
                  <a:lnTo>
                    <a:pt x="318" y="302"/>
                  </a:lnTo>
                  <a:lnTo>
                    <a:pt x="318" y="309"/>
                  </a:lnTo>
                  <a:lnTo>
                    <a:pt x="302" y="309"/>
                  </a:lnTo>
                  <a:lnTo>
                    <a:pt x="283" y="290"/>
                  </a:lnTo>
                  <a:lnTo>
                    <a:pt x="274" y="290"/>
                  </a:lnTo>
                  <a:lnTo>
                    <a:pt x="261" y="280"/>
                  </a:lnTo>
                  <a:lnTo>
                    <a:pt x="255" y="283"/>
                  </a:lnTo>
                  <a:lnTo>
                    <a:pt x="245" y="283"/>
                  </a:lnTo>
                  <a:lnTo>
                    <a:pt x="232" y="280"/>
                  </a:lnTo>
                  <a:lnTo>
                    <a:pt x="232" y="283"/>
                  </a:lnTo>
                  <a:lnTo>
                    <a:pt x="223" y="280"/>
                  </a:lnTo>
                  <a:lnTo>
                    <a:pt x="223" y="296"/>
                  </a:lnTo>
                  <a:lnTo>
                    <a:pt x="223" y="302"/>
                  </a:lnTo>
                  <a:lnTo>
                    <a:pt x="223" y="312"/>
                  </a:lnTo>
                  <a:lnTo>
                    <a:pt x="210" y="318"/>
                  </a:lnTo>
                  <a:lnTo>
                    <a:pt x="197" y="325"/>
                  </a:lnTo>
                  <a:lnTo>
                    <a:pt x="162" y="331"/>
                  </a:lnTo>
                  <a:lnTo>
                    <a:pt x="153" y="341"/>
                  </a:lnTo>
                  <a:lnTo>
                    <a:pt x="140" y="341"/>
                  </a:lnTo>
                  <a:lnTo>
                    <a:pt x="124" y="350"/>
                  </a:lnTo>
                  <a:lnTo>
                    <a:pt x="111" y="341"/>
                  </a:lnTo>
                  <a:lnTo>
                    <a:pt x="102" y="337"/>
                  </a:lnTo>
                  <a:lnTo>
                    <a:pt x="96" y="331"/>
                  </a:lnTo>
                  <a:lnTo>
                    <a:pt x="73" y="325"/>
                  </a:lnTo>
                  <a:lnTo>
                    <a:pt x="57" y="312"/>
                  </a:lnTo>
                  <a:lnTo>
                    <a:pt x="45" y="312"/>
                  </a:lnTo>
                  <a:lnTo>
                    <a:pt x="41" y="325"/>
                  </a:lnTo>
                  <a:lnTo>
                    <a:pt x="29" y="325"/>
                  </a:lnTo>
                  <a:lnTo>
                    <a:pt x="26" y="312"/>
                  </a:lnTo>
                  <a:lnTo>
                    <a:pt x="13" y="302"/>
                  </a:lnTo>
                  <a:lnTo>
                    <a:pt x="0" y="290"/>
                  </a:lnTo>
                  <a:lnTo>
                    <a:pt x="0" y="271"/>
                  </a:lnTo>
                  <a:lnTo>
                    <a:pt x="13" y="251"/>
                  </a:lnTo>
                  <a:lnTo>
                    <a:pt x="26" y="251"/>
                  </a:lnTo>
                  <a:lnTo>
                    <a:pt x="26" y="229"/>
                  </a:lnTo>
                  <a:lnTo>
                    <a:pt x="26" y="213"/>
                  </a:lnTo>
                  <a:lnTo>
                    <a:pt x="57" y="181"/>
                  </a:lnTo>
                  <a:lnTo>
                    <a:pt x="57" y="166"/>
                  </a:lnTo>
                  <a:lnTo>
                    <a:pt x="70" y="156"/>
                  </a:lnTo>
                  <a:lnTo>
                    <a:pt x="73" y="153"/>
                  </a:lnTo>
                  <a:lnTo>
                    <a:pt x="83" y="140"/>
                  </a:lnTo>
                  <a:lnTo>
                    <a:pt x="73" y="127"/>
                  </a:lnTo>
                  <a:lnTo>
                    <a:pt x="73" y="124"/>
                  </a:lnTo>
                  <a:lnTo>
                    <a:pt x="83" y="115"/>
                  </a:lnTo>
                  <a:lnTo>
                    <a:pt x="70" y="111"/>
                  </a:lnTo>
                  <a:lnTo>
                    <a:pt x="57" y="95"/>
                  </a:lnTo>
                  <a:lnTo>
                    <a:pt x="54" y="86"/>
                  </a:lnTo>
                  <a:lnTo>
                    <a:pt x="54" y="57"/>
                  </a:lnTo>
                  <a:lnTo>
                    <a:pt x="54" y="54"/>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189" name="Freeform 29"/>
            <p:cNvSpPr>
              <a:spLocks/>
            </p:cNvSpPr>
            <p:nvPr/>
          </p:nvSpPr>
          <p:spPr bwMode="gray">
            <a:xfrm>
              <a:off x="3595" y="1772"/>
              <a:ext cx="188" cy="207"/>
            </a:xfrm>
            <a:custGeom>
              <a:avLst/>
              <a:gdLst>
                <a:gd name="T0" fmla="*/ 0 w 188"/>
                <a:gd name="T1" fmla="*/ 32 h 207"/>
                <a:gd name="T2" fmla="*/ 0 w 188"/>
                <a:gd name="T3" fmla="*/ 22 h 207"/>
                <a:gd name="T4" fmla="*/ 0 w 188"/>
                <a:gd name="T5" fmla="*/ 16 h 207"/>
                <a:gd name="T6" fmla="*/ 0 w 188"/>
                <a:gd name="T7" fmla="*/ 0 h 207"/>
                <a:gd name="T8" fmla="*/ 9 w 188"/>
                <a:gd name="T9" fmla="*/ 3 h 207"/>
                <a:gd name="T10" fmla="*/ 9 w 188"/>
                <a:gd name="T11" fmla="*/ 0 h 207"/>
                <a:gd name="T12" fmla="*/ 22 w 188"/>
                <a:gd name="T13" fmla="*/ 3 h 207"/>
                <a:gd name="T14" fmla="*/ 22 w 188"/>
                <a:gd name="T15" fmla="*/ 3 h 207"/>
                <a:gd name="T16" fmla="*/ 32 w 188"/>
                <a:gd name="T17" fmla="*/ 3 h 207"/>
                <a:gd name="T18" fmla="*/ 38 w 188"/>
                <a:gd name="T19" fmla="*/ 0 h 207"/>
                <a:gd name="T20" fmla="*/ 51 w 188"/>
                <a:gd name="T21" fmla="*/ 10 h 207"/>
                <a:gd name="T22" fmla="*/ 60 w 188"/>
                <a:gd name="T23" fmla="*/ 10 h 207"/>
                <a:gd name="T24" fmla="*/ 79 w 188"/>
                <a:gd name="T25" fmla="*/ 29 h 207"/>
                <a:gd name="T26" fmla="*/ 95 w 188"/>
                <a:gd name="T27" fmla="*/ 29 h 207"/>
                <a:gd name="T28" fmla="*/ 95 w 188"/>
                <a:gd name="T29" fmla="*/ 22 h 207"/>
                <a:gd name="T30" fmla="*/ 102 w 188"/>
                <a:gd name="T31" fmla="*/ 22 h 207"/>
                <a:gd name="T32" fmla="*/ 121 w 188"/>
                <a:gd name="T33" fmla="*/ 38 h 207"/>
                <a:gd name="T34" fmla="*/ 137 w 188"/>
                <a:gd name="T35" fmla="*/ 45 h 207"/>
                <a:gd name="T36" fmla="*/ 137 w 188"/>
                <a:gd name="T37" fmla="*/ 64 h 207"/>
                <a:gd name="T38" fmla="*/ 137 w 188"/>
                <a:gd name="T39" fmla="*/ 80 h 207"/>
                <a:gd name="T40" fmla="*/ 150 w 188"/>
                <a:gd name="T41" fmla="*/ 86 h 207"/>
                <a:gd name="T42" fmla="*/ 150 w 188"/>
                <a:gd name="T43" fmla="*/ 92 h 207"/>
                <a:gd name="T44" fmla="*/ 165 w 188"/>
                <a:gd name="T45" fmla="*/ 105 h 207"/>
                <a:gd name="T46" fmla="*/ 185 w 188"/>
                <a:gd name="T47" fmla="*/ 108 h 207"/>
                <a:gd name="T48" fmla="*/ 185 w 188"/>
                <a:gd name="T49" fmla="*/ 121 h 207"/>
                <a:gd name="T50" fmla="*/ 178 w 188"/>
                <a:gd name="T51" fmla="*/ 134 h 207"/>
                <a:gd name="T52" fmla="*/ 188 w 188"/>
                <a:gd name="T53" fmla="*/ 137 h 207"/>
                <a:gd name="T54" fmla="*/ 185 w 188"/>
                <a:gd name="T55" fmla="*/ 146 h 207"/>
                <a:gd name="T56" fmla="*/ 165 w 188"/>
                <a:gd name="T57" fmla="*/ 146 h 207"/>
                <a:gd name="T58" fmla="*/ 159 w 188"/>
                <a:gd name="T59" fmla="*/ 137 h 207"/>
                <a:gd name="T60" fmla="*/ 150 w 188"/>
                <a:gd name="T61" fmla="*/ 146 h 207"/>
                <a:gd name="T62" fmla="*/ 137 w 188"/>
                <a:gd name="T63" fmla="*/ 146 h 207"/>
                <a:gd name="T64" fmla="*/ 130 w 188"/>
                <a:gd name="T65" fmla="*/ 166 h 207"/>
                <a:gd name="T66" fmla="*/ 137 w 188"/>
                <a:gd name="T67" fmla="*/ 178 h 207"/>
                <a:gd name="T68" fmla="*/ 130 w 188"/>
                <a:gd name="T69" fmla="*/ 178 h 207"/>
                <a:gd name="T70" fmla="*/ 121 w 188"/>
                <a:gd name="T71" fmla="*/ 194 h 207"/>
                <a:gd name="T72" fmla="*/ 121 w 188"/>
                <a:gd name="T73" fmla="*/ 207 h 207"/>
                <a:gd name="T74" fmla="*/ 108 w 188"/>
                <a:gd name="T75" fmla="*/ 204 h 207"/>
                <a:gd name="T76" fmla="*/ 102 w 188"/>
                <a:gd name="T77" fmla="*/ 207 h 207"/>
                <a:gd name="T78" fmla="*/ 102 w 188"/>
                <a:gd name="T79" fmla="*/ 207 h 207"/>
                <a:gd name="T80" fmla="*/ 89 w 188"/>
                <a:gd name="T81" fmla="*/ 191 h 207"/>
                <a:gd name="T82" fmla="*/ 95 w 188"/>
                <a:gd name="T83" fmla="*/ 146 h 207"/>
                <a:gd name="T84" fmla="*/ 86 w 188"/>
                <a:gd name="T85" fmla="*/ 127 h 207"/>
                <a:gd name="T86" fmla="*/ 86 w 188"/>
                <a:gd name="T87" fmla="*/ 108 h 207"/>
                <a:gd name="T88" fmla="*/ 51 w 188"/>
                <a:gd name="T89" fmla="*/ 86 h 207"/>
                <a:gd name="T90" fmla="*/ 51 w 188"/>
                <a:gd name="T91" fmla="*/ 73 h 207"/>
                <a:gd name="T92" fmla="*/ 29 w 188"/>
                <a:gd name="T93" fmla="*/ 57 h 207"/>
                <a:gd name="T94" fmla="*/ 22 w 188"/>
                <a:gd name="T95" fmla="*/ 32 h 207"/>
                <a:gd name="T96" fmla="*/ 0 w 188"/>
                <a:gd name="T97" fmla="*/ 32 h 207"/>
                <a:gd name="T98" fmla="*/ 0 w 188"/>
                <a:gd name="T99" fmla="*/ 32 h 207"/>
                <a:gd name="T100" fmla="*/ 0 w 188"/>
                <a:gd name="T101" fmla="*/ 32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8" h="207">
                  <a:moveTo>
                    <a:pt x="0" y="32"/>
                  </a:moveTo>
                  <a:lnTo>
                    <a:pt x="0" y="22"/>
                  </a:lnTo>
                  <a:lnTo>
                    <a:pt x="0" y="16"/>
                  </a:lnTo>
                  <a:lnTo>
                    <a:pt x="0" y="0"/>
                  </a:lnTo>
                  <a:lnTo>
                    <a:pt x="9" y="3"/>
                  </a:lnTo>
                  <a:lnTo>
                    <a:pt x="9" y="0"/>
                  </a:lnTo>
                  <a:lnTo>
                    <a:pt x="22" y="3"/>
                  </a:lnTo>
                  <a:lnTo>
                    <a:pt x="22" y="3"/>
                  </a:lnTo>
                  <a:lnTo>
                    <a:pt x="32" y="3"/>
                  </a:lnTo>
                  <a:lnTo>
                    <a:pt x="38" y="0"/>
                  </a:lnTo>
                  <a:lnTo>
                    <a:pt x="51" y="10"/>
                  </a:lnTo>
                  <a:lnTo>
                    <a:pt x="60" y="10"/>
                  </a:lnTo>
                  <a:lnTo>
                    <a:pt x="79" y="29"/>
                  </a:lnTo>
                  <a:lnTo>
                    <a:pt x="95" y="29"/>
                  </a:lnTo>
                  <a:lnTo>
                    <a:pt x="95" y="22"/>
                  </a:lnTo>
                  <a:lnTo>
                    <a:pt x="102" y="22"/>
                  </a:lnTo>
                  <a:lnTo>
                    <a:pt x="121" y="38"/>
                  </a:lnTo>
                  <a:lnTo>
                    <a:pt x="137" y="45"/>
                  </a:lnTo>
                  <a:lnTo>
                    <a:pt x="137" y="64"/>
                  </a:lnTo>
                  <a:lnTo>
                    <a:pt x="137" y="80"/>
                  </a:lnTo>
                  <a:lnTo>
                    <a:pt x="150" y="86"/>
                  </a:lnTo>
                  <a:lnTo>
                    <a:pt x="150" y="92"/>
                  </a:lnTo>
                  <a:lnTo>
                    <a:pt x="165" y="105"/>
                  </a:lnTo>
                  <a:lnTo>
                    <a:pt x="185" y="108"/>
                  </a:lnTo>
                  <a:lnTo>
                    <a:pt x="185" y="121"/>
                  </a:lnTo>
                  <a:lnTo>
                    <a:pt x="178" y="134"/>
                  </a:lnTo>
                  <a:lnTo>
                    <a:pt x="188" y="137"/>
                  </a:lnTo>
                  <a:lnTo>
                    <a:pt x="185" y="146"/>
                  </a:lnTo>
                  <a:lnTo>
                    <a:pt x="165" y="146"/>
                  </a:lnTo>
                  <a:lnTo>
                    <a:pt x="159" y="137"/>
                  </a:lnTo>
                  <a:lnTo>
                    <a:pt x="150" y="146"/>
                  </a:lnTo>
                  <a:lnTo>
                    <a:pt x="137" y="146"/>
                  </a:lnTo>
                  <a:lnTo>
                    <a:pt x="130" y="166"/>
                  </a:lnTo>
                  <a:lnTo>
                    <a:pt x="137" y="178"/>
                  </a:lnTo>
                  <a:lnTo>
                    <a:pt x="130" y="178"/>
                  </a:lnTo>
                  <a:lnTo>
                    <a:pt x="121" y="194"/>
                  </a:lnTo>
                  <a:lnTo>
                    <a:pt x="121" y="207"/>
                  </a:lnTo>
                  <a:lnTo>
                    <a:pt x="108" y="204"/>
                  </a:lnTo>
                  <a:lnTo>
                    <a:pt x="102" y="207"/>
                  </a:lnTo>
                  <a:lnTo>
                    <a:pt x="102" y="207"/>
                  </a:lnTo>
                  <a:lnTo>
                    <a:pt x="89" y="191"/>
                  </a:lnTo>
                  <a:lnTo>
                    <a:pt x="95" y="146"/>
                  </a:lnTo>
                  <a:lnTo>
                    <a:pt x="86" y="127"/>
                  </a:lnTo>
                  <a:lnTo>
                    <a:pt x="86" y="108"/>
                  </a:lnTo>
                  <a:lnTo>
                    <a:pt x="51" y="86"/>
                  </a:lnTo>
                  <a:lnTo>
                    <a:pt x="51" y="73"/>
                  </a:lnTo>
                  <a:lnTo>
                    <a:pt x="29" y="57"/>
                  </a:lnTo>
                  <a:lnTo>
                    <a:pt x="22" y="32"/>
                  </a:lnTo>
                  <a:lnTo>
                    <a:pt x="0" y="32"/>
                  </a:lnTo>
                  <a:lnTo>
                    <a:pt x="0" y="32"/>
                  </a:lnTo>
                  <a:lnTo>
                    <a:pt x="0" y="32"/>
                  </a:lnTo>
                  <a:close/>
                </a:path>
              </a:pathLst>
            </a:custGeom>
            <a:pattFill prst="dkDnDiag">
              <a:fgClr>
                <a:schemeClr val="accent3"/>
              </a:fgClr>
              <a:bgClr>
                <a:schemeClr val="bg1"/>
              </a:bgClr>
            </a:pattFill>
            <a:ln w="6350">
              <a:solidFill>
                <a:schemeClr val="accent2"/>
              </a:solidFill>
              <a:round/>
              <a:headEnd/>
              <a:tailEnd/>
            </a:ln>
          </p:spPr>
          <p:txBody>
            <a:bodyPr/>
            <a:lstStyle/>
            <a:p>
              <a:endParaRPr lang="de-DE" dirty="0"/>
            </a:p>
          </p:txBody>
        </p:sp>
        <p:sp>
          <p:nvSpPr>
            <p:cNvPr id="190" name="Freeform 30"/>
            <p:cNvSpPr>
              <a:spLocks/>
            </p:cNvSpPr>
            <p:nvPr/>
          </p:nvSpPr>
          <p:spPr bwMode="gray">
            <a:xfrm>
              <a:off x="3595" y="1772"/>
              <a:ext cx="188" cy="207"/>
            </a:xfrm>
            <a:custGeom>
              <a:avLst/>
              <a:gdLst>
                <a:gd name="T0" fmla="*/ 0 w 188"/>
                <a:gd name="T1" fmla="*/ 32 h 207"/>
                <a:gd name="T2" fmla="*/ 0 w 188"/>
                <a:gd name="T3" fmla="*/ 22 h 207"/>
                <a:gd name="T4" fmla="*/ 0 w 188"/>
                <a:gd name="T5" fmla="*/ 16 h 207"/>
                <a:gd name="T6" fmla="*/ 0 w 188"/>
                <a:gd name="T7" fmla="*/ 0 h 207"/>
                <a:gd name="T8" fmla="*/ 9 w 188"/>
                <a:gd name="T9" fmla="*/ 3 h 207"/>
                <a:gd name="T10" fmla="*/ 9 w 188"/>
                <a:gd name="T11" fmla="*/ 0 h 207"/>
                <a:gd name="T12" fmla="*/ 22 w 188"/>
                <a:gd name="T13" fmla="*/ 3 h 207"/>
                <a:gd name="T14" fmla="*/ 22 w 188"/>
                <a:gd name="T15" fmla="*/ 3 h 207"/>
                <a:gd name="T16" fmla="*/ 32 w 188"/>
                <a:gd name="T17" fmla="*/ 3 h 207"/>
                <a:gd name="T18" fmla="*/ 38 w 188"/>
                <a:gd name="T19" fmla="*/ 0 h 207"/>
                <a:gd name="T20" fmla="*/ 51 w 188"/>
                <a:gd name="T21" fmla="*/ 10 h 207"/>
                <a:gd name="T22" fmla="*/ 60 w 188"/>
                <a:gd name="T23" fmla="*/ 10 h 207"/>
                <a:gd name="T24" fmla="*/ 79 w 188"/>
                <a:gd name="T25" fmla="*/ 29 h 207"/>
                <a:gd name="T26" fmla="*/ 95 w 188"/>
                <a:gd name="T27" fmla="*/ 29 h 207"/>
                <a:gd name="T28" fmla="*/ 95 w 188"/>
                <a:gd name="T29" fmla="*/ 22 h 207"/>
                <a:gd name="T30" fmla="*/ 102 w 188"/>
                <a:gd name="T31" fmla="*/ 22 h 207"/>
                <a:gd name="T32" fmla="*/ 121 w 188"/>
                <a:gd name="T33" fmla="*/ 38 h 207"/>
                <a:gd name="T34" fmla="*/ 137 w 188"/>
                <a:gd name="T35" fmla="*/ 45 h 207"/>
                <a:gd name="T36" fmla="*/ 137 w 188"/>
                <a:gd name="T37" fmla="*/ 64 h 207"/>
                <a:gd name="T38" fmla="*/ 137 w 188"/>
                <a:gd name="T39" fmla="*/ 80 h 207"/>
                <a:gd name="T40" fmla="*/ 150 w 188"/>
                <a:gd name="T41" fmla="*/ 86 h 207"/>
                <a:gd name="T42" fmla="*/ 150 w 188"/>
                <a:gd name="T43" fmla="*/ 92 h 207"/>
                <a:gd name="T44" fmla="*/ 165 w 188"/>
                <a:gd name="T45" fmla="*/ 105 h 207"/>
                <a:gd name="T46" fmla="*/ 185 w 188"/>
                <a:gd name="T47" fmla="*/ 108 h 207"/>
                <a:gd name="T48" fmla="*/ 185 w 188"/>
                <a:gd name="T49" fmla="*/ 121 h 207"/>
                <a:gd name="T50" fmla="*/ 178 w 188"/>
                <a:gd name="T51" fmla="*/ 134 h 207"/>
                <a:gd name="T52" fmla="*/ 188 w 188"/>
                <a:gd name="T53" fmla="*/ 137 h 207"/>
                <a:gd name="T54" fmla="*/ 185 w 188"/>
                <a:gd name="T55" fmla="*/ 146 h 207"/>
                <a:gd name="T56" fmla="*/ 165 w 188"/>
                <a:gd name="T57" fmla="*/ 146 h 207"/>
                <a:gd name="T58" fmla="*/ 159 w 188"/>
                <a:gd name="T59" fmla="*/ 137 h 207"/>
                <a:gd name="T60" fmla="*/ 150 w 188"/>
                <a:gd name="T61" fmla="*/ 146 h 207"/>
                <a:gd name="T62" fmla="*/ 137 w 188"/>
                <a:gd name="T63" fmla="*/ 146 h 207"/>
                <a:gd name="T64" fmla="*/ 130 w 188"/>
                <a:gd name="T65" fmla="*/ 166 h 207"/>
                <a:gd name="T66" fmla="*/ 137 w 188"/>
                <a:gd name="T67" fmla="*/ 178 h 207"/>
                <a:gd name="T68" fmla="*/ 130 w 188"/>
                <a:gd name="T69" fmla="*/ 178 h 207"/>
                <a:gd name="T70" fmla="*/ 121 w 188"/>
                <a:gd name="T71" fmla="*/ 194 h 207"/>
                <a:gd name="T72" fmla="*/ 121 w 188"/>
                <a:gd name="T73" fmla="*/ 207 h 207"/>
                <a:gd name="T74" fmla="*/ 108 w 188"/>
                <a:gd name="T75" fmla="*/ 204 h 207"/>
                <a:gd name="T76" fmla="*/ 102 w 188"/>
                <a:gd name="T77" fmla="*/ 207 h 207"/>
                <a:gd name="T78" fmla="*/ 102 w 188"/>
                <a:gd name="T79" fmla="*/ 207 h 207"/>
                <a:gd name="T80" fmla="*/ 89 w 188"/>
                <a:gd name="T81" fmla="*/ 191 h 207"/>
                <a:gd name="T82" fmla="*/ 95 w 188"/>
                <a:gd name="T83" fmla="*/ 146 h 207"/>
                <a:gd name="T84" fmla="*/ 86 w 188"/>
                <a:gd name="T85" fmla="*/ 127 h 207"/>
                <a:gd name="T86" fmla="*/ 86 w 188"/>
                <a:gd name="T87" fmla="*/ 108 h 207"/>
                <a:gd name="T88" fmla="*/ 51 w 188"/>
                <a:gd name="T89" fmla="*/ 86 h 207"/>
                <a:gd name="T90" fmla="*/ 51 w 188"/>
                <a:gd name="T91" fmla="*/ 73 h 207"/>
                <a:gd name="T92" fmla="*/ 29 w 188"/>
                <a:gd name="T93" fmla="*/ 57 h 207"/>
                <a:gd name="T94" fmla="*/ 22 w 188"/>
                <a:gd name="T95" fmla="*/ 32 h 207"/>
                <a:gd name="T96" fmla="*/ 0 w 188"/>
                <a:gd name="T97" fmla="*/ 32 h 207"/>
                <a:gd name="T98" fmla="*/ 0 w 188"/>
                <a:gd name="T99" fmla="*/ 32 h 207"/>
                <a:gd name="T100" fmla="*/ 0 w 188"/>
                <a:gd name="T101" fmla="*/ 32 h 20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88" h="207">
                  <a:moveTo>
                    <a:pt x="0" y="32"/>
                  </a:moveTo>
                  <a:lnTo>
                    <a:pt x="0" y="22"/>
                  </a:lnTo>
                  <a:lnTo>
                    <a:pt x="0" y="16"/>
                  </a:lnTo>
                  <a:lnTo>
                    <a:pt x="0" y="0"/>
                  </a:lnTo>
                  <a:lnTo>
                    <a:pt x="9" y="3"/>
                  </a:lnTo>
                  <a:lnTo>
                    <a:pt x="9" y="0"/>
                  </a:lnTo>
                  <a:lnTo>
                    <a:pt x="22" y="3"/>
                  </a:lnTo>
                  <a:lnTo>
                    <a:pt x="32" y="3"/>
                  </a:lnTo>
                  <a:lnTo>
                    <a:pt x="38" y="0"/>
                  </a:lnTo>
                  <a:lnTo>
                    <a:pt x="51" y="10"/>
                  </a:lnTo>
                  <a:lnTo>
                    <a:pt x="60" y="10"/>
                  </a:lnTo>
                  <a:lnTo>
                    <a:pt x="79" y="29"/>
                  </a:lnTo>
                  <a:lnTo>
                    <a:pt x="95" y="29"/>
                  </a:lnTo>
                  <a:lnTo>
                    <a:pt x="95" y="22"/>
                  </a:lnTo>
                  <a:lnTo>
                    <a:pt x="102" y="22"/>
                  </a:lnTo>
                  <a:lnTo>
                    <a:pt x="121" y="38"/>
                  </a:lnTo>
                  <a:lnTo>
                    <a:pt x="137" y="45"/>
                  </a:lnTo>
                  <a:lnTo>
                    <a:pt x="137" y="64"/>
                  </a:lnTo>
                  <a:lnTo>
                    <a:pt x="137" y="80"/>
                  </a:lnTo>
                  <a:lnTo>
                    <a:pt x="150" y="86"/>
                  </a:lnTo>
                  <a:lnTo>
                    <a:pt x="150" y="92"/>
                  </a:lnTo>
                  <a:lnTo>
                    <a:pt x="165" y="105"/>
                  </a:lnTo>
                  <a:lnTo>
                    <a:pt x="185" y="108"/>
                  </a:lnTo>
                  <a:lnTo>
                    <a:pt x="185" y="121"/>
                  </a:lnTo>
                  <a:lnTo>
                    <a:pt x="178" y="134"/>
                  </a:lnTo>
                  <a:lnTo>
                    <a:pt x="188" y="137"/>
                  </a:lnTo>
                  <a:lnTo>
                    <a:pt x="185" y="146"/>
                  </a:lnTo>
                  <a:lnTo>
                    <a:pt x="165" y="146"/>
                  </a:lnTo>
                  <a:lnTo>
                    <a:pt x="159" y="137"/>
                  </a:lnTo>
                  <a:lnTo>
                    <a:pt x="150" y="146"/>
                  </a:lnTo>
                  <a:lnTo>
                    <a:pt x="137" y="146"/>
                  </a:lnTo>
                  <a:lnTo>
                    <a:pt x="130" y="166"/>
                  </a:lnTo>
                  <a:lnTo>
                    <a:pt x="137" y="178"/>
                  </a:lnTo>
                  <a:lnTo>
                    <a:pt x="130" y="178"/>
                  </a:lnTo>
                  <a:lnTo>
                    <a:pt x="121" y="194"/>
                  </a:lnTo>
                  <a:lnTo>
                    <a:pt x="121" y="207"/>
                  </a:lnTo>
                  <a:lnTo>
                    <a:pt x="108" y="204"/>
                  </a:lnTo>
                  <a:lnTo>
                    <a:pt x="102" y="207"/>
                  </a:lnTo>
                  <a:lnTo>
                    <a:pt x="89" y="191"/>
                  </a:lnTo>
                  <a:lnTo>
                    <a:pt x="95" y="146"/>
                  </a:lnTo>
                  <a:lnTo>
                    <a:pt x="86" y="127"/>
                  </a:lnTo>
                  <a:lnTo>
                    <a:pt x="86" y="108"/>
                  </a:lnTo>
                  <a:lnTo>
                    <a:pt x="51" y="86"/>
                  </a:lnTo>
                  <a:lnTo>
                    <a:pt x="51" y="73"/>
                  </a:lnTo>
                  <a:lnTo>
                    <a:pt x="29" y="57"/>
                  </a:lnTo>
                  <a:lnTo>
                    <a:pt x="22" y="32"/>
                  </a:lnTo>
                  <a:lnTo>
                    <a:pt x="0" y="32"/>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191" name="Freeform 31"/>
            <p:cNvSpPr>
              <a:spLocks/>
            </p:cNvSpPr>
            <p:nvPr/>
          </p:nvSpPr>
          <p:spPr bwMode="gray">
            <a:xfrm>
              <a:off x="3289" y="1807"/>
              <a:ext cx="485" cy="309"/>
            </a:xfrm>
            <a:custGeom>
              <a:avLst/>
              <a:gdLst>
                <a:gd name="T0" fmla="*/ 124 w 484"/>
                <a:gd name="T1" fmla="*/ 13 h 309"/>
                <a:gd name="T2" fmla="*/ 140 w 484"/>
                <a:gd name="T3" fmla="*/ 0 h 309"/>
                <a:gd name="T4" fmla="*/ 179 w 484"/>
                <a:gd name="T5" fmla="*/ 16 h 309"/>
                <a:gd name="T6" fmla="*/ 194 w 484"/>
                <a:gd name="T7" fmla="*/ 29 h 309"/>
                <a:gd name="T8" fmla="*/ 223 w 484"/>
                <a:gd name="T9" fmla="*/ 29 h 309"/>
                <a:gd name="T10" fmla="*/ 245 w 484"/>
                <a:gd name="T11" fmla="*/ 16 h 309"/>
                <a:gd name="T12" fmla="*/ 293 w 484"/>
                <a:gd name="T13" fmla="*/ 3 h 309"/>
                <a:gd name="T14" fmla="*/ 335 w 484"/>
                <a:gd name="T15" fmla="*/ 22 h 309"/>
                <a:gd name="T16" fmla="*/ 357 w 484"/>
                <a:gd name="T17" fmla="*/ 51 h 309"/>
                <a:gd name="T18" fmla="*/ 392 w 484"/>
                <a:gd name="T19" fmla="*/ 92 h 309"/>
                <a:gd name="T20" fmla="*/ 398 w 484"/>
                <a:gd name="T21" fmla="*/ 156 h 309"/>
                <a:gd name="T22" fmla="*/ 414 w 484"/>
                <a:gd name="T23" fmla="*/ 188 h 309"/>
                <a:gd name="T24" fmla="*/ 449 w 484"/>
                <a:gd name="T25" fmla="*/ 188 h 309"/>
                <a:gd name="T26" fmla="*/ 478 w 484"/>
                <a:gd name="T27" fmla="*/ 185 h 309"/>
                <a:gd name="T28" fmla="*/ 478 w 484"/>
                <a:gd name="T29" fmla="*/ 197 h 309"/>
                <a:gd name="T30" fmla="*/ 484 w 484"/>
                <a:gd name="T31" fmla="*/ 213 h 309"/>
                <a:gd name="T32" fmla="*/ 468 w 484"/>
                <a:gd name="T33" fmla="*/ 226 h 309"/>
                <a:gd name="T34" fmla="*/ 443 w 484"/>
                <a:gd name="T35" fmla="*/ 242 h 309"/>
                <a:gd name="T36" fmla="*/ 443 w 484"/>
                <a:gd name="T37" fmla="*/ 255 h 309"/>
                <a:gd name="T38" fmla="*/ 436 w 484"/>
                <a:gd name="T39" fmla="*/ 283 h 309"/>
                <a:gd name="T40" fmla="*/ 427 w 484"/>
                <a:gd name="T41" fmla="*/ 296 h 309"/>
                <a:gd name="T42" fmla="*/ 408 w 484"/>
                <a:gd name="T43" fmla="*/ 283 h 309"/>
                <a:gd name="T44" fmla="*/ 392 w 484"/>
                <a:gd name="T45" fmla="*/ 280 h 309"/>
                <a:gd name="T46" fmla="*/ 357 w 484"/>
                <a:gd name="T47" fmla="*/ 271 h 309"/>
                <a:gd name="T48" fmla="*/ 309 w 484"/>
                <a:gd name="T49" fmla="*/ 287 h 309"/>
                <a:gd name="T50" fmla="*/ 293 w 484"/>
                <a:gd name="T51" fmla="*/ 299 h 309"/>
                <a:gd name="T52" fmla="*/ 268 w 484"/>
                <a:gd name="T53" fmla="*/ 299 h 309"/>
                <a:gd name="T54" fmla="*/ 245 w 484"/>
                <a:gd name="T55" fmla="*/ 299 h 309"/>
                <a:gd name="T56" fmla="*/ 230 w 484"/>
                <a:gd name="T57" fmla="*/ 299 h 309"/>
                <a:gd name="T58" fmla="*/ 194 w 484"/>
                <a:gd name="T59" fmla="*/ 299 h 309"/>
                <a:gd name="T60" fmla="*/ 182 w 484"/>
                <a:gd name="T61" fmla="*/ 296 h 309"/>
                <a:gd name="T62" fmla="*/ 153 w 484"/>
                <a:gd name="T63" fmla="*/ 299 h 309"/>
                <a:gd name="T64" fmla="*/ 150 w 484"/>
                <a:gd name="T65" fmla="*/ 287 h 309"/>
                <a:gd name="T66" fmla="*/ 140 w 484"/>
                <a:gd name="T67" fmla="*/ 271 h 309"/>
                <a:gd name="T68" fmla="*/ 124 w 484"/>
                <a:gd name="T69" fmla="*/ 258 h 309"/>
                <a:gd name="T70" fmla="*/ 137 w 484"/>
                <a:gd name="T71" fmla="*/ 242 h 309"/>
                <a:gd name="T72" fmla="*/ 109 w 484"/>
                <a:gd name="T73" fmla="*/ 248 h 309"/>
                <a:gd name="T74" fmla="*/ 83 w 484"/>
                <a:gd name="T75" fmla="*/ 248 h 309"/>
                <a:gd name="T76" fmla="*/ 58 w 484"/>
                <a:gd name="T77" fmla="*/ 229 h 309"/>
                <a:gd name="T78" fmla="*/ 67 w 484"/>
                <a:gd name="T79" fmla="*/ 213 h 309"/>
                <a:gd name="T80" fmla="*/ 38 w 484"/>
                <a:gd name="T81" fmla="*/ 197 h 309"/>
                <a:gd name="T82" fmla="*/ 13 w 484"/>
                <a:gd name="T83" fmla="*/ 159 h 309"/>
                <a:gd name="T84" fmla="*/ 0 w 484"/>
                <a:gd name="T85" fmla="*/ 156 h 309"/>
                <a:gd name="T86" fmla="*/ 26 w 484"/>
                <a:gd name="T87" fmla="*/ 140 h 309"/>
                <a:gd name="T88" fmla="*/ 42 w 484"/>
                <a:gd name="T89" fmla="*/ 131 h 309"/>
                <a:gd name="T90" fmla="*/ 54 w 484"/>
                <a:gd name="T91" fmla="*/ 111 h 309"/>
                <a:gd name="T92" fmla="*/ 83 w 484"/>
                <a:gd name="T93" fmla="*/ 45 h 309"/>
                <a:gd name="T94" fmla="*/ 109 w 484"/>
                <a:gd name="T95" fmla="*/ 22 h 309"/>
                <a:gd name="T96" fmla="*/ 112 w 484"/>
                <a:gd name="T97" fmla="*/ 13 h 309"/>
                <a:gd name="T98" fmla="*/ 112 w 484"/>
                <a:gd name="T99" fmla="*/ 1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4" h="309">
                  <a:moveTo>
                    <a:pt x="112" y="13"/>
                  </a:moveTo>
                  <a:lnTo>
                    <a:pt x="124" y="13"/>
                  </a:lnTo>
                  <a:lnTo>
                    <a:pt x="128" y="0"/>
                  </a:lnTo>
                  <a:lnTo>
                    <a:pt x="140" y="0"/>
                  </a:lnTo>
                  <a:lnTo>
                    <a:pt x="159" y="13"/>
                  </a:lnTo>
                  <a:lnTo>
                    <a:pt x="179" y="16"/>
                  </a:lnTo>
                  <a:lnTo>
                    <a:pt x="188" y="22"/>
                  </a:lnTo>
                  <a:lnTo>
                    <a:pt x="194" y="29"/>
                  </a:lnTo>
                  <a:lnTo>
                    <a:pt x="207" y="35"/>
                  </a:lnTo>
                  <a:lnTo>
                    <a:pt x="223" y="29"/>
                  </a:lnTo>
                  <a:lnTo>
                    <a:pt x="236" y="29"/>
                  </a:lnTo>
                  <a:lnTo>
                    <a:pt x="245" y="16"/>
                  </a:lnTo>
                  <a:lnTo>
                    <a:pt x="280" y="13"/>
                  </a:lnTo>
                  <a:lnTo>
                    <a:pt x="293" y="3"/>
                  </a:lnTo>
                  <a:lnTo>
                    <a:pt x="328" y="0"/>
                  </a:lnTo>
                  <a:lnTo>
                    <a:pt x="335" y="22"/>
                  </a:lnTo>
                  <a:lnTo>
                    <a:pt x="357" y="41"/>
                  </a:lnTo>
                  <a:lnTo>
                    <a:pt x="357" y="51"/>
                  </a:lnTo>
                  <a:lnTo>
                    <a:pt x="392" y="73"/>
                  </a:lnTo>
                  <a:lnTo>
                    <a:pt x="392" y="92"/>
                  </a:lnTo>
                  <a:lnTo>
                    <a:pt x="401" y="111"/>
                  </a:lnTo>
                  <a:lnTo>
                    <a:pt x="398" y="156"/>
                  </a:lnTo>
                  <a:lnTo>
                    <a:pt x="408" y="172"/>
                  </a:lnTo>
                  <a:lnTo>
                    <a:pt x="414" y="188"/>
                  </a:lnTo>
                  <a:lnTo>
                    <a:pt x="430" y="188"/>
                  </a:lnTo>
                  <a:lnTo>
                    <a:pt x="449" y="188"/>
                  </a:lnTo>
                  <a:lnTo>
                    <a:pt x="462" y="185"/>
                  </a:lnTo>
                  <a:lnTo>
                    <a:pt x="478" y="185"/>
                  </a:lnTo>
                  <a:lnTo>
                    <a:pt x="484" y="188"/>
                  </a:lnTo>
                  <a:lnTo>
                    <a:pt x="478" y="197"/>
                  </a:lnTo>
                  <a:lnTo>
                    <a:pt x="484" y="201"/>
                  </a:lnTo>
                  <a:lnTo>
                    <a:pt x="484" y="213"/>
                  </a:lnTo>
                  <a:lnTo>
                    <a:pt x="478" y="226"/>
                  </a:lnTo>
                  <a:lnTo>
                    <a:pt x="468" y="226"/>
                  </a:lnTo>
                  <a:lnTo>
                    <a:pt x="449" y="229"/>
                  </a:lnTo>
                  <a:lnTo>
                    <a:pt x="443" y="242"/>
                  </a:lnTo>
                  <a:lnTo>
                    <a:pt x="436" y="248"/>
                  </a:lnTo>
                  <a:lnTo>
                    <a:pt x="443" y="255"/>
                  </a:lnTo>
                  <a:lnTo>
                    <a:pt x="443" y="271"/>
                  </a:lnTo>
                  <a:lnTo>
                    <a:pt x="436" y="283"/>
                  </a:lnTo>
                  <a:lnTo>
                    <a:pt x="436" y="296"/>
                  </a:lnTo>
                  <a:lnTo>
                    <a:pt x="427" y="296"/>
                  </a:lnTo>
                  <a:lnTo>
                    <a:pt x="427" y="287"/>
                  </a:lnTo>
                  <a:lnTo>
                    <a:pt x="408" y="283"/>
                  </a:lnTo>
                  <a:lnTo>
                    <a:pt x="398" y="287"/>
                  </a:lnTo>
                  <a:lnTo>
                    <a:pt x="392" y="280"/>
                  </a:lnTo>
                  <a:lnTo>
                    <a:pt x="373" y="271"/>
                  </a:lnTo>
                  <a:lnTo>
                    <a:pt x="357" y="271"/>
                  </a:lnTo>
                  <a:lnTo>
                    <a:pt x="344" y="271"/>
                  </a:lnTo>
                  <a:lnTo>
                    <a:pt x="309" y="287"/>
                  </a:lnTo>
                  <a:lnTo>
                    <a:pt x="309" y="296"/>
                  </a:lnTo>
                  <a:lnTo>
                    <a:pt x="293" y="299"/>
                  </a:lnTo>
                  <a:lnTo>
                    <a:pt x="287" y="309"/>
                  </a:lnTo>
                  <a:lnTo>
                    <a:pt x="268" y="299"/>
                  </a:lnTo>
                  <a:lnTo>
                    <a:pt x="258" y="299"/>
                  </a:lnTo>
                  <a:lnTo>
                    <a:pt x="245" y="299"/>
                  </a:lnTo>
                  <a:lnTo>
                    <a:pt x="236" y="299"/>
                  </a:lnTo>
                  <a:lnTo>
                    <a:pt x="230" y="299"/>
                  </a:lnTo>
                  <a:lnTo>
                    <a:pt x="210" y="309"/>
                  </a:lnTo>
                  <a:lnTo>
                    <a:pt x="194" y="299"/>
                  </a:lnTo>
                  <a:lnTo>
                    <a:pt x="188" y="299"/>
                  </a:lnTo>
                  <a:lnTo>
                    <a:pt x="182" y="296"/>
                  </a:lnTo>
                  <a:lnTo>
                    <a:pt x="166" y="296"/>
                  </a:lnTo>
                  <a:lnTo>
                    <a:pt x="153" y="299"/>
                  </a:lnTo>
                  <a:lnTo>
                    <a:pt x="150" y="296"/>
                  </a:lnTo>
                  <a:lnTo>
                    <a:pt x="150" y="287"/>
                  </a:lnTo>
                  <a:lnTo>
                    <a:pt x="153" y="280"/>
                  </a:lnTo>
                  <a:lnTo>
                    <a:pt x="140" y="271"/>
                  </a:lnTo>
                  <a:lnTo>
                    <a:pt x="128" y="271"/>
                  </a:lnTo>
                  <a:lnTo>
                    <a:pt x="124" y="258"/>
                  </a:lnTo>
                  <a:lnTo>
                    <a:pt x="124" y="255"/>
                  </a:lnTo>
                  <a:lnTo>
                    <a:pt x="137" y="242"/>
                  </a:lnTo>
                  <a:lnTo>
                    <a:pt x="112" y="239"/>
                  </a:lnTo>
                  <a:lnTo>
                    <a:pt x="109" y="248"/>
                  </a:lnTo>
                  <a:lnTo>
                    <a:pt x="96" y="242"/>
                  </a:lnTo>
                  <a:lnTo>
                    <a:pt x="83" y="248"/>
                  </a:lnTo>
                  <a:lnTo>
                    <a:pt x="80" y="239"/>
                  </a:lnTo>
                  <a:lnTo>
                    <a:pt x="58" y="229"/>
                  </a:lnTo>
                  <a:lnTo>
                    <a:pt x="58" y="226"/>
                  </a:lnTo>
                  <a:lnTo>
                    <a:pt x="67" y="213"/>
                  </a:lnTo>
                  <a:lnTo>
                    <a:pt x="51" y="201"/>
                  </a:lnTo>
                  <a:lnTo>
                    <a:pt x="38" y="197"/>
                  </a:lnTo>
                  <a:lnTo>
                    <a:pt x="29" y="185"/>
                  </a:lnTo>
                  <a:lnTo>
                    <a:pt x="13" y="159"/>
                  </a:lnTo>
                  <a:lnTo>
                    <a:pt x="13" y="156"/>
                  </a:lnTo>
                  <a:lnTo>
                    <a:pt x="0" y="156"/>
                  </a:lnTo>
                  <a:lnTo>
                    <a:pt x="13" y="143"/>
                  </a:lnTo>
                  <a:lnTo>
                    <a:pt x="26" y="140"/>
                  </a:lnTo>
                  <a:lnTo>
                    <a:pt x="26" y="131"/>
                  </a:lnTo>
                  <a:lnTo>
                    <a:pt x="42" y="131"/>
                  </a:lnTo>
                  <a:lnTo>
                    <a:pt x="54" y="121"/>
                  </a:lnTo>
                  <a:lnTo>
                    <a:pt x="54" y="111"/>
                  </a:lnTo>
                  <a:lnTo>
                    <a:pt x="70" y="80"/>
                  </a:lnTo>
                  <a:lnTo>
                    <a:pt x="83" y="45"/>
                  </a:lnTo>
                  <a:lnTo>
                    <a:pt x="96" y="29"/>
                  </a:lnTo>
                  <a:lnTo>
                    <a:pt x="109" y="22"/>
                  </a:lnTo>
                  <a:lnTo>
                    <a:pt x="112" y="13"/>
                  </a:lnTo>
                  <a:lnTo>
                    <a:pt x="112" y="13"/>
                  </a:lnTo>
                  <a:lnTo>
                    <a:pt x="112" y="13"/>
                  </a:lnTo>
                  <a:lnTo>
                    <a:pt x="112" y="13"/>
                  </a:lnTo>
                  <a:close/>
                </a:path>
              </a:pathLst>
            </a:custGeom>
            <a:pattFill prst="dkDnDiag">
              <a:fgClr>
                <a:schemeClr val="accent3"/>
              </a:fgClr>
              <a:bgClr>
                <a:schemeClr val="bg1"/>
              </a:bgClr>
            </a:pattFill>
            <a:ln w="6350">
              <a:solidFill>
                <a:schemeClr val="accent2"/>
              </a:solidFill>
              <a:round/>
              <a:headEnd/>
              <a:tailEnd/>
            </a:ln>
          </p:spPr>
          <p:txBody>
            <a:bodyPr/>
            <a:lstStyle/>
            <a:p>
              <a:endParaRPr lang="de-DE" dirty="0"/>
            </a:p>
          </p:txBody>
        </p:sp>
        <p:sp>
          <p:nvSpPr>
            <p:cNvPr id="192" name="Freeform 32"/>
            <p:cNvSpPr>
              <a:spLocks/>
            </p:cNvSpPr>
            <p:nvPr/>
          </p:nvSpPr>
          <p:spPr bwMode="gray">
            <a:xfrm>
              <a:off x="3289" y="1807"/>
              <a:ext cx="484" cy="309"/>
            </a:xfrm>
            <a:custGeom>
              <a:avLst/>
              <a:gdLst>
                <a:gd name="T0" fmla="*/ 124 w 484"/>
                <a:gd name="T1" fmla="*/ 13 h 309"/>
                <a:gd name="T2" fmla="*/ 140 w 484"/>
                <a:gd name="T3" fmla="*/ 0 h 309"/>
                <a:gd name="T4" fmla="*/ 179 w 484"/>
                <a:gd name="T5" fmla="*/ 16 h 309"/>
                <a:gd name="T6" fmla="*/ 194 w 484"/>
                <a:gd name="T7" fmla="*/ 29 h 309"/>
                <a:gd name="T8" fmla="*/ 223 w 484"/>
                <a:gd name="T9" fmla="*/ 29 h 309"/>
                <a:gd name="T10" fmla="*/ 245 w 484"/>
                <a:gd name="T11" fmla="*/ 16 h 309"/>
                <a:gd name="T12" fmla="*/ 293 w 484"/>
                <a:gd name="T13" fmla="*/ 3 h 309"/>
                <a:gd name="T14" fmla="*/ 335 w 484"/>
                <a:gd name="T15" fmla="*/ 22 h 309"/>
                <a:gd name="T16" fmla="*/ 357 w 484"/>
                <a:gd name="T17" fmla="*/ 51 h 309"/>
                <a:gd name="T18" fmla="*/ 392 w 484"/>
                <a:gd name="T19" fmla="*/ 92 h 309"/>
                <a:gd name="T20" fmla="*/ 398 w 484"/>
                <a:gd name="T21" fmla="*/ 156 h 309"/>
                <a:gd name="T22" fmla="*/ 414 w 484"/>
                <a:gd name="T23" fmla="*/ 188 h 309"/>
                <a:gd name="T24" fmla="*/ 449 w 484"/>
                <a:gd name="T25" fmla="*/ 188 h 309"/>
                <a:gd name="T26" fmla="*/ 478 w 484"/>
                <a:gd name="T27" fmla="*/ 185 h 309"/>
                <a:gd name="T28" fmla="*/ 478 w 484"/>
                <a:gd name="T29" fmla="*/ 197 h 309"/>
                <a:gd name="T30" fmla="*/ 484 w 484"/>
                <a:gd name="T31" fmla="*/ 213 h 309"/>
                <a:gd name="T32" fmla="*/ 468 w 484"/>
                <a:gd name="T33" fmla="*/ 226 h 309"/>
                <a:gd name="T34" fmla="*/ 443 w 484"/>
                <a:gd name="T35" fmla="*/ 242 h 309"/>
                <a:gd name="T36" fmla="*/ 443 w 484"/>
                <a:gd name="T37" fmla="*/ 255 h 309"/>
                <a:gd name="T38" fmla="*/ 436 w 484"/>
                <a:gd name="T39" fmla="*/ 283 h 309"/>
                <a:gd name="T40" fmla="*/ 427 w 484"/>
                <a:gd name="T41" fmla="*/ 296 h 309"/>
                <a:gd name="T42" fmla="*/ 408 w 484"/>
                <a:gd name="T43" fmla="*/ 283 h 309"/>
                <a:gd name="T44" fmla="*/ 392 w 484"/>
                <a:gd name="T45" fmla="*/ 280 h 309"/>
                <a:gd name="T46" fmla="*/ 357 w 484"/>
                <a:gd name="T47" fmla="*/ 271 h 309"/>
                <a:gd name="T48" fmla="*/ 309 w 484"/>
                <a:gd name="T49" fmla="*/ 287 h 309"/>
                <a:gd name="T50" fmla="*/ 293 w 484"/>
                <a:gd name="T51" fmla="*/ 299 h 309"/>
                <a:gd name="T52" fmla="*/ 268 w 484"/>
                <a:gd name="T53" fmla="*/ 299 h 309"/>
                <a:gd name="T54" fmla="*/ 245 w 484"/>
                <a:gd name="T55" fmla="*/ 299 h 309"/>
                <a:gd name="T56" fmla="*/ 230 w 484"/>
                <a:gd name="T57" fmla="*/ 299 h 309"/>
                <a:gd name="T58" fmla="*/ 194 w 484"/>
                <a:gd name="T59" fmla="*/ 299 h 309"/>
                <a:gd name="T60" fmla="*/ 182 w 484"/>
                <a:gd name="T61" fmla="*/ 296 h 309"/>
                <a:gd name="T62" fmla="*/ 153 w 484"/>
                <a:gd name="T63" fmla="*/ 299 h 309"/>
                <a:gd name="T64" fmla="*/ 150 w 484"/>
                <a:gd name="T65" fmla="*/ 287 h 309"/>
                <a:gd name="T66" fmla="*/ 140 w 484"/>
                <a:gd name="T67" fmla="*/ 271 h 309"/>
                <a:gd name="T68" fmla="*/ 124 w 484"/>
                <a:gd name="T69" fmla="*/ 258 h 309"/>
                <a:gd name="T70" fmla="*/ 137 w 484"/>
                <a:gd name="T71" fmla="*/ 242 h 309"/>
                <a:gd name="T72" fmla="*/ 109 w 484"/>
                <a:gd name="T73" fmla="*/ 248 h 309"/>
                <a:gd name="T74" fmla="*/ 83 w 484"/>
                <a:gd name="T75" fmla="*/ 248 h 309"/>
                <a:gd name="T76" fmla="*/ 58 w 484"/>
                <a:gd name="T77" fmla="*/ 229 h 309"/>
                <a:gd name="T78" fmla="*/ 67 w 484"/>
                <a:gd name="T79" fmla="*/ 213 h 309"/>
                <a:gd name="T80" fmla="*/ 38 w 484"/>
                <a:gd name="T81" fmla="*/ 197 h 309"/>
                <a:gd name="T82" fmla="*/ 13 w 484"/>
                <a:gd name="T83" fmla="*/ 159 h 309"/>
                <a:gd name="T84" fmla="*/ 0 w 484"/>
                <a:gd name="T85" fmla="*/ 156 h 309"/>
                <a:gd name="T86" fmla="*/ 26 w 484"/>
                <a:gd name="T87" fmla="*/ 140 h 309"/>
                <a:gd name="T88" fmla="*/ 42 w 484"/>
                <a:gd name="T89" fmla="*/ 131 h 309"/>
                <a:gd name="T90" fmla="*/ 54 w 484"/>
                <a:gd name="T91" fmla="*/ 111 h 309"/>
                <a:gd name="T92" fmla="*/ 83 w 484"/>
                <a:gd name="T93" fmla="*/ 45 h 309"/>
                <a:gd name="T94" fmla="*/ 109 w 484"/>
                <a:gd name="T95" fmla="*/ 22 h 309"/>
                <a:gd name="T96" fmla="*/ 112 w 484"/>
                <a:gd name="T97" fmla="*/ 13 h 309"/>
                <a:gd name="T98" fmla="*/ 112 w 484"/>
                <a:gd name="T99" fmla="*/ 13 h 30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84" h="309">
                  <a:moveTo>
                    <a:pt x="112" y="13"/>
                  </a:moveTo>
                  <a:lnTo>
                    <a:pt x="124" y="13"/>
                  </a:lnTo>
                  <a:lnTo>
                    <a:pt x="128" y="0"/>
                  </a:lnTo>
                  <a:lnTo>
                    <a:pt x="140" y="0"/>
                  </a:lnTo>
                  <a:lnTo>
                    <a:pt x="159" y="13"/>
                  </a:lnTo>
                  <a:lnTo>
                    <a:pt x="179" y="16"/>
                  </a:lnTo>
                  <a:lnTo>
                    <a:pt x="188" y="22"/>
                  </a:lnTo>
                  <a:lnTo>
                    <a:pt x="194" y="29"/>
                  </a:lnTo>
                  <a:lnTo>
                    <a:pt x="207" y="35"/>
                  </a:lnTo>
                  <a:lnTo>
                    <a:pt x="223" y="29"/>
                  </a:lnTo>
                  <a:lnTo>
                    <a:pt x="236" y="29"/>
                  </a:lnTo>
                  <a:lnTo>
                    <a:pt x="245" y="16"/>
                  </a:lnTo>
                  <a:lnTo>
                    <a:pt x="280" y="13"/>
                  </a:lnTo>
                  <a:lnTo>
                    <a:pt x="293" y="3"/>
                  </a:lnTo>
                  <a:lnTo>
                    <a:pt x="328" y="0"/>
                  </a:lnTo>
                  <a:lnTo>
                    <a:pt x="335" y="22"/>
                  </a:lnTo>
                  <a:lnTo>
                    <a:pt x="357" y="41"/>
                  </a:lnTo>
                  <a:lnTo>
                    <a:pt x="357" y="51"/>
                  </a:lnTo>
                  <a:lnTo>
                    <a:pt x="392" y="73"/>
                  </a:lnTo>
                  <a:lnTo>
                    <a:pt x="392" y="92"/>
                  </a:lnTo>
                  <a:lnTo>
                    <a:pt x="401" y="111"/>
                  </a:lnTo>
                  <a:lnTo>
                    <a:pt x="398" y="156"/>
                  </a:lnTo>
                  <a:lnTo>
                    <a:pt x="408" y="172"/>
                  </a:lnTo>
                  <a:lnTo>
                    <a:pt x="414" y="188"/>
                  </a:lnTo>
                  <a:lnTo>
                    <a:pt x="430" y="188"/>
                  </a:lnTo>
                  <a:lnTo>
                    <a:pt x="449" y="188"/>
                  </a:lnTo>
                  <a:lnTo>
                    <a:pt x="462" y="185"/>
                  </a:lnTo>
                  <a:lnTo>
                    <a:pt x="478" y="185"/>
                  </a:lnTo>
                  <a:lnTo>
                    <a:pt x="484" y="188"/>
                  </a:lnTo>
                  <a:lnTo>
                    <a:pt x="478" y="197"/>
                  </a:lnTo>
                  <a:lnTo>
                    <a:pt x="484" y="201"/>
                  </a:lnTo>
                  <a:lnTo>
                    <a:pt x="484" y="213"/>
                  </a:lnTo>
                  <a:lnTo>
                    <a:pt x="478" y="226"/>
                  </a:lnTo>
                  <a:lnTo>
                    <a:pt x="468" y="226"/>
                  </a:lnTo>
                  <a:lnTo>
                    <a:pt x="449" y="229"/>
                  </a:lnTo>
                  <a:lnTo>
                    <a:pt x="443" y="242"/>
                  </a:lnTo>
                  <a:lnTo>
                    <a:pt x="436" y="248"/>
                  </a:lnTo>
                  <a:lnTo>
                    <a:pt x="443" y="255"/>
                  </a:lnTo>
                  <a:lnTo>
                    <a:pt x="443" y="271"/>
                  </a:lnTo>
                  <a:lnTo>
                    <a:pt x="436" y="283"/>
                  </a:lnTo>
                  <a:lnTo>
                    <a:pt x="436" y="296"/>
                  </a:lnTo>
                  <a:lnTo>
                    <a:pt x="427" y="296"/>
                  </a:lnTo>
                  <a:lnTo>
                    <a:pt x="427" y="287"/>
                  </a:lnTo>
                  <a:lnTo>
                    <a:pt x="408" y="283"/>
                  </a:lnTo>
                  <a:lnTo>
                    <a:pt x="398" y="287"/>
                  </a:lnTo>
                  <a:lnTo>
                    <a:pt x="392" y="280"/>
                  </a:lnTo>
                  <a:lnTo>
                    <a:pt x="373" y="271"/>
                  </a:lnTo>
                  <a:lnTo>
                    <a:pt x="357" y="271"/>
                  </a:lnTo>
                  <a:lnTo>
                    <a:pt x="344" y="271"/>
                  </a:lnTo>
                  <a:lnTo>
                    <a:pt x="309" y="287"/>
                  </a:lnTo>
                  <a:lnTo>
                    <a:pt x="309" y="296"/>
                  </a:lnTo>
                  <a:lnTo>
                    <a:pt x="293" y="299"/>
                  </a:lnTo>
                  <a:lnTo>
                    <a:pt x="287" y="309"/>
                  </a:lnTo>
                  <a:lnTo>
                    <a:pt x="268" y="299"/>
                  </a:lnTo>
                  <a:lnTo>
                    <a:pt x="258" y="299"/>
                  </a:lnTo>
                  <a:lnTo>
                    <a:pt x="245" y="299"/>
                  </a:lnTo>
                  <a:lnTo>
                    <a:pt x="236" y="299"/>
                  </a:lnTo>
                  <a:lnTo>
                    <a:pt x="230" y="299"/>
                  </a:lnTo>
                  <a:lnTo>
                    <a:pt x="210" y="309"/>
                  </a:lnTo>
                  <a:lnTo>
                    <a:pt x="194" y="299"/>
                  </a:lnTo>
                  <a:lnTo>
                    <a:pt x="188" y="299"/>
                  </a:lnTo>
                  <a:lnTo>
                    <a:pt x="182" y="296"/>
                  </a:lnTo>
                  <a:lnTo>
                    <a:pt x="166" y="296"/>
                  </a:lnTo>
                  <a:lnTo>
                    <a:pt x="153" y="299"/>
                  </a:lnTo>
                  <a:lnTo>
                    <a:pt x="150" y="296"/>
                  </a:lnTo>
                  <a:lnTo>
                    <a:pt x="150" y="287"/>
                  </a:lnTo>
                  <a:lnTo>
                    <a:pt x="153" y="280"/>
                  </a:lnTo>
                  <a:lnTo>
                    <a:pt x="140" y="271"/>
                  </a:lnTo>
                  <a:lnTo>
                    <a:pt x="128" y="271"/>
                  </a:lnTo>
                  <a:lnTo>
                    <a:pt x="124" y="258"/>
                  </a:lnTo>
                  <a:lnTo>
                    <a:pt x="124" y="255"/>
                  </a:lnTo>
                  <a:lnTo>
                    <a:pt x="137" y="242"/>
                  </a:lnTo>
                  <a:lnTo>
                    <a:pt x="112" y="239"/>
                  </a:lnTo>
                  <a:lnTo>
                    <a:pt x="109" y="248"/>
                  </a:lnTo>
                  <a:lnTo>
                    <a:pt x="96" y="242"/>
                  </a:lnTo>
                  <a:lnTo>
                    <a:pt x="83" y="248"/>
                  </a:lnTo>
                  <a:lnTo>
                    <a:pt x="80" y="239"/>
                  </a:lnTo>
                  <a:lnTo>
                    <a:pt x="58" y="229"/>
                  </a:lnTo>
                  <a:lnTo>
                    <a:pt x="58" y="226"/>
                  </a:lnTo>
                  <a:lnTo>
                    <a:pt x="67" y="213"/>
                  </a:lnTo>
                  <a:lnTo>
                    <a:pt x="51" y="201"/>
                  </a:lnTo>
                  <a:lnTo>
                    <a:pt x="38" y="197"/>
                  </a:lnTo>
                  <a:lnTo>
                    <a:pt x="29" y="185"/>
                  </a:lnTo>
                  <a:lnTo>
                    <a:pt x="13" y="159"/>
                  </a:lnTo>
                  <a:lnTo>
                    <a:pt x="13" y="156"/>
                  </a:lnTo>
                  <a:lnTo>
                    <a:pt x="0" y="156"/>
                  </a:lnTo>
                  <a:lnTo>
                    <a:pt x="13" y="143"/>
                  </a:lnTo>
                  <a:lnTo>
                    <a:pt x="26" y="140"/>
                  </a:lnTo>
                  <a:lnTo>
                    <a:pt x="26" y="131"/>
                  </a:lnTo>
                  <a:lnTo>
                    <a:pt x="42" y="131"/>
                  </a:lnTo>
                  <a:lnTo>
                    <a:pt x="54" y="121"/>
                  </a:lnTo>
                  <a:lnTo>
                    <a:pt x="54" y="111"/>
                  </a:lnTo>
                  <a:lnTo>
                    <a:pt x="70" y="80"/>
                  </a:lnTo>
                  <a:lnTo>
                    <a:pt x="83" y="45"/>
                  </a:lnTo>
                  <a:lnTo>
                    <a:pt x="96" y="29"/>
                  </a:lnTo>
                  <a:lnTo>
                    <a:pt x="109" y="22"/>
                  </a:lnTo>
                  <a:lnTo>
                    <a:pt x="112" y="13"/>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193" name="Freeform 33"/>
            <p:cNvSpPr>
              <a:spLocks/>
            </p:cNvSpPr>
            <p:nvPr/>
          </p:nvSpPr>
          <p:spPr bwMode="gray">
            <a:xfrm>
              <a:off x="3089" y="1782"/>
              <a:ext cx="312" cy="210"/>
            </a:xfrm>
            <a:custGeom>
              <a:avLst/>
              <a:gdLst>
                <a:gd name="T0" fmla="*/ 200 w 312"/>
                <a:gd name="T1" fmla="*/ 181 h 210"/>
                <a:gd name="T2" fmla="*/ 213 w 312"/>
                <a:gd name="T3" fmla="*/ 168 h 210"/>
                <a:gd name="T4" fmla="*/ 226 w 312"/>
                <a:gd name="T5" fmla="*/ 165 h 210"/>
                <a:gd name="T6" fmla="*/ 226 w 312"/>
                <a:gd name="T7" fmla="*/ 156 h 210"/>
                <a:gd name="T8" fmla="*/ 242 w 312"/>
                <a:gd name="T9" fmla="*/ 156 h 210"/>
                <a:gd name="T10" fmla="*/ 254 w 312"/>
                <a:gd name="T11" fmla="*/ 146 h 210"/>
                <a:gd name="T12" fmla="*/ 254 w 312"/>
                <a:gd name="T13" fmla="*/ 133 h 210"/>
                <a:gd name="T14" fmla="*/ 270 w 312"/>
                <a:gd name="T15" fmla="*/ 105 h 210"/>
                <a:gd name="T16" fmla="*/ 283 w 312"/>
                <a:gd name="T17" fmla="*/ 70 h 210"/>
                <a:gd name="T18" fmla="*/ 296 w 312"/>
                <a:gd name="T19" fmla="*/ 51 h 210"/>
                <a:gd name="T20" fmla="*/ 309 w 312"/>
                <a:gd name="T21" fmla="*/ 47 h 210"/>
                <a:gd name="T22" fmla="*/ 312 w 312"/>
                <a:gd name="T23" fmla="*/ 35 h 210"/>
                <a:gd name="T24" fmla="*/ 309 w 312"/>
                <a:gd name="T25" fmla="*/ 22 h 210"/>
                <a:gd name="T26" fmla="*/ 296 w 312"/>
                <a:gd name="T27" fmla="*/ 9 h 210"/>
                <a:gd name="T28" fmla="*/ 283 w 312"/>
                <a:gd name="T29" fmla="*/ 0 h 210"/>
                <a:gd name="T30" fmla="*/ 267 w 312"/>
                <a:gd name="T31" fmla="*/ 9 h 210"/>
                <a:gd name="T32" fmla="*/ 251 w 312"/>
                <a:gd name="T33" fmla="*/ 6 h 210"/>
                <a:gd name="T34" fmla="*/ 229 w 312"/>
                <a:gd name="T35" fmla="*/ 6 h 210"/>
                <a:gd name="T36" fmla="*/ 213 w 312"/>
                <a:gd name="T37" fmla="*/ 6 h 210"/>
                <a:gd name="T38" fmla="*/ 197 w 312"/>
                <a:gd name="T39" fmla="*/ 6 h 210"/>
                <a:gd name="T40" fmla="*/ 194 w 312"/>
                <a:gd name="T41" fmla="*/ 19 h 210"/>
                <a:gd name="T42" fmla="*/ 181 w 312"/>
                <a:gd name="T43" fmla="*/ 28 h 210"/>
                <a:gd name="T44" fmla="*/ 181 w 312"/>
                <a:gd name="T45" fmla="*/ 41 h 210"/>
                <a:gd name="T46" fmla="*/ 165 w 312"/>
                <a:gd name="T47" fmla="*/ 22 h 210"/>
                <a:gd name="T48" fmla="*/ 143 w 312"/>
                <a:gd name="T49" fmla="*/ 35 h 210"/>
                <a:gd name="T50" fmla="*/ 127 w 312"/>
                <a:gd name="T51" fmla="*/ 41 h 210"/>
                <a:gd name="T52" fmla="*/ 127 w 312"/>
                <a:gd name="T53" fmla="*/ 51 h 210"/>
                <a:gd name="T54" fmla="*/ 98 w 312"/>
                <a:gd name="T55" fmla="*/ 60 h 210"/>
                <a:gd name="T56" fmla="*/ 82 w 312"/>
                <a:gd name="T57" fmla="*/ 63 h 210"/>
                <a:gd name="T58" fmla="*/ 63 w 312"/>
                <a:gd name="T59" fmla="*/ 60 h 210"/>
                <a:gd name="T60" fmla="*/ 22 w 312"/>
                <a:gd name="T61" fmla="*/ 35 h 210"/>
                <a:gd name="T62" fmla="*/ 22 w 312"/>
                <a:gd name="T63" fmla="*/ 47 h 210"/>
                <a:gd name="T64" fmla="*/ 28 w 312"/>
                <a:gd name="T65" fmla="*/ 60 h 210"/>
                <a:gd name="T66" fmla="*/ 22 w 312"/>
                <a:gd name="T67" fmla="*/ 63 h 210"/>
                <a:gd name="T68" fmla="*/ 0 w 312"/>
                <a:gd name="T69" fmla="*/ 63 h 210"/>
                <a:gd name="T70" fmla="*/ 0 w 312"/>
                <a:gd name="T71" fmla="*/ 70 h 210"/>
                <a:gd name="T72" fmla="*/ 9 w 312"/>
                <a:gd name="T73" fmla="*/ 82 h 210"/>
                <a:gd name="T74" fmla="*/ 6 w 312"/>
                <a:gd name="T75" fmla="*/ 92 h 210"/>
                <a:gd name="T76" fmla="*/ 6 w 312"/>
                <a:gd name="T77" fmla="*/ 105 h 210"/>
                <a:gd name="T78" fmla="*/ 9 w 312"/>
                <a:gd name="T79" fmla="*/ 117 h 210"/>
                <a:gd name="T80" fmla="*/ 0 w 312"/>
                <a:gd name="T81" fmla="*/ 127 h 210"/>
                <a:gd name="T82" fmla="*/ 0 w 312"/>
                <a:gd name="T83" fmla="*/ 127 h 210"/>
                <a:gd name="T84" fmla="*/ 9 w 312"/>
                <a:gd name="T85" fmla="*/ 146 h 210"/>
                <a:gd name="T86" fmla="*/ 9 w 312"/>
                <a:gd name="T87" fmla="*/ 165 h 210"/>
                <a:gd name="T88" fmla="*/ 22 w 312"/>
                <a:gd name="T89" fmla="*/ 165 h 210"/>
                <a:gd name="T90" fmla="*/ 44 w 312"/>
                <a:gd name="T91" fmla="*/ 184 h 210"/>
                <a:gd name="T92" fmla="*/ 57 w 312"/>
                <a:gd name="T93" fmla="*/ 184 h 210"/>
                <a:gd name="T94" fmla="*/ 63 w 312"/>
                <a:gd name="T95" fmla="*/ 197 h 210"/>
                <a:gd name="T96" fmla="*/ 92 w 312"/>
                <a:gd name="T97" fmla="*/ 197 h 210"/>
                <a:gd name="T98" fmla="*/ 114 w 312"/>
                <a:gd name="T99" fmla="*/ 210 h 210"/>
                <a:gd name="T100" fmla="*/ 124 w 312"/>
                <a:gd name="T101" fmla="*/ 197 h 210"/>
                <a:gd name="T102" fmla="*/ 127 w 312"/>
                <a:gd name="T103" fmla="*/ 197 h 210"/>
                <a:gd name="T104" fmla="*/ 140 w 312"/>
                <a:gd name="T105" fmla="*/ 194 h 210"/>
                <a:gd name="T106" fmla="*/ 153 w 312"/>
                <a:gd name="T107" fmla="*/ 184 h 210"/>
                <a:gd name="T108" fmla="*/ 156 w 312"/>
                <a:gd name="T109" fmla="*/ 184 h 210"/>
                <a:gd name="T110" fmla="*/ 165 w 312"/>
                <a:gd name="T111" fmla="*/ 181 h 210"/>
                <a:gd name="T112" fmla="*/ 172 w 312"/>
                <a:gd name="T113" fmla="*/ 168 h 210"/>
                <a:gd name="T114" fmla="*/ 184 w 312"/>
                <a:gd name="T115" fmla="*/ 175 h 210"/>
                <a:gd name="T116" fmla="*/ 197 w 312"/>
                <a:gd name="T117" fmla="*/ 175 h 210"/>
                <a:gd name="T118" fmla="*/ 200 w 312"/>
                <a:gd name="T119" fmla="*/ 181 h 210"/>
                <a:gd name="T120" fmla="*/ 200 w 312"/>
                <a:gd name="T121" fmla="*/ 181 h 210"/>
                <a:gd name="T122" fmla="*/ 200 w 312"/>
                <a:gd name="T123" fmla="*/ 181 h 2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210">
                  <a:moveTo>
                    <a:pt x="200" y="181"/>
                  </a:moveTo>
                  <a:lnTo>
                    <a:pt x="213" y="168"/>
                  </a:lnTo>
                  <a:lnTo>
                    <a:pt x="226" y="165"/>
                  </a:lnTo>
                  <a:lnTo>
                    <a:pt x="226" y="156"/>
                  </a:lnTo>
                  <a:lnTo>
                    <a:pt x="242" y="156"/>
                  </a:lnTo>
                  <a:lnTo>
                    <a:pt x="254" y="146"/>
                  </a:lnTo>
                  <a:lnTo>
                    <a:pt x="254" y="133"/>
                  </a:lnTo>
                  <a:lnTo>
                    <a:pt x="270" y="105"/>
                  </a:lnTo>
                  <a:lnTo>
                    <a:pt x="283" y="70"/>
                  </a:lnTo>
                  <a:lnTo>
                    <a:pt x="296" y="51"/>
                  </a:lnTo>
                  <a:lnTo>
                    <a:pt x="309" y="47"/>
                  </a:lnTo>
                  <a:lnTo>
                    <a:pt x="312" y="35"/>
                  </a:lnTo>
                  <a:lnTo>
                    <a:pt x="309" y="22"/>
                  </a:lnTo>
                  <a:lnTo>
                    <a:pt x="296" y="9"/>
                  </a:lnTo>
                  <a:lnTo>
                    <a:pt x="283" y="0"/>
                  </a:lnTo>
                  <a:lnTo>
                    <a:pt x="267" y="9"/>
                  </a:lnTo>
                  <a:lnTo>
                    <a:pt x="251" y="6"/>
                  </a:lnTo>
                  <a:lnTo>
                    <a:pt x="229" y="6"/>
                  </a:lnTo>
                  <a:lnTo>
                    <a:pt x="213" y="6"/>
                  </a:lnTo>
                  <a:lnTo>
                    <a:pt x="197" y="6"/>
                  </a:lnTo>
                  <a:lnTo>
                    <a:pt x="194" y="19"/>
                  </a:lnTo>
                  <a:lnTo>
                    <a:pt x="181" y="28"/>
                  </a:lnTo>
                  <a:lnTo>
                    <a:pt x="181" y="41"/>
                  </a:lnTo>
                  <a:lnTo>
                    <a:pt x="165" y="22"/>
                  </a:lnTo>
                  <a:lnTo>
                    <a:pt x="143" y="35"/>
                  </a:lnTo>
                  <a:lnTo>
                    <a:pt x="127" y="41"/>
                  </a:lnTo>
                  <a:lnTo>
                    <a:pt x="127" y="51"/>
                  </a:lnTo>
                  <a:lnTo>
                    <a:pt x="98" y="60"/>
                  </a:lnTo>
                  <a:lnTo>
                    <a:pt x="82" y="63"/>
                  </a:lnTo>
                  <a:lnTo>
                    <a:pt x="63" y="60"/>
                  </a:lnTo>
                  <a:lnTo>
                    <a:pt x="22" y="35"/>
                  </a:lnTo>
                  <a:lnTo>
                    <a:pt x="22" y="47"/>
                  </a:lnTo>
                  <a:lnTo>
                    <a:pt x="28" y="60"/>
                  </a:lnTo>
                  <a:lnTo>
                    <a:pt x="22" y="63"/>
                  </a:lnTo>
                  <a:lnTo>
                    <a:pt x="0" y="63"/>
                  </a:lnTo>
                  <a:lnTo>
                    <a:pt x="0" y="70"/>
                  </a:lnTo>
                  <a:lnTo>
                    <a:pt x="9" y="82"/>
                  </a:lnTo>
                  <a:lnTo>
                    <a:pt x="6" y="92"/>
                  </a:lnTo>
                  <a:lnTo>
                    <a:pt x="6" y="105"/>
                  </a:lnTo>
                  <a:lnTo>
                    <a:pt x="9" y="117"/>
                  </a:lnTo>
                  <a:lnTo>
                    <a:pt x="0" y="127"/>
                  </a:lnTo>
                  <a:lnTo>
                    <a:pt x="9" y="146"/>
                  </a:lnTo>
                  <a:lnTo>
                    <a:pt x="9" y="165"/>
                  </a:lnTo>
                  <a:lnTo>
                    <a:pt x="22" y="165"/>
                  </a:lnTo>
                  <a:lnTo>
                    <a:pt x="44" y="184"/>
                  </a:lnTo>
                  <a:lnTo>
                    <a:pt x="57" y="184"/>
                  </a:lnTo>
                  <a:lnTo>
                    <a:pt x="63" y="197"/>
                  </a:lnTo>
                  <a:lnTo>
                    <a:pt x="92" y="197"/>
                  </a:lnTo>
                  <a:lnTo>
                    <a:pt x="114" y="210"/>
                  </a:lnTo>
                  <a:lnTo>
                    <a:pt x="124" y="197"/>
                  </a:lnTo>
                  <a:lnTo>
                    <a:pt x="127" y="197"/>
                  </a:lnTo>
                  <a:lnTo>
                    <a:pt x="140" y="194"/>
                  </a:lnTo>
                  <a:lnTo>
                    <a:pt x="153" y="184"/>
                  </a:lnTo>
                  <a:lnTo>
                    <a:pt x="156" y="184"/>
                  </a:lnTo>
                  <a:lnTo>
                    <a:pt x="165" y="181"/>
                  </a:lnTo>
                  <a:lnTo>
                    <a:pt x="172" y="168"/>
                  </a:lnTo>
                  <a:lnTo>
                    <a:pt x="184" y="175"/>
                  </a:lnTo>
                  <a:lnTo>
                    <a:pt x="197" y="175"/>
                  </a:lnTo>
                  <a:lnTo>
                    <a:pt x="200" y="181"/>
                  </a:lnTo>
                  <a:close/>
                </a:path>
              </a:pathLst>
            </a:custGeom>
            <a:solidFill>
              <a:schemeClr val="bg1"/>
            </a:solidFill>
            <a:ln w="6350">
              <a:solidFill>
                <a:schemeClr val="accent2"/>
              </a:solidFill>
              <a:round/>
              <a:headEnd/>
              <a:tailEnd/>
            </a:ln>
          </p:spPr>
          <p:txBody>
            <a:bodyPr/>
            <a:lstStyle/>
            <a:p>
              <a:endParaRPr lang="de-DE"/>
            </a:p>
          </p:txBody>
        </p:sp>
        <p:sp>
          <p:nvSpPr>
            <p:cNvPr id="194" name="Freeform 34"/>
            <p:cNvSpPr>
              <a:spLocks/>
            </p:cNvSpPr>
            <p:nvPr/>
          </p:nvSpPr>
          <p:spPr bwMode="gray">
            <a:xfrm>
              <a:off x="3089" y="1782"/>
              <a:ext cx="312" cy="210"/>
            </a:xfrm>
            <a:custGeom>
              <a:avLst/>
              <a:gdLst>
                <a:gd name="T0" fmla="*/ 200 w 312"/>
                <a:gd name="T1" fmla="*/ 181 h 210"/>
                <a:gd name="T2" fmla="*/ 213 w 312"/>
                <a:gd name="T3" fmla="*/ 168 h 210"/>
                <a:gd name="T4" fmla="*/ 226 w 312"/>
                <a:gd name="T5" fmla="*/ 165 h 210"/>
                <a:gd name="T6" fmla="*/ 226 w 312"/>
                <a:gd name="T7" fmla="*/ 156 h 210"/>
                <a:gd name="T8" fmla="*/ 242 w 312"/>
                <a:gd name="T9" fmla="*/ 156 h 210"/>
                <a:gd name="T10" fmla="*/ 254 w 312"/>
                <a:gd name="T11" fmla="*/ 146 h 210"/>
                <a:gd name="T12" fmla="*/ 254 w 312"/>
                <a:gd name="T13" fmla="*/ 133 h 210"/>
                <a:gd name="T14" fmla="*/ 270 w 312"/>
                <a:gd name="T15" fmla="*/ 105 h 210"/>
                <a:gd name="T16" fmla="*/ 283 w 312"/>
                <a:gd name="T17" fmla="*/ 70 h 210"/>
                <a:gd name="T18" fmla="*/ 296 w 312"/>
                <a:gd name="T19" fmla="*/ 51 h 210"/>
                <a:gd name="T20" fmla="*/ 309 w 312"/>
                <a:gd name="T21" fmla="*/ 47 h 210"/>
                <a:gd name="T22" fmla="*/ 312 w 312"/>
                <a:gd name="T23" fmla="*/ 35 h 210"/>
                <a:gd name="T24" fmla="*/ 309 w 312"/>
                <a:gd name="T25" fmla="*/ 22 h 210"/>
                <a:gd name="T26" fmla="*/ 296 w 312"/>
                <a:gd name="T27" fmla="*/ 9 h 210"/>
                <a:gd name="T28" fmla="*/ 283 w 312"/>
                <a:gd name="T29" fmla="*/ 0 h 210"/>
                <a:gd name="T30" fmla="*/ 267 w 312"/>
                <a:gd name="T31" fmla="*/ 9 h 210"/>
                <a:gd name="T32" fmla="*/ 251 w 312"/>
                <a:gd name="T33" fmla="*/ 6 h 210"/>
                <a:gd name="T34" fmla="*/ 229 w 312"/>
                <a:gd name="T35" fmla="*/ 6 h 210"/>
                <a:gd name="T36" fmla="*/ 213 w 312"/>
                <a:gd name="T37" fmla="*/ 6 h 210"/>
                <a:gd name="T38" fmla="*/ 197 w 312"/>
                <a:gd name="T39" fmla="*/ 6 h 210"/>
                <a:gd name="T40" fmla="*/ 194 w 312"/>
                <a:gd name="T41" fmla="*/ 19 h 210"/>
                <a:gd name="T42" fmla="*/ 181 w 312"/>
                <a:gd name="T43" fmla="*/ 28 h 210"/>
                <a:gd name="T44" fmla="*/ 181 w 312"/>
                <a:gd name="T45" fmla="*/ 41 h 210"/>
                <a:gd name="T46" fmla="*/ 165 w 312"/>
                <a:gd name="T47" fmla="*/ 22 h 210"/>
                <a:gd name="T48" fmla="*/ 143 w 312"/>
                <a:gd name="T49" fmla="*/ 35 h 210"/>
                <a:gd name="T50" fmla="*/ 127 w 312"/>
                <a:gd name="T51" fmla="*/ 41 h 210"/>
                <a:gd name="T52" fmla="*/ 127 w 312"/>
                <a:gd name="T53" fmla="*/ 51 h 210"/>
                <a:gd name="T54" fmla="*/ 98 w 312"/>
                <a:gd name="T55" fmla="*/ 60 h 210"/>
                <a:gd name="T56" fmla="*/ 82 w 312"/>
                <a:gd name="T57" fmla="*/ 63 h 210"/>
                <a:gd name="T58" fmla="*/ 63 w 312"/>
                <a:gd name="T59" fmla="*/ 60 h 210"/>
                <a:gd name="T60" fmla="*/ 22 w 312"/>
                <a:gd name="T61" fmla="*/ 35 h 210"/>
                <a:gd name="T62" fmla="*/ 22 w 312"/>
                <a:gd name="T63" fmla="*/ 47 h 210"/>
                <a:gd name="T64" fmla="*/ 28 w 312"/>
                <a:gd name="T65" fmla="*/ 60 h 210"/>
                <a:gd name="T66" fmla="*/ 22 w 312"/>
                <a:gd name="T67" fmla="*/ 63 h 210"/>
                <a:gd name="T68" fmla="*/ 0 w 312"/>
                <a:gd name="T69" fmla="*/ 63 h 210"/>
                <a:gd name="T70" fmla="*/ 0 w 312"/>
                <a:gd name="T71" fmla="*/ 70 h 210"/>
                <a:gd name="T72" fmla="*/ 9 w 312"/>
                <a:gd name="T73" fmla="*/ 82 h 210"/>
                <a:gd name="T74" fmla="*/ 6 w 312"/>
                <a:gd name="T75" fmla="*/ 92 h 210"/>
                <a:gd name="T76" fmla="*/ 6 w 312"/>
                <a:gd name="T77" fmla="*/ 105 h 210"/>
                <a:gd name="T78" fmla="*/ 9 w 312"/>
                <a:gd name="T79" fmla="*/ 117 h 210"/>
                <a:gd name="T80" fmla="*/ 0 w 312"/>
                <a:gd name="T81" fmla="*/ 127 h 210"/>
                <a:gd name="T82" fmla="*/ 0 w 312"/>
                <a:gd name="T83" fmla="*/ 127 h 210"/>
                <a:gd name="T84" fmla="*/ 9 w 312"/>
                <a:gd name="T85" fmla="*/ 146 h 210"/>
                <a:gd name="T86" fmla="*/ 9 w 312"/>
                <a:gd name="T87" fmla="*/ 165 h 210"/>
                <a:gd name="T88" fmla="*/ 22 w 312"/>
                <a:gd name="T89" fmla="*/ 165 h 210"/>
                <a:gd name="T90" fmla="*/ 44 w 312"/>
                <a:gd name="T91" fmla="*/ 184 h 210"/>
                <a:gd name="T92" fmla="*/ 57 w 312"/>
                <a:gd name="T93" fmla="*/ 184 h 210"/>
                <a:gd name="T94" fmla="*/ 63 w 312"/>
                <a:gd name="T95" fmla="*/ 197 h 210"/>
                <a:gd name="T96" fmla="*/ 92 w 312"/>
                <a:gd name="T97" fmla="*/ 197 h 210"/>
                <a:gd name="T98" fmla="*/ 114 w 312"/>
                <a:gd name="T99" fmla="*/ 210 h 210"/>
                <a:gd name="T100" fmla="*/ 124 w 312"/>
                <a:gd name="T101" fmla="*/ 197 h 210"/>
                <a:gd name="T102" fmla="*/ 127 w 312"/>
                <a:gd name="T103" fmla="*/ 197 h 210"/>
                <a:gd name="T104" fmla="*/ 140 w 312"/>
                <a:gd name="T105" fmla="*/ 194 h 210"/>
                <a:gd name="T106" fmla="*/ 153 w 312"/>
                <a:gd name="T107" fmla="*/ 184 h 210"/>
                <a:gd name="T108" fmla="*/ 156 w 312"/>
                <a:gd name="T109" fmla="*/ 184 h 210"/>
                <a:gd name="T110" fmla="*/ 165 w 312"/>
                <a:gd name="T111" fmla="*/ 181 h 210"/>
                <a:gd name="T112" fmla="*/ 172 w 312"/>
                <a:gd name="T113" fmla="*/ 168 h 210"/>
                <a:gd name="T114" fmla="*/ 184 w 312"/>
                <a:gd name="T115" fmla="*/ 175 h 210"/>
                <a:gd name="T116" fmla="*/ 197 w 312"/>
                <a:gd name="T117" fmla="*/ 175 h 210"/>
                <a:gd name="T118" fmla="*/ 200 w 312"/>
                <a:gd name="T119" fmla="*/ 181 h 210"/>
                <a:gd name="T120" fmla="*/ 200 w 312"/>
                <a:gd name="T121" fmla="*/ 181 h 210"/>
                <a:gd name="T122" fmla="*/ 200 w 312"/>
                <a:gd name="T123" fmla="*/ 181 h 2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210">
                  <a:moveTo>
                    <a:pt x="200" y="181"/>
                  </a:moveTo>
                  <a:lnTo>
                    <a:pt x="213" y="168"/>
                  </a:lnTo>
                  <a:lnTo>
                    <a:pt x="226" y="165"/>
                  </a:lnTo>
                  <a:lnTo>
                    <a:pt x="226" y="156"/>
                  </a:lnTo>
                  <a:lnTo>
                    <a:pt x="242" y="156"/>
                  </a:lnTo>
                  <a:lnTo>
                    <a:pt x="254" y="146"/>
                  </a:lnTo>
                  <a:lnTo>
                    <a:pt x="254" y="133"/>
                  </a:lnTo>
                  <a:lnTo>
                    <a:pt x="270" y="105"/>
                  </a:lnTo>
                  <a:lnTo>
                    <a:pt x="283" y="70"/>
                  </a:lnTo>
                  <a:lnTo>
                    <a:pt x="296" y="51"/>
                  </a:lnTo>
                  <a:lnTo>
                    <a:pt x="309" y="47"/>
                  </a:lnTo>
                  <a:lnTo>
                    <a:pt x="312" y="35"/>
                  </a:lnTo>
                  <a:lnTo>
                    <a:pt x="309" y="22"/>
                  </a:lnTo>
                  <a:lnTo>
                    <a:pt x="296" y="9"/>
                  </a:lnTo>
                  <a:lnTo>
                    <a:pt x="283" y="0"/>
                  </a:lnTo>
                  <a:lnTo>
                    <a:pt x="267" y="9"/>
                  </a:lnTo>
                  <a:lnTo>
                    <a:pt x="251" y="6"/>
                  </a:lnTo>
                  <a:lnTo>
                    <a:pt x="229" y="6"/>
                  </a:lnTo>
                  <a:lnTo>
                    <a:pt x="213" y="6"/>
                  </a:lnTo>
                  <a:lnTo>
                    <a:pt x="197" y="6"/>
                  </a:lnTo>
                  <a:lnTo>
                    <a:pt x="194" y="19"/>
                  </a:lnTo>
                  <a:lnTo>
                    <a:pt x="181" y="28"/>
                  </a:lnTo>
                  <a:lnTo>
                    <a:pt x="181" y="41"/>
                  </a:lnTo>
                  <a:lnTo>
                    <a:pt x="165" y="22"/>
                  </a:lnTo>
                  <a:lnTo>
                    <a:pt x="143" y="35"/>
                  </a:lnTo>
                  <a:lnTo>
                    <a:pt x="127" y="41"/>
                  </a:lnTo>
                  <a:lnTo>
                    <a:pt x="127" y="51"/>
                  </a:lnTo>
                  <a:lnTo>
                    <a:pt x="98" y="60"/>
                  </a:lnTo>
                  <a:lnTo>
                    <a:pt x="82" y="63"/>
                  </a:lnTo>
                  <a:lnTo>
                    <a:pt x="63" y="60"/>
                  </a:lnTo>
                  <a:lnTo>
                    <a:pt x="22" y="35"/>
                  </a:lnTo>
                  <a:lnTo>
                    <a:pt x="22" y="47"/>
                  </a:lnTo>
                  <a:lnTo>
                    <a:pt x="28" y="60"/>
                  </a:lnTo>
                  <a:lnTo>
                    <a:pt x="22" y="63"/>
                  </a:lnTo>
                  <a:lnTo>
                    <a:pt x="0" y="63"/>
                  </a:lnTo>
                  <a:lnTo>
                    <a:pt x="0" y="70"/>
                  </a:lnTo>
                  <a:lnTo>
                    <a:pt x="9" y="82"/>
                  </a:lnTo>
                  <a:lnTo>
                    <a:pt x="6" y="92"/>
                  </a:lnTo>
                  <a:lnTo>
                    <a:pt x="6" y="105"/>
                  </a:lnTo>
                  <a:lnTo>
                    <a:pt x="9" y="117"/>
                  </a:lnTo>
                  <a:lnTo>
                    <a:pt x="0" y="127"/>
                  </a:lnTo>
                  <a:lnTo>
                    <a:pt x="9" y="146"/>
                  </a:lnTo>
                  <a:lnTo>
                    <a:pt x="9" y="165"/>
                  </a:lnTo>
                  <a:lnTo>
                    <a:pt x="22" y="165"/>
                  </a:lnTo>
                  <a:lnTo>
                    <a:pt x="44" y="184"/>
                  </a:lnTo>
                  <a:lnTo>
                    <a:pt x="57" y="184"/>
                  </a:lnTo>
                  <a:lnTo>
                    <a:pt x="63" y="197"/>
                  </a:lnTo>
                  <a:lnTo>
                    <a:pt x="92" y="197"/>
                  </a:lnTo>
                  <a:lnTo>
                    <a:pt x="114" y="210"/>
                  </a:lnTo>
                  <a:lnTo>
                    <a:pt x="124" y="197"/>
                  </a:lnTo>
                  <a:lnTo>
                    <a:pt x="127" y="197"/>
                  </a:lnTo>
                  <a:lnTo>
                    <a:pt x="140" y="194"/>
                  </a:lnTo>
                  <a:lnTo>
                    <a:pt x="153" y="184"/>
                  </a:lnTo>
                  <a:lnTo>
                    <a:pt x="156" y="184"/>
                  </a:lnTo>
                  <a:lnTo>
                    <a:pt x="165" y="181"/>
                  </a:lnTo>
                  <a:lnTo>
                    <a:pt x="172" y="168"/>
                  </a:lnTo>
                  <a:lnTo>
                    <a:pt x="184" y="175"/>
                  </a:lnTo>
                  <a:lnTo>
                    <a:pt x="197" y="175"/>
                  </a:lnTo>
                  <a:lnTo>
                    <a:pt x="200" y="181"/>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195" name="Freeform 35"/>
            <p:cNvSpPr>
              <a:spLocks/>
            </p:cNvSpPr>
            <p:nvPr/>
          </p:nvSpPr>
          <p:spPr bwMode="gray">
            <a:xfrm>
              <a:off x="3114" y="1721"/>
              <a:ext cx="271" cy="124"/>
            </a:xfrm>
            <a:custGeom>
              <a:avLst/>
              <a:gdLst>
                <a:gd name="T0" fmla="*/ 0 w 271"/>
                <a:gd name="T1" fmla="*/ 96 h 124"/>
                <a:gd name="T2" fmla="*/ 42 w 271"/>
                <a:gd name="T3" fmla="*/ 121 h 124"/>
                <a:gd name="T4" fmla="*/ 57 w 271"/>
                <a:gd name="T5" fmla="*/ 124 h 124"/>
                <a:gd name="T6" fmla="*/ 73 w 271"/>
                <a:gd name="T7" fmla="*/ 121 h 124"/>
                <a:gd name="T8" fmla="*/ 102 w 271"/>
                <a:gd name="T9" fmla="*/ 112 h 124"/>
                <a:gd name="T10" fmla="*/ 102 w 271"/>
                <a:gd name="T11" fmla="*/ 99 h 124"/>
                <a:gd name="T12" fmla="*/ 118 w 271"/>
                <a:gd name="T13" fmla="*/ 96 h 124"/>
                <a:gd name="T14" fmla="*/ 137 w 271"/>
                <a:gd name="T15" fmla="*/ 83 h 124"/>
                <a:gd name="T16" fmla="*/ 156 w 271"/>
                <a:gd name="T17" fmla="*/ 99 h 124"/>
                <a:gd name="T18" fmla="*/ 156 w 271"/>
                <a:gd name="T19" fmla="*/ 89 h 124"/>
                <a:gd name="T20" fmla="*/ 169 w 271"/>
                <a:gd name="T21" fmla="*/ 80 h 124"/>
                <a:gd name="T22" fmla="*/ 172 w 271"/>
                <a:gd name="T23" fmla="*/ 67 h 124"/>
                <a:gd name="T24" fmla="*/ 188 w 271"/>
                <a:gd name="T25" fmla="*/ 67 h 124"/>
                <a:gd name="T26" fmla="*/ 204 w 271"/>
                <a:gd name="T27" fmla="*/ 67 h 124"/>
                <a:gd name="T28" fmla="*/ 226 w 271"/>
                <a:gd name="T29" fmla="*/ 67 h 124"/>
                <a:gd name="T30" fmla="*/ 242 w 271"/>
                <a:gd name="T31" fmla="*/ 70 h 124"/>
                <a:gd name="T32" fmla="*/ 258 w 271"/>
                <a:gd name="T33" fmla="*/ 57 h 124"/>
                <a:gd name="T34" fmla="*/ 258 w 271"/>
                <a:gd name="T35" fmla="*/ 42 h 124"/>
                <a:gd name="T36" fmla="*/ 271 w 271"/>
                <a:gd name="T37" fmla="*/ 22 h 124"/>
                <a:gd name="T38" fmla="*/ 271 w 271"/>
                <a:gd name="T39" fmla="*/ 22 h 124"/>
                <a:gd name="T40" fmla="*/ 245 w 271"/>
                <a:gd name="T41" fmla="*/ 0 h 124"/>
                <a:gd name="T42" fmla="*/ 229 w 271"/>
                <a:gd name="T43" fmla="*/ 0 h 124"/>
                <a:gd name="T44" fmla="*/ 217 w 271"/>
                <a:gd name="T45" fmla="*/ 10 h 124"/>
                <a:gd name="T46" fmla="*/ 213 w 271"/>
                <a:gd name="T47" fmla="*/ 0 h 124"/>
                <a:gd name="T48" fmla="*/ 201 w 271"/>
                <a:gd name="T49" fmla="*/ 0 h 124"/>
                <a:gd name="T50" fmla="*/ 198 w 271"/>
                <a:gd name="T51" fmla="*/ 13 h 124"/>
                <a:gd name="T52" fmla="*/ 188 w 271"/>
                <a:gd name="T53" fmla="*/ 10 h 124"/>
                <a:gd name="T54" fmla="*/ 175 w 271"/>
                <a:gd name="T55" fmla="*/ 10 h 124"/>
                <a:gd name="T56" fmla="*/ 169 w 271"/>
                <a:gd name="T57" fmla="*/ 0 h 124"/>
                <a:gd name="T58" fmla="*/ 159 w 271"/>
                <a:gd name="T59" fmla="*/ 10 h 124"/>
                <a:gd name="T60" fmla="*/ 147 w 271"/>
                <a:gd name="T61" fmla="*/ 22 h 124"/>
                <a:gd name="T62" fmla="*/ 143 w 271"/>
                <a:gd name="T63" fmla="*/ 22 h 124"/>
                <a:gd name="T64" fmla="*/ 137 w 271"/>
                <a:gd name="T65" fmla="*/ 13 h 124"/>
                <a:gd name="T66" fmla="*/ 137 w 271"/>
                <a:gd name="T67" fmla="*/ 22 h 124"/>
                <a:gd name="T68" fmla="*/ 115 w 271"/>
                <a:gd name="T69" fmla="*/ 13 h 124"/>
                <a:gd name="T70" fmla="*/ 102 w 271"/>
                <a:gd name="T71" fmla="*/ 26 h 124"/>
                <a:gd name="T72" fmla="*/ 86 w 271"/>
                <a:gd name="T73" fmla="*/ 26 h 124"/>
                <a:gd name="T74" fmla="*/ 73 w 271"/>
                <a:gd name="T75" fmla="*/ 42 h 124"/>
                <a:gd name="T76" fmla="*/ 48 w 271"/>
                <a:gd name="T77" fmla="*/ 42 h 124"/>
                <a:gd name="T78" fmla="*/ 32 w 271"/>
                <a:gd name="T79" fmla="*/ 54 h 124"/>
                <a:gd name="T80" fmla="*/ 29 w 271"/>
                <a:gd name="T81" fmla="*/ 51 h 124"/>
                <a:gd name="T82" fmla="*/ 16 w 271"/>
                <a:gd name="T83" fmla="*/ 51 h 124"/>
                <a:gd name="T84" fmla="*/ 0 w 271"/>
                <a:gd name="T85" fmla="*/ 54 h 124"/>
                <a:gd name="T86" fmla="*/ 0 w 271"/>
                <a:gd name="T87" fmla="*/ 54 h 124"/>
                <a:gd name="T88" fmla="*/ 0 w 271"/>
                <a:gd name="T89" fmla="*/ 70 h 124"/>
                <a:gd name="T90" fmla="*/ 0 w 271"/>
                <a:gd name="T91" fmla="*/ 96 h 124"/>
                <a:gd name="T92" fmla="*/ 0 w 271"/>
                <a:gd name="T93" fmla="*/ 96 h 124"/>
                <a:gd name="T94" fmla="*/ 0 w 271"/>
                <a:gd name="T95" fmla="*/ 9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1" h="124">
                  <a:moveTo>
                    <a:pt x="0" y="96"/>
                  </a:moveTo>
                  <a:lnTo>
                    <a:pt x="42" y="121"/>
                  </a:lnTo>
                  <a:lnTo>
                    <a:pt x="57" y="124"/>
                  </a:lnTo>
                  <a:lnTo>
                    <a:pt x="73" y="121"/>
                  </a:lnTo>
                  <a:lnTo>
                    <a:pt x="102" y="112"/>
                  </a:lnTo>
                  <a:lnTo>
                    <a:pt x="102" y="99"/>
                  </a:lnTo>
                  <a:lnTo>
                    <a:pt x="118" y="96"/>
                  </a:lnTo>
                  <a:lnTo>
                    <a:pt x="137" y="83"/>
                  </a:lnTo>
                  <a:lnTo>
                    <a:pt x="156" y="99"/>
                  </a:lnTo>
                  <a:lnTo>
                    <a:pt x="156" y="89"/>
                  </a:lnTo>
                  <a:lnTo>
                    <a:pt x="169" y="80"/>
                  </a:lnTo>
                  <a:lnTo>
                    <a:pt x="172" y="67"/>
                  </a:lnTo>
                  <a:lnTo>
                    <a:pt x="188" y="67"/>
                  </a:lnTo>
                  <a:lnTo>
                    <a:pt x="204" y="67"/>
                  </a:lnTo>
                  <a:lnTo>
                    <a:pt x="226" y="67"/>
                  </a:lnTo>
                  <a:lnTo>
                    <a:pt x="242" y="70"/>
                  </a:lnTo>
                  <a:lnTo>
                    <a:pt x="258" y="57"/>
                  </a:lnTo>
                  <a:lnTo>
                    <a:pt x="258" y="42"/>
                  </a:lnTo>
                  <a:lnTo>
                    <a:pt x="271" y="22"/>
                  </a:lnTo>
                  <a:lnTo>
                    <a:pt x="271" y="22"/>
                  </a:lnTo>
                  <a:lnTo>
                    <a:pt x="245" y="0"/>
                  </a:lnTo>
                  <a:lnTo>
                    <a:pt x="229" y="0"/>
                  </a:lnTo>
                  <a:lnTo>
                    <a:pt x="217" y="10"/>
                  </a:lnTo>
                  <a:lnTo>
                    <a:pt x="213" y="0"/>
                  </a:lnTo>
                  <a:lnTo>
                    <a:pt x="201" y="0"/>
                  </a:lnTo>
                  <a:lnTo>
                    <a:pt x="198" y="13"/>
                  </a:lnTo>
                  <a:lnTo>
                    <a:pt x="188" y="10"/>
                  </a:lnTo>
                  <a:lnTo>
                    <a:pt x="175" y="10"/>
                  </a:lnTo>
                  <a:lnTo>
                    <a:pt x="169" y="0"/>
                  </a:lnTo>
                  <a:lnTo>
                    <a:pt x="159" y="10"/>
                  </a:lnTo>
                  <a:lnTo>
                    <a:pt x="147" y="22"/>
                  </a:lnTo>
                  <a:lnTo>
                    <a:pt x="143" y="22"/>
                  </a:lnTo>
                  <a:lnTo>
                    <a:pt x="137" y="13"/>
                  </a:lnTo>
                  <a:lnTo>
                    <a:pt x="137" y="22"/>
                  </a:lnTo>
                  <a:lnTo>
                    <a:pt x="115" y="13"/>
                  </a:lnTo>
                  <a:lnTo>
                    <a:pt x="102" y="26"/>
                  </a:lnTo>
                  <a:lnTo>
                    <a:pt x="86" y="26"/>
                  </a:lnTo>
                  <a:lnTo>
                    <a:pt x="73" y="42"/>
                  </a:lnTo>
                  <a:lnTo>
                    <a:pt x="48" y="42"/>
                  </a:lnTo>
                  <a:lnTo>
                    <a:pt x="32" y="54"/>
                  </a:lnTo>
                  <a:lnTo>
                    <a:pt x="29" y="51"/>
                  </a:lnTo>
                  <a:lnTo>
                    <a:pt x="16" y="51"/>
                  </a:lnTo>
                  <a:lnTo>
                    <a:pt x="0" y="54"/>
                  </a:lnTo>
                  <a:lnTo>
                    <a:pt x="0" y="54"/>
                  </a:lnTo>
                  <a:lnTo>
                    <a:pt x="0" y="70"/>
                  </a:lnTo>
                  <a:lnTo>
                    <a:pt x="0" y="96"/>
                  </a:lnTo>
                  <a:lnTo>
                    <a:pt x="0" y="96"/>
                  </a:lnTo>
                  <a:lnTo>
                    <a:pt x="0" y="96"/>
                  </a:lnTo>
                  <a:close/>
                </a:path>
              </a:pathLst>
            </a:custGeom>
            <a:solidFill>
              <a:schemeClr val="bg1"/>
            </a:solidFill>
            <a:ln w="6350">
              <a:solidFill>
                <a:schemeClr val="accent2"/>
              </a:solidFill>
              <a:round/>
              <a:headEnd/>
              <a:tailEnd/>
            </a:ln>
          </p:spPr>
          <p:txBody>
            <a:bodyPr/>
            <a:lstStyle/>
            <a:p>
              <a:endParaRPr lang="de-DE" dirty="0"/>
            </a:p>
          </p:txBody>
        </p:sp>
        <p:sp>
          <p:nvSpPr>
            <p:cNvPr id="196" name="Freeform 36"/>
            <p:cNvSpPr>
              <a:spLocks/>
            </p:cNvSpPr>
            <p:nvPr/>
          </p:nvSpPr>
          <p:spPr bwMode="gray">
            <a:xfrm>
              <a:off x="3114" y="1721"/>
              <a:ext cx="271" cy="124"/>
            </a:xfrm>
            <a:custGeom>
              <a:avLst/>
              <a:gdLst>
                <a:gd name="T0" fmla="*/ 0 w 271"/>
                <a:gd name="T1" fmla="*/ 96 h 124"/>
                <a:gd name="T2" fmla="*/ 42 w 271"/>
                <a:gd name="T3" fmla="*/ 121 h 124"/>
                <a:gd name="T4" fmla="*/ 57 w 271"/>
                <a:gd name="T5" fmla="*/ 124 h 124"/>
                <a:gd name="T6" fmla="*/ 73 w 271"/>
                <a:gd name="T7" fmla="*/ 121 h 124"/>
                <a:gd name="T8" fmla="*/ 102 w 271"/>
                <a:gd name="T9" fmla="*/ 112 h 124"/>
                <a:gd name="T10" fmla="*/ 102 w 271"/>
                <a:gd name="T11" fmla="*/ 99 h 124"/>
                <a:gd name="T12" fmla="*/ 118 w 271"/>
                <a:gd name="T13" fmla="*/ 96 h 124"/>
                <a:gd name="T14" fmla="*/ 137 w 271"/>
                <a:gd name="T15" fmla="*/ 83 h 124"/>
                <a:gd name="T16" fmla="*/ 156 w 271"/>
                <a:gd name="T17" fmla="*/ 99 h 124"/>
                <a:gd name="T18" fmla="*/ 156 w 271"/>
                <a:gd name="T19" fmla="*/ 89 h 124"/>
                <a:gd name="T20" fmla="*/ 169 w 271"/>
                <a:gd name="T21" fmla="*/ 80 h 124"/>
                <a:gd name="T22" fmla="*/ 172 w 271"/>
                <a:gd name="T23" fmla="*/ 67 h 124"/>
                <a:gd name="T24" fmla="*/ 188 w 271"/>
                <a:gd name="T25" fmla="*/ 67 h 124"/>
                <a:gd name="T26" fmla="*/ 204 w 271"/>
                <a:gd name="T27" fmla="*/ 67 h 124"/>
                <a:gd name="T28" fmla="*/ 226 w 271"/>
                <a:gd name="T29" fmla="*/ 67 h 124"/>
                <a:gd name="T30" fmla="*/ 242 w 271"/>
                <a:gd name="T31" fmla="*/ 70 h 124"/>
                <a:gd name="T32" fmla="*/ 258 w 271"/>
                <a:gd name="T33" fmla="*/ 57 h 124"/>
                <a:gd name="T34" fmla="*/ 258 w 271"/>
                <a:gd name="T35" fmla="*/ 42 h 124"/>
                <a:gd name="T36" fmla="*/ 271 w 271"/>
                <a:gd name="T37" fmla="*/ 22 h 124"/>
                <a:gd name="T38" fmla="*/ 271 w 271"/>
                <a:gd name="T39" fmla="*/ 22 h 124"/>
                <a:gd name="T40" fmla="*/ 245 w 271"/>
                <a:gd name="T41" fmla="*/ 0 h 124"/>
                <a:gd name="T42" fmla="*/ 229 w 271"/>
                <a:gd name="T43" fmla="*/ 0 h 124"/>
                <a:gd name="T44" fmla="*/ 217 w 271"/>
                <a:gd name="T45" fmla="*/ 10 h 124"/>
                <a:gd name="T46" fmla="*/ 213 w 271"/>
                <a:gd name="T47" fmla="*/ 0 h 124"/>
                <a:gd name="T48" fmla="*/ 201 w 271"/>
                <a:gd name="T49" fmla="*/ 0 h 124"/>
                <a:gd name="T50" fmla="*/ 198 w 271"/>
                <a:gd name="T51" fmla="*/ 13 h 124"/>
                <a:gd name="T52" fmla="*/ 188 w 271"/>
                <a:gd name="T53" fmla="*/ 10 h 124"/>
                <a:gd name="T54" fmla="*/ 175 w 271"/>
                <a:gd name="T55" fmla="*/ 10 h 124"/>
                <a:gd name="T56" fmla="*/ 169 w 271"/>
                <a:gd name="T57" fmla="*/ 0 h 124"/>
                <a:gd name="T58" fmla="*/ 159 w 271"/>
                <a:gd name="T59" fmla="*/ 10 h 124"/>
                <a:gd name="T60" fmla="*/ 147 w 271"/>
                <a:gd name="T61" fmla="*/ 22 h 124"/>
                <a:gd name="T62" fmla="*/ 143 w 271"/>
                <a:gd name="T63" fmla="*/ 22 h 124"/>
                <a:gd name="T64" fmla="*/ 137 w 271"/>
                <a:gd name="T65" fmla="*/ 13 h 124"/>
                <a:gd name="T66" fmla="*/ 137 w 271"/>
                <a:gd name="T67" fmla="*/ 22 h 124"/>
                <a:gd name="T68" fmla="*/ 115 w 271"/>
                <a:gd name="T69" fmla="*/ 13 h 124"/>
                <a:gd name="T70" fmla="*/ 102 w 271"/>
                <a:gd name="T71" fmla="*/ 26 h 124"/>
                <a:gd name="T72" fmla="*/ 86 w 271"/>
                <a:gd name="T73" fmla="*/ 26 h 124"/>
                <a:gd name="T74" fmla="*/ 73 w 271"/>
                <a:gd name="T75" fmla="*/ 42 h 124"/>
                <a:gd name="T76" fmla="*/ 48 w 271"/>
                <a:gd name="T77" fmla="*/ 42 h 124"/>
                <a:gd name="T78" fmla="*/ 32 w 271"/>
                <a:gd name="T79" fmla="*/ 54 h 124"/>
                <a:gd name="T80" fmla="*/ 29 w 271"/>
                <a:gd name="T81" fmla="*/ 51 h 124"/>
                <a:gd name="T82" fmla="*/ 16 w 271"/>
                <a:gd name="T83" fmla="*/ 51 h 124"/>
                <a:gd name="T84" fmla="*/ 0 w 271"/>
                <a:gd name="T85" fmla="*/ 54 h 124"/>
                <a:gd name="T86" fmla="*/ 0 w 271"/>
                <a:gd name="T87" fmla="*/ 54 h 124"/>
                <a:gd name="T88" fmla="*/ 0 w 271"/>
                <a:gd name="T89" fmla="*/ 70 h 124"/>
                <a:gd name="T90" fmla="*/ 0 w 271"/>
                <a:gd name="T91" fmla="*/ 96 h 124"/>
                <a:gd name="T92" fmla="*/ 0 w 271"/>
                <a:gd name="T93" fmla="*/ 96 h 124"/>
                <a:gd name="T94" fmla="*/ 0 w 271"/>
                <a:gd name="T95" fmla="*/ 96 h 12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71" h="124">
                  <a:moveTo>
                    <a:pt x="0" y="96"/>
                  </a:moveTo>
                  <a:lnTo>
                    <a:pt x="42" y="121"/>
                  </a:lnTo>
                  <a:lnTo>
                    <a:pt x="57" y="124"/>
                  </a:lnTo>
                  <a:lnTo>
                    <a:pt x="73" y="121"/>
                  </a:lnTo>
                  <a:lnTo>
                    <a:pt x="102" y="112"/>
                  </a:lnTo>
                  <a:lnTo>
                    <a:pt x="102" y="99"/>
                  </a:lnTo>
                  <a:lnTo>
                    <a:pt x="118" y="96"/>
                  </a:lnTo>
                  <a:lnTo>
                    <a:pt x="137" y="83"/>
                  </a:lnTo>
                  <a:lnTo>
                    <a:pt x="156" y="99"/>
                  </a:lnTo>
                  <a:lnTo>
                    <a:pt x="156" y="89"/>
                  </a:lnTo>
                  <a:lnTo>
                    <a:pt x="169" y="80"/>
                  </a:lnTo>
                  <a:lnTo>
                    <a:pt x="172" y="67"/>
                  </a:lnTo>
                  <a:lnTo>
                    <a:pt x="188" y="67"/>
                  </a:lnTo>
                  <a:lnTo>
                    <a:pt x="204" y="67"/>
                  </a:lnTo>
                  <a:lnTo>
                    <a:pt x="226" y="67"/>
                  </a:lnTo>
                  <a:lnTo>
                    <a:pt x="242" y="70"/>
                  </a:lnTo>
                  <a:lnTo>
                    <a:pt x="258" y="57"/>
                  </a:lnTo>
                  <a:lnTo>
                    <a:pt x="258" y="42"/>
                  </a:lnTo>
                  <a:lnTo>
                    <a:pt x="271" y="22"/>
                  </a:lnTo>
                  <a:lnTo>
                    <a:pt x="245" y="0"/>
                  </a:lnTo>
                  <a:lnTo>
                    <a:pt x="229" y="0"/>
                  </a:lnTo>
                  <a:lnTo>
                    <a:pt x="217" y="10"/>
                  </a:lnTo>
                  <a:lnTo>
                    <a:pt x="213" y="0"/>
                  </a:lnTo>
                  <a:lnTo>
                    <a:pt x="201" y="0"/>
                  </a:lnTo>
                  <a:lnTo>
                    <a:pt x="198" y="13"/>
                  </a:lnTo>
                  <a:lnTo>
                    <a:pt x="188" y="10"/>
                  </a:lnTo>
                  <a:lnTo>
                    <a:pt x="175" y="10"/>
                  </a:lnTo>
                  <a:lnTo>
                    <a:pt x="169" y="0"/>
                  </a:lnTo>
                  <a:lnTo>
                    <a:pt x="159" y="10"/>
                  </a:lnTo>
                  <a:lnTo>
                    <a:pt x="147" y="22"/>
                  </a:lnTo>
                  <a:lnTo>
                    <a:pt x="143" y="22"/>
                  </a:lnTo>
                  <a:lnTo>
                    <a:pt x="137" y="13"/>
                  </a:lnTo>
                  <a:lnTo>
                    <a:pt x="137" y="22"/>
                  </a:lnTo>
                  <a:lnTo>
                    <a:pt x="115" y="13"/>
                  </a:lnTo>
                  <a:lnTo>
                    <a:pt x="102" y="26"/>
                  </a:lnTo>
                  <a:lnTo>
                    <a:pt x="86" y="26"/>
                  </a:lnTo>
                  <a:lnTo>
                    <a:pt x="73" y="42"/>
                  </a:lnTo>
                  <a:lnTo>
                    <a:pt x="48" y="42"/>
                  </a:lnTo>
                  <a:lnTo>
                    <a:pt x="32" y="54"/>
                  </a:lnTo>
                  <a:lnTo>
                    <a:pt x="29" y="51"/>
                  </a:lnTo>
                  <a:lnTo>
                    <a:pt x="16" y="51"/>
                  </a:lnTo>
                  <a:lnTo>
                    <a:pt x="0" y="54"/>
                  </a:lnTo>
                  <a:lnTo>
                    <a:pt x="0" y="70"/>
                  </a:lnTo>
                  <a:lnTo>
                    <a:pt x="0" y="96"/>
                  </a:lnTo>
                  <a:close/>
                </a:path>
              </a:pathLst>
            </a:custGeom>
            <a:pattFill prst="dkDnDiag">
              <a:fgClr>
                <a:schemeClr val="accent3"/>
              </a:fgClr>
              <a:bgClr>
                <a:schemeClr val="bg1"/>
              </a:bgClr>
            </a:pattFill>
            <a:ln w="6350">
              <a:solidFill>
                <a:schemeClr val="accent2"/>
              </a:solidFill>
              <a:round/>
              <a:headEnd/>
              <a:tailEnd/>
            </a:ln>
          </p:spPr>
          <p:txBody>
            <a:bodyPr/>
            <a:lstStyle/>
            <a:p>
              <a:endParaRPr lang="de-DE"/>
            </a:p>
          </p:txBody>
        </p:sp>
        <p:sp>
          <p:nvSpPr>
            <p:cNvPr id="197" name="Freeform 37"/>
            <p:cNvSpPr>
              <a:spLocks/>
            </p:cNvSpPr>
            <p:nvPr/>
          </p:nvSpPr>
          <p:spPr bwMode="gray">
            <a:xfrm>
              <a:off x="3413" y="2078"/>
              <a:ext cx="320" cy="203"/>
            </a:xfrm>
            <a:custGeom>
              <a:avLst/>
              <a:gdLst>
                <a:gd name="T0" fmla="*/ 16 w 319"/>
                <a:gd name="T1" fmla="*/ 0 h 203"/>
                <a:gd name="T2" fmla="*/ 26 w 319"/>
                <a:gd name="T3" fmla="*/ 16 h 203"/>
                <a:gd name="T4" fmla="*/ 29 w 319"/>
                <a:gd name="T5" fmla="*/ 28 h 203"/>
                <a:gd name="T6" fmla="*/ 58 w 319"/>
                <a:gd name="T7" fmla="*/ 25 h 203"/>
                <a:gd name="T8" fmla="*/ 70 w 319"/>
                <a:gd name="T9" fmla="*/ 28 h 203"/>
                <a:gd name="T10" fmla="*/ 102 w 319"/>
                <a:gd name="T11" fmla="*/ 28 h 203"/>
                <a:gd name="T12" fmla="*/ 121 w 319"/>
                <a:gd name="T13" fmla="*/ 28 h 203"/>
                <a:gd name="T14" fmla="*/ 144 w 319"/>
                <a:gd name="T15" fmla="*/ 28 h 203"/>
                <a:gd name="T16" fmla="*/ 169 w 319"/>
                <a:gd name="T17" fmla="*/ 28 h 203"/>
                <a:gd name="T18" fmla="*/ 185 w 319"/>
                <a:gd name="T19" fmla="*/ 16 h 203"/>
                <a:gd name="T20" fmla="*/ 230 w 319"/>
                <a:gd name="T21" fmla="*/ 0 h 203"/>
                <a:gd name="T22" fmla="*/ 268 w 319"/>
                <a:gd name="T23" fmla="*/ 6 h 203"/>
                <a:gd name="T24" fmla="*/ 284 w 319"/>
                <a:gd name="T25" fmla="*/ 12 h 203"/>
                <a:gd name="T26" fmla="*/ 300 w 319"/>
                <a:gd name="T27" fmla="*/ 25 h 203"/>
                <a:gd name="T28" fmla="*/ 319 w 319"/>
                <a:gd name="T29" fmla="*/ 28 h 203"/>
                <a:gd name="T30" fmla="*/ 306 w 319"/>
                <a:gd name="T31" fmla="*/ 54 h 203"/>
                <a:gd name="T32" fmla="*/ 284 w 319"/>
                <a:gd name="T33" fmla="*/ 66 h 203"/>
                <a:gd name="T34" fmla="*/ 277 w 319"/>
                <a:gd name="T35" fmla="*/ 98 h 203"/>
                <a:gd name="T36" fmla="*/ 268 w 319"/>
                <a:gd name="T37" fmla="*/ 114 h 203"/>
                <a:gd name="T38" fmla="*/ 290 w 319"/>
                <a:gd name="T39" fmla="*/ 136 h 203"/>
                <a:gd name="T40" fmla="*/ 297 w 319"/>
                <a:gd name="T41" fmla="*/ 152 h 203"/>
                <a:gd name="T42" fmla="*/ 277 w 319"/>
                <a:gd name="T43" fmla="*/ 152 h 203"/>
                <a:gd name="T44" fmla="*/ 242 w 319"/>
                <a:gd name="T45" fmla="*/ 140 h 203"/>
                <a:gd name="T46" fmla="*/ 230 w 319"/>
                <a:gd name="T47" fmla="*/ 152 h 203"/>
                <a:gd name="T48" fmla="*/ 220 w 319"/>
                <a:gd name="T49" fmla="*/ 156 h 203"/>
                <a:gd name="T50" fmla="*/ 201 w 319"/>
                <a:gd name="T51" fmla="*/ 168 h 203"/>
                <a:gd name="T52" fmla="*/ 201 w 319"/>
                <a:gd name="T53" fmla="*/ 194 h 203"/>
                <a:gd name="T54" fmla="*/ 172 w 319"/>
                <a:gd name="T55" fmla="*/ 197 h 203"/>
                <a:gd name="T56" fmla="*/ 156 w 319"/>
                <a:gd name="T57" fmla="*/ 194 h 203"/>
                <a:gd name="T58" fmla="*/ 141 w 319"/>
                <a:gd name="T59" fmla="*/ 203 h 203"/>
                <a:gd name="T60" fmla="*/ 121 w 319"/>
                <a:gd name="T61" fmla="*/ 194 h 203"/>
                <a:gd name="T62" fmla="*/ 99 w 319"/>
                <a:gd name="T63" fmla="*/ 184 h 203"/>
                <a:gd name="T64" fmla="*/ 74 w 319"/>
                <a:gd name="T65" fmla="*/ 203 h 203"/>
                <a:gd name="T66" fmla="*/ 55 w 319"/>
                <a:gd name="T67" fmla="*/ 197 h 203"/>
                <a:gd name="T68" fmla="*/ 45 w 319"/>
                <a:gd name="T69" fmla="*/ 184 h 203"/>
                <a:gd name="T70" fmla="*/ 29 w 319"/>
                <a:gd name="T71" fmla="*/ 152 h 203"/>
                <a:gd name="T72" fmla="*/ 13 w 319"/>
                <a:gd name="T73" fmla="*/ 136 h 203"/>
                <a:gd name="T74" fmla="*/ 4 w 319"/>
                <a:gd name="T75" fmla="*/ 111 h 203"/>
                <a:gd name="T76" fmla="*/ 26 w 319"/>
                <a:gd name="T77" fmla="*/ 82 h 203"/>
                <a:gd name="T78" fmla="*/ 16 w 319"/>
                <a:gd name="T79" fmla="*/ 57 h 203"/>
                <a:gd name="T80" fmla="*/ 0 w 319"/>
                <a:gd name="T81" fmla="*/ 16 h 203"/>
                <a:gd name="T82" fmla="*/ 4 w 319"/>
                <a:gd name="T83" fmla="*/ 0 h 203"/>
                <a:gd name="T84" fmla="*/ 4 w 319"/>
                <a:gd name="T85"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9" h="203">
                  <a:moveTo>
                    <a:pt x="4" y="0"/>
                  </a:moveTo>
                  <a:lnTo>
                    <a:pt x="16" y="0"/>
                  </a:lnTo>
                  <a:lnTo>
                    <a:pt x="29" y="6"/>
                  </a:lnTo>
                  <a:lnTo>
                    <a:pt x="26" y="16"/>
                  </a:lnTo>
                  <a:lnTo>
                    <a:pt x="26" y="25"/>
                  </a:lnTo>
                  <a:lnTo>
                    <a:pt x="29" y="28"/>
                  </a:lnTo>
                  <a:lnTo>
                    <a:pt x="42" y="25"/>
                  </a:lnTo>
                  <a:lnTo>
                    <a:pt x="58" y="25"/>
                  </a:lnTo>
                  <a:lnTo>
                    <a:pt x="64" y="28"/>
                  </a:lnTo>
                  <a:lnTo>
                    <a:pt x="70" y="28"/>
                  </a:lnTo>
                  <a:lnTo>
                    <a:pt x="86" y="35"/>
                  </a:lnTo>
                  <a:lnTo>
                    <a:pt x="102" y="28"/>
                  </a:lnTo>
                  <a:lnTo>
                    <a:pt x="112" y="28"/>
                  </a:lnTo>
                  <a:lnTo>
                    <a:pt x="121" y="28"/>
                  </a:lnTo>
                  <a:lnTo>
                    <a:pt x="131" y="28"/>
                  </a:lnTo>
                  <a:lnTo>
                    <a:pt x="144" y="28"/>
                  </a:lnTo>
                  <a:lnTo>
                    <a:pt x="163" y="35"/>
                  </a:lnTo>
                  <a:lnTo>
                    <a:pt x="169" y="28"/>
                  </a:lnTo>
                  <a:lnTo>
                    <a:pt x="185" y="25"/>
                  </a:lnTo>
                  <a:lnTo>
                    <a:pt x="185" y="16"/>
                  </a:lnTo>
                  <a:lnTo>
                    <a:pt x="220" y="0"/>
                  </a:lnTo>
                  <a:lnTo>
                    <a:pt x="230" y="0"/>
                  </a:lnTo>
                  <a:lnTo>
                    <a:pt x="249" y="0"/>
                  </a:lnTo>
                  <a:lnTo>
                    <a:pt x="268" y="6"/>
                  </a:lnTo>
                  <a:lnTo>
                    <a:pt x="271" y="16"/>
                  </a:lnTo>
                  <a:lnTo>
                    <a:pt x="284" y="12"/>
                  </a:lnTo>
                  <a:lnTo>
                    <a:pt x="300" y="16"/>
                  </a:lnTo>
                  <a:lnTo>
                    <a:pt x="300" y="25"/>
                  </a:lnTo>
                  <a:lnTo>
                    <a:pt x="312" y="25"/>
                  </a:lnTo>
                  <a:lnTo>
                    <a:pt x="319" y="28"/>
                  </a:lnTo>
                  <a:lnTo>
                    <a:pt x="312" y="44"/>
                  </a:lnTo>
                  <a:lnTo>
                    <a:pt x="306" y="54"/>
                  </a:lnTo>
                  <a:lnTo>
                    <a:pt x="297" y="54"/>
                  </a:lnTo>
                  <a:lnTo>
                    <a:pt x="284" y="66"/>
                  </a:lnTo>
                  <a:lnTo>
                    <a:pt x="284" y="86"/>
                  </a:lnTo>
                  <a:lnTo>
                    <a:pt x="277" y="98"/>
                  </a:lnTo>
                  <a:lnTo>
                    <a:pt x="268" y="111"/>
                  </a:lnTo>
                  <a:lnTo>
                    <a:pt x="268" y="114"/>
                  </a:lnTo>
                  <a:lnTo>
                    <a:pt x="277" y="124"/>
                  </a:lnTo>
                  <a:lnTo>
                    <a:pt x="290" y="136"/>
                  </a:lnTo>
                  <a:lnTo>
                    <a:pt x="297" y="152"/>
                  </a:lnTo>
                  <a:lnTo>
                    <a:pt x="297" y="152"/>
                  </a:lnTo>
                  <a:lnTo>
                    <a:pt x="284" y="143"/>
                  </a:lnTo>
                  <a:lnTo>
                    <a:pt x="277" y="152"/>
                  </a:lnTo>
                  <a:lnTo>
                    <a:pt x="261" y="140"/>
                  </a:lnTo>
                  <a:lnTo>
                    <a:pt x="242" y="140"/>
                  </a:lnTo>
                  <a:lnTo>
                    <a:pt x="239" y="143"/>
                  </a:lnTo>
                  <a:lnTo>
                    <a:pt x="230" y="152"/>
                  </a:lnTo>
                  <a:lnTo>
                    <a:pt x="220" y="156"/>
                  </a:lnTo>
                  <a:lnTo>
                    <a:pt x="220" y="156"/>
                  </a:lnTo>
                  <a:lnTo>
                    <a:pt x="214" y="156"/>
                  </a:lnTo>
                  <a:lnTo>
                    <a:pt x="201" y="168"/>
                  </a:lnTo>
                  <a:lnTo>
                    <a:pt x="201" y="181"/>
                  </a:lnTo>
                  <a:lnTo>
                    <a:pt x="201" y="194"/>
                  </a:lnTo>
                  <a:lnTo>
                    <a:pt x="198" y="197"/>
                  </a:lnTo>
                  <a:lnTo>
                    <a:pt x="172" y="197"/>
                  </a:lnTo>
                  <a:lnTo>
                    <a:pt x="163" y="197"/>
                  </a:lnTo>
                  <a:lnTo>
                    <a:pt x="156" y="194"/>
                  </a:lnTo>
                  <a:lnTo>
                    <a:pt x="144" y="194"/>
                  </a:lnTo>
                  <a:lnTo>
                    <a:pt x="141" y="203"/>
                  </a:lnTo>
                  <a:lnTo>
                    <a:pt x="128" y="197"/>
                  </a:lnTo>
                  <a:lnTo>
                    <a:pt x="121" y="194"/>
                  </a:lnTo>
                  <a:lnTo>
                    <a:pt x="112" y="194"/>
                  </a:lnTo>
                  <a:lnTo>
                    <a:pt x="99" y="184"/>
                  </a:lnTo>
                  <a:lnTo>
                    <a:pt x="86" y="197"/>
                  </a:lnTo>
                  <a:lnTo>
                    <a:pt x="74" y="203"/>
                  </a:lnTo>
                  <a:lnTo>
                    <a:pt x="58" y="203"/>
                  </a:lnTo>
                  <a:lnTo>
                    <a:pt x="55" y="197"/>
                  </a:lnTo>
                  <a:lnTo>
                    <a:pt x="55" y="197"/>
                  </a:lnTo>
                  <a:lnTo>
                    <a:pt x="45" y="184"/>
                  </a:lnTo>
                  <a:lnTo>
                    <a:pt x="45" y="171"/>
                  </a:lnTo>
                  <a:lnTo>
                    <a:pt x="29" y="152"/>
                  </a:lnTo>
                  <a:lnTo>
                    <a:pt x="13" y="136"/>
                  </a:lnTo>
                  <a:lnTo>
                    <a:pt x="13" y="136"/>
                  </a:lnTo>
                  <a:lnTo>
                    <a:pt x="13" y="124"/>
                  </a:lnTo>
                  <a:lnTo>
                    <a:pt x="4" y="111"/>
                  </a:lnTo>
                  <a:lnTo>
                    <a:pt x="4" y="98"/>
                  </a:lnTo>
                  <a:lnTo>
                    <a:pt x="26" y="82"/>
                  </a:lnTo>
                  <a:lnTo>
                    <a:pt x="29" y="70"/>
                  </a:lnTo>
                  <a:lnTo>
                    <a:pt x="16" y="57"/>
                  </a:lnTo>
                  <a:lnTo>
                    <a:pt x="4" y="41"/>
                  </a:lnTo>
                  <a:lnTo>
                    <a:pt x="0" y="16"/>
                  </a:lnTo>
                  <a:lnTo>
                    <a:pt x="4" y="12"/>
                  </a:lnTo>
                  <a:lnTo>
                    <a:pt x="4" y="0"/>
                  </a:lnTo>
                  <a:lnTo>
                    <a:pt x="4" y="0"/>
                  </a:lnTo>
                  <a:lnTo>
                    <a:pt x="4" y="0"/>
                  </a:lnTo>
                  <a:close/>
                </a:path>
              </a:pathLst>
            </a:custGeom>
            <a:pattFill prst="dkDnDiag">
              <a:fgClr>
                <a:schemeClr val="accent3"/>
              </a:fgClr>
              <a:bgClr>
                <a:schemeClr val="bg1"/>
              </a:bgClr>
            </a:pattFill>
            <a:ln w="6350">
              <a:solidFill>
                <a:schemeClr val="accent2"/>
              </a:solidFill>
              <a:round/>
              <a:headEnd/>
              <a:tailEnd/>
            </a:ln>
          </p:spPr>
          <p:txBody>
            <a:bodyPr/>
            <a:lstStyle/>
            <a:p>
              <a:endParaRPr lang="de-DE" dirty="0"/>
            </a:p>
          </p:txBody>
        </p:sp>
        <p:sp>
          <p:nvSpPr>
            <p:cNvPr id="198" name="Freeform 38"/>
            <p:cNvSpPr>
              <a:spLocks/>
            </p:cNvSpPr>
            <p:nvPr/>
          </p:nvSpPr>
          <p:spPr bwMode="gray">
            <a:xfrm>
              <a:off x="3413" y="2078"/>
              <a:ext cx="319" cy="203"/>
            </a:xfrm>
            <a:custGeom>
              <a:avLst/>
              <a:gdLst>
                <a:gd name="T0" fmla="*/ 16 w 319"/>
                <a:gd name="T1" fmla="*/ 0 h 203"/>
                <a:gd name="T2" fmla="*/ 26 w 319"/>
                <a:gd name="T3" fmla="*/ 16 h 203"/>
                <a:gd name="T4" fmla="*/ 29 w 319"/>
                <a:gd name="T5" fmla="*/ 28 h 203"/>
                <a:gd name="T6" fmla="*/ 58 w 319"/>
                <a:gd name="T7" fmla="*/ 25 h 203"/>
                <a:gd name="T8" fmla="*/ 70 w 319"/>
                <a:gd name="T9" fmla="*/ 28 h 203"/>
                <a:gd name="T10" fmla="*/ 102 w 319"/>
                <a:gd name="T11" fmla="*/ 28 h 203"/>
                <a:gd name="T12" fmla="*/ 121 w 319"/>
                <a:gd name="T13" fmla="*/ 28 h 203"/>
                <a:gd name="T14" fmla="*/ 144 w 319"/>
                <a:gd name="T15" fmla="*/ 28 h 203"/>
                <a:gd name="T16" fmla="*/ 169 w 319"/>
                <a:gd name="T17" fmla="*/ 28 h 203"/>
                <a:gd name="T18" fmla="*/ 185 w 319"/>
                <a:gd name="T19" fmla="*/ 16 h 203"/>
                <a:gd name="T20" fmla="*/ 230 w 319"/>
                <a:gd name="T21" fmla="*/ 0 h 203"/>
                <a:gd name="T22" fmla="*/ 268 w 319"/>
                <a:gd name="T23" fmla="*/ 6 h 203"/>
                <a:gd name="T24" fmla="*/ 284 w 319"/>
                <a:gd name="T25" fmla="*/ 12 h 203"/>
                <a:gd name="T26" fmla="*/ 300 w 319"/>
                <a:gd name="T27" fmla="*/ 25 h 203"/>
                <a:gd name="T28" fmla="*/ 319 w 319"/>
                <a:gd name="T29" fmla="*/ 28 h 203"/>
                <a:gd name="T30" fmla="*/ 306 w 319"/>
                <a:gd name="T31" fmla="*/ 54 h 203"/>
                <a:gd name="T32" fmla="*/ 284 w 319"/>
                <a:gd name="T33" fmla="*/ 66 h 203"/>
                <a:gd name="T34" fmla="*/ 277 w 319"/>
                <a:gd name="T35" fmla="*/ 98 h 203"/>
                <a:gd name="T36" fmla="*/ 268 w 319"/>
                <a:gd name="T37" fmla="*/ 114 h 203"/>
                <a:gd name="T38" fmla="*/ 290 w 319"/>
                <a:gd name="T39" fmla="*/ 136 h 203"/>
                <a:gd name="T40" fmla="*/ 297 w 319"/>
                <a:gd name="T41" fmla="*/ 152 h 203"/>
                <a:gd name="T42" fmla="*/ 277 w 319"/>
                <a:gd name="T43" fmla="*/ 152 h 203"/>
                <a:gd name="T44" fmla="*/ 242 w 319"/>
                <a:gd name="T45" fmla="*/ 140 h 203"/>
                <a:gd name="T46" fmla="*/ 230 w 319"/>
                <a:gd name="T47" fmla="*/ 152 h 203"/>
                <a:gd name="T48" fmla="*/ 220 w 319"/>
                <a:gd name="T49" fmla="*/ 156 h 203"/>
                <a:gd name="T50" fmla="*/ 201 w 319"/>
                <a:gd name="T51" fmla="*/ 168 h 203"/>
                <a:gd name="T52" fmla="*/ 201 w 319"/>
                <a:gd name="T53" fmla="*/ 194 h 203"/>
                <a:gd name="T54" fmla="*/ 172 w 319"/>
                <a:gd name="T55" fmla="*/ 197 h 203"/>
                <a:gd name="T56" fmla="*/ 156 w 319"/>
                <a:gd name="T57" fmla="*/ 194 h 203"/>
                <a:gd name="T58" fmla="*/ 141 w 319"/>
                <a:gd name="T59" fmla="*/ 203 h 203"/>
                <a:gd name="T60" fmla="*/ 121 w 319"/>
                <a:gd name="T61" fmla="*/ 194 h 203"/>
                <a:gd name="T62" fmla="*/ 99 w 319"/>
                <a:gd name="T63" fmla="*/ 184 h 203"/>
                <a:gd name="T64" fmla="*/ 74 w 319"/>
                <a:gd name="T65" fmla="*/ 203 h 203"/>
                <a:gd name="T66" fmla="*/ 55 w 319"/>
                <a:gd name="T67" fmla="*/ 197 h 203"/>
                <a:gd name="T68" fmla="*/ 45 w 319"/>
                <a:gd name="T69" fmla="*/ 184 h 203"/>
                <a:gd name="T70" fmla="*/ 29 w 319"/>
                <a:gd name="T71" fmla="*/ 152 h 203"/>
                <a:gd name="T72" fmla="*/ 13 w 319"/>
                <a:gd name="T73" fmla="*/ 136 h 203"/>
                <a:gd name="T74" fmla="*/ 4 w 319"/>
                <a:gd name="T75" fmla="*/ 111 h 203"/>
                <a:gd name="T76" fmla="*/ 26 w 319"/>
                <a:gd name="T77" fmla="*/ 82 h 203"/>
                <a:gd name="T78" fmla="*/ 16 w 319"/>
                <a:gd name="T79" fmla="*/ 57 h 203"/>
                <a:gd name="T80" fmla="*/ 0 w 319"/>
                <a:gd name="T81" fmla="*/ 16 h 203"/>
                <a:gd name="T82" fmla="*/ 4 w 319"/>
                <a:gd name="T83" fmla="*/ 0 h 203"/>
                <a:gd name="T84" fmla="*/ 4 w 319"/>
                <a:gd name="T85" fmla="*/ 0 h 20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19" h="203">
                  <a:moveTo>
                    <a:pt x="4" y="0"/>
                  </a:moveTo>
                  <a:lnTo>
                    <a:pt x="16" y="0"/>
                  </a:lnTo>
                  <a:lnTo>
                    <a:pt x="29" y="6"/>
                  </a:lnTo>
                  <a:lnTo>
                    <a:pt x="26" y="16"/>
                  </a:lnTo>
                  <a:lnTo>
                    <a:pt x="26" y="25"/>
                  </a:lnTo>
                  <a:lnTo>
                    <a:pt x="29" y="28"/>
                  </a:lnTo>
                  <a:lnTo>
                    <a:pt x="42" y="25"/>
                  </a:lnTo>
                  <a:lnTo>
                    <a:pt x="58" y="25"/>
                  </a:lnTo>
                  <a:lnTo>
                    <a:pt x="64" y="28"/>
                  </a:lnTo>
                  <a:lnTo>
                    <a:pt x="70" y="28"/>
                  </a:lnTo>
                  <a:lnTo>
                    <a:pt x="86" y="35"/>
                  </a:lnTo>
                  <a:lnTo>
                    <a:pt x="102" y="28"/>
                  </a:lnTo>
                  <a:lnTo>
                    <a:pt x="112" y="28"/>
                  </a:lnTo>
                  <a:lnTo>
                    <a:pt x="121" y="28"/>
                  </a:lnTo>
                  <a:lnTo>
                    <a:pt x="131" y="28"/>
                  </a:lnTo>
                  <a:lnTo>
                    <a:pt x="144" y="28"/>
                  </a:lnTo>
                  <a:lnTo>
                    <a:pt x="163" y="35"/>
                  </a:lnTo>
                  <a:lnTo>
                    <a:pt x="169" y="28"/>
                  </a:lnTo>
                  <a:lnTo>
                    <a:pt x="185" y="25"/>
                  </a:lnTo>
                  <a:lnTo>
                    <a:pt x="185" y="16"/>
                  </a:lnTo>
                  <a:lnTo>
                    <a:pt x="220" y="0"/>
                  </a:lnTo>
                  <a:lnTo>
                    <a:pt x="230" y="0"/>
                  </a:lnTo>
                  <a:lnTo>
                    <a:pt x="249" y="0"/>
                  </a:lnTo>
                  <a:lnTo>
                    <a:pt x="268" y="6"/>
                  </a:lnTo>
                  <a:lnTo>
                    <a:pt x="271" y="16"/>
                  </a:lnTo>
                  <a:lnTo>
                    <a:pt x="284" y="12"/>
                  </a:lnTo>
                  <a:lnTo>
                    <a:pt x="300" y="16"/>
                  </a:lnTo>
                  <a:lnTo>
                    <a:pt x="300" y="25"/>
                  </a:lnTo>
                  <a:lnTo>
                    <a:pt x="312" y="25"/>
                  </a:lnTo>
                  <a:lnTo>
                    <a:pt x="319" y="28"/>
                  </a:lnTo>
                  <a:lnTo>
                    <a:pt x="312" y="44"/>
                  </a:lnTo>
                  <a:lnTo>
                    <a:pt x="306" y="54"/>
                  </a:lnTo>
                  <a:lnTo>
                    <a:pt x="297" y="54"/>
                  </a:lnTo>
                  <a:lnTo>
                    <a:pt x="284" y="66"/>
                  </a:lnTo>
                  <a:lnTo>
                    <a:pt x="284" y="86"/>
                  </a:lnTo>
                  <a:lnTo>
                    <a:pt x="277" y="98"/>
                  </a:lnTo>
                  <a:lnTo>
                    <a:pt x="268" y="111"/>
                  </a:lnTo>
                  <a:lnTo>
                    <a:pt x="268" y="114"/>
                  </a:lnTo>
                  <a:lnTo>
                    <a:pt x="277" y="124"/>
                  </a:lnTo>
                  <a:lnTo>
                    <a:pt x="290" y="136"/>
                  </a:lnTo>
                  <a:lnTo>
                    <a:pt x="297" y="152"/>
                  </a:lnTo>
                  <a:lnTo>
                    <a:pt x="284" y="143"/>
                  </a:lnTo>
                  <a:lnTo>
                    <a:pt x="277" y="152"/>
                  </a:lnTo>
                  <a:lnTo>
                    <a:pt x="261" y="140"/>
                  </a:lnTo>
                  <a:lnTo>
                    <a:pt x="242" y="140"/>
                  </a:lnTo>
                  <a:lnTo>
                    <a:pt x="239" y="143"/>
                  </a:lnTo>
                  <a:lnTo>
                    <a:pt x="230" y="152"/>
                  </a:lnTo>
                  <a:lnTo>
                    <a:pt x="220" y="156"/>
                  </a:lnTo>
                  <a:lnTo>
                    <a:pt x="214" y="156"/>
                  </a:lnTo>
                  <a:lnTo>
                    <a:pt x="201" y="168"/>
                  </a:lnTo>
                  <a:lnTo>
                    <a:pt x="201" y="181"/>
                  </a:lnTo>
                  <a:lnTo>
                    <a:pt x="201" y="194"/>
                  </a:lnTo>
                  <a:lnTo>
                    <a:pt x="198" y="197"/>
                  </a:lnTo>
                  <a:lnTo>
                    <a:pt x="172" y="197"/>
                  </a:lnTo>
                  <a:lnTo>
                    <a:pt x="163" y="197"/>
                  </a:lnTo>
                  <a:lnTo>
                    <a:pt x="156" y="194"/>
                  </a:lnTo>
                  <a:lnTo>
                    <a:pt x="144" y="194"/>
                  </a:lnTo>
                  <a:lnTo>
                    <a:pt x="141" y="203"/>
                  </a:lnTo>
                  <a:lnTo>
                    <a:pt x="128" y="197"/>
                  </a:lnTo>
                  <a:lnTo>
                    <a:pt x="121" y="194"/>
                  </a:lnTo>
                  <a:lnTo>
                    <a:pt x="112" y="194"/>
                  </a:lnTo>
                  <a:lnTo>
                    <a:pt x="99" y="184"/>
                  </a:lnTo>
                  <a:lnTo>
                    <a:pt x="86" y="197"/>
                  </a:lnTo>
                  <a:lnTo>
                    <a:pt x="74" y="203"/>
                  </a:lnTo>
                  <a:lnTo>
                    <a:pt x="58" y="203"/>
                  </a:lnTo>
                  <a:lnTo>
                    <a:pt x="55" y="197"/>
                  </a:lnTo>
                  <a:lnTo>
                    <a:pt x="45" y="184"/>
                  </a:lnTo>
                  <a:lnTo>
                    <a:pt x="45" y="171"/>
                  </a:lnTo>
                  <a:lnTo>
                    <a:pt x="29" y="152"/>
                  </a:lnTo>
                  <a:lnTo>
                    <a:pt x="13" y="136"/>
                  </a:lnTo>
                  <a:lnTo>
                    <a:pt x="13" y="124"/>
                  </a:lnTo>
                  <a:lnTo>
                    <a:pt x="4" y="111"/>
                  </a:lnTo>
                  <a:lnTo>
                    <a:pt x="4" y="98"/>
                  </a:lnTo>
                  <a:lnTo>
                    <a:pt x="26" y="82"/>
                  </a:lnTo>
                  <a:lnTo>
                    <a:pt x="29" y="70"/>
                  </a:lnTo>
                  <a:lnTo>
                    <a:pt x="16" y="57"/>
                  </a:lnTo>
                  <a:lnTo>
                    <a:pt x="4" y="41"/>
                  </a:lnTo>
                  <a:lnTo>
                    <a:pt x="0" y="16"/>
                  </a:lnTo>
                  <a:lnTo>
                    <a:pt x="4" y="12"/>
                  </a:lnTo>
                  <a:lnTo>
                    <a:pt x="4" y="0"/>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199" name="Freeform 39"/>
            <p:cNvSpPr>
              <a:spLocks/>
            </p:cNvSpPr>
            <p:nvPr/>
          </p:nvSpPr>
          <p:spPr bwMode="gray">
            <a:xfrm>
              <a:off x="3327" y="2214"/>
              <a:ext cx="141" cy="105"/>
            </a:xfrm>
            <a:custGeom>
              <a:avLst/>
              <a:gdLst>
                <a:gd name="T0" fmla="*/ 99 w 141"/>
                <a:gd name="T1" fmla="*/ 0 h 105"/>
                <a:gd name="T2" fmla="*/ 115 w 141"/>
                <a:gd name="T3" fmla="*/ 16 h 105"/>
                <a:gd name="T4" fmla="*/ 131 w 141"/>
                <a:gd name="T5" fmla="*/ 35 h 105"/>
                <a:gd name="T6" fmla="*/ 131 w 141"/>
                <a:gd name="T7" fmla="*/ 48 h 105"/>
                <a:gd name="T8" fmla="*/ 141 w 141"/>
                <a:gd name="T9" fmla="*/ 61 h 105"/>
                <a:gd name="T10" fmla="*/ 128 w 141"/>
                <a:gd name="T11" fmla="*/ 64 h 105"/>
                <a:gd name="T12" fmla="*/ 118 w 141"/>
                <a:gd name="T13" fmla="*/ 64 h 105"/>
                <a:gd name="T14" fmla="*/ 102 w 141"/>
                <a:gd name="T15" fmla="*/ 77 h 105"/>
                <a:gd name="T16" fmla="*/ 83 w 141"/>
                <a:gd name="T17" fmla="*/ 74 h 105"/>
                <a:gd name="T18" fmla="*/ 71 w 141"/>
                <a:gd name="T19" fmla="*/ 86 h 105"/>
                <a:gd name="T20" fmla="*/ 71 w 141"/>
                <a:gd name="T21" fmla="*/ 86 h 105"/>
                <a:gd name="T22" fmla="*/ 55 w 141"/>
                <a:gd name="T23" fmla="*/ 90 h 105"/>
                <a:gd name="T24" fmla="*/ 29 w 141"/>
                <a:gd name="T25" fmla="*/ 105 h 105"/>
                <a:gd name="T26" fmla="*/ 29 w 141"/>
                <a:gd name="T27" fmla="*/ 105 h 105"/>
                <a:gd name="T28" fmla="*/ 16 w 141"/>
                <a:gd name="T29" fmla="*/ 93 h 105"/>
                <a:gd name="T30" fmla="*/ 13 w 141"/>
                <a:gd name="T31" fmla="*/ 86 h 105"/>
                <a:gd name="T32" fmla="*/ 4 w 141"/>
                <a:gd name="T33" fmla="*/ 64 h 105"/>
                <a:gd name="T34" fmla="*/ 0 w 141"/>
                <a:gd name="T35" fmla="*/ 48 h 105"/>
                <a:gd name="T36" fmla="*/ 0 w 141"/>
                <a:gd name="T37" fmla="*/ 32 h 105"/>
                <a:gd name="T38" fmla="*/ 4 w 141"/>
                <a:gd name="T39" fmla="*/ 32 h 105"/>
                <a:gd name="T40" fmla="*/ 4 w 141"/>
                <a:gd name="T41" fmla="*/ 29 h 105"/>
                <a:gd name="T42" fmla="*/ 4 w 141"/>
                <a:gd name="T43" fmla="*/ 20 h 105"/>
                <a:gd name="T44" fmla="*/ 20 w 141"/>
                <a:gd name="T45" fmla="*/ 16 h 105"/>
                <a:gd name="T46" fmla="*/ 29 w 141"/>
                <a:gd name="T47" fmla="*/ 7 h 105"/>
                <a:gd name="T48" fmla="*/ 42 w 141"/>
                <a:gd name="T49" fmla="*/ 4 h 105"/>
                <a:gd name="T50" fmla="*/ 61 w 141"/>
                <a:gd name="T51" fmla="*/ 0 h 105"/>
                <a:gd name="T52" fmla="*/ 71 w 141"/>
                <a:gd name="T53" fmla="*/ 0 h 105"/>
                <a:gd name="T54" fmla="*/ 86 w 141"/>
                <a:gd name="T55" fmla="*/ 0 h 105"/>
                <a:gd name="T56" fmla="*/ 99 w 141"/>
                <a:gd name="T57" fmla="*/ 0 h 105"/>
                <a:gd name="T58" fmla="*/ 99 w 141"/>
                <a:gd name="T59" fmla="*/ 0 h 105"/>
                <a:gd name="T60" fmla="*/ 99 w 141"/>
                <a:gd name="T61" fmla="*/ 0 h 10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41" h="105">
                  <a:moveTo>
                    <a:pt x="99" y="0"/>
                  </a:moveTo>
                  <a:lnTo>
                    <a:pt x="115" y="16"/>
                  </a:lnTo>
                  <a:lnTo>
                    <a:pt x="131" y="35"/>
                  </a:lnTo>
                  <a:lnTo>
                    <a:pt x="131" y="48"/>
                  </a:lnTo>
                  <a:lnTo>
                    <a:pt x="141" y="61"/>
                  </a:lnTo>
                  <a:lnTo>
                    <a:pt x="128" y="64"/>
                  </a:lnTo>
                  <a:lnTo>
                    <a:pt x="118" y="64"/>
                  </a:lnTo>
                  <a:lnTo>
                    <a:pt x="102" y="77"/>
                  </a:lnTo>
                  <a:lnTo>
                    <a:pt x="83" y="74"/>
                  </a:lnTo>
                  <a:lnTo>
                    <a:pt x="71" y="86"/>
                  </a:lnTo>
                  <a:lnTo>
                    <a:pt x="55" y="90"/>
                  </a:lnTo>
                  <a:lnTo>
                    <a:pt x="29" y="105"/>
                  </a:lnTo>
                  <a:lnTo>
                    <a:pt x="16" y="93"/>
                  </a:lnTo>
                  <a:lnTo>
                    <a:pt x="13" y="86"/>
                  </a:lnTo>
                  <a:lnTo>
                    <a:pt x="4" y="64"/>
                  </a:lnTo>
                  <a:lnTo>
                    <a:pt x="0" y="48"/>
                  </a:lnTo>
                  <a:lnTo>
                    <a:pt x="0" y="32"/>
                  </a:lnTo>
                  <a:lnTo>
                    <a:pt x="4" y="32"/>
                  </a:lnTo>
                  <a:lnTo>
                    <a:pt x="4" y="29"/>
                  </a:lnTo>
                  <a:lnTo>
                    <a:pt x="4" y="20"/>
                  </a:lnTo>
                  <a:lnTo>
                    <a:pt x="20" y="16"/>
                  </a:lnTo>
                  <a:lnTo>
                    <a:pt x="29" y="7"/>
                  </a:lnTo>
                  <a:lnTo>
                    <a:pt x="42" y="4"/>
                  </a:lnTo>
                  <a:lnTo>
                    <a:pt x="61" y="0"/>
                  </a:lnTo>
                  <a:lnTo>
                    <a:pt x="71" y="0"/>
                  </a:lnTo>
                  <a:lnTo>
                    <a:pt x="86" y="0"/>
                  </a:lnTo>
                  <a:lnTo>
                    <a:pt x="99" y="0"/>
                  </a:lnTo>
                  <a:close/>
                </a:path>
              </a:pathLst>
            </a:custGeom>
            <a:solidFill>
              <a:schemeClr val="bg1"/>
            </a:solidFill>
            <a:ln w="6350">
              <a:solidFill>
                <a:schemeClr val="accent2"/>
              </a:solidFill>
              <a:round/>
              <a:headEnd/>
              <a:tailEnd/>
            </a:ln>
          </p:spPr>
          <p:txBody>
            <a:bodyPr/>
            <a:lstStyle/>
            <a:p>
              <a:endParaRPr lang="de-DE"/>
            </a:p>
          </p:txBody>
        </p:sp>
        <p:sp>
          <p:nvSpPr>
            <p:cNvPr id="200" name="Freeform 40"/>
            <p:cNvSpPr>
              <a:spLocks/>
            </p:cNvSpPr>
            <p:nvPr/>
          </p:nvSpPr>
          <p:spPr bwMode="gray">
            <a:xfrm>
              <a:off x="3327" y="2214"/>
              <a:ext cx="141" cy="105"/>
            </a:xfrm>
            <a:custGeom>
              <a:avLst/>
              <a:gdLst>
                <a:gd name="T0" fmla="*/ 99 w 141"/>
                <a:gd name="T1" fmla="*/ 0 h 105"/>
                <a:gd name="T2" fmla="*/ 115 w 141"/>
                <a:gd name="T3" fmla="*/ 16 h 105"/>
                <a:gd name="T4" fmla="*/ 131 w 141"/>
                <a:gd name="T5" fmla="*/ 35 h 105"/>
                <a:gd name="T6" fmla="*/ 131 w 141"/>
                <a:gd name="T7" fmla="*/ 48 h 105"/>
                <a:gd name="T8" fmla="*/ 141 w 141"/>
                <a:gd name="T9" fmla="*/ 61 h 105"/>
                <a:gd name="T10" fmla="*/ 128 w 141"/>
                <a:gd name="T11" fmla="*/ 64 h 105"/>
                <a:gd name="T12" fmla="*/ 118 w 141"/>
                <a:gd name="T13" fmla="*/ 64 h 105"/>
                <a:gd name="T14" fmla="*/ 102 w 141"/>
                <a:gd name="T15" fmla="*/ 77 h 105"/>
                <a:gd name="T16" fmla="*/ 83 w 141"/>
                <a:gd name="T17" fmla="*/ 74 h 105"/>
                <a:gd name="T18" fmla="*/ 71 w 141"/>
                <a:gd name="T19" fmla="*/ 86 h 105"/>
                <a:gd name="T20" fmla="*/ 71 w 141"/>
                <a:gd name="T21" fmla="*/ 86 h 105"/>
                <a:gd name="T22" fmla="*/ 55 w 141"/>
                <a:gd name="T23" fmla="*/ 90 h 105"/>
                <a:gd name="T24" fmla="*/ 29 w 141"/>
                <a:gd name="T25" fmla="*/ 105 h 105"/>
                <a:gd name="T26" fmla="*/ 29 w 141"/>
                <a:gd name="T27" fmla="*/ 105 h 105"/>
                <a:gd name="T28" fmla="*/ 16 w 141"/>
                <a:gd name="T29" fmla="*/ 93 h 105"/>
                <a:gd name="T30" fmla="*/ 13 w 141"/>
                <a:gd name="T31" fmla="*/ 86 h 105"/>
                <a:gd name="T32" fmla="*/ 4 w 141"/>
                <a:gd name="T33" fmla="*/ 64 h 105"/>
                <a:gd name="T34" fmla="*/ 0 w 141"/>
                <a:gd name="T35" fmla="*/ 48 h 105"/>
                <a:gd name="T36" fmla="*/ 0 w 141"/>
                <a:gd name="T37" fmla="*/ 32 h 105"/>
                <a:gd name="T38" fmla="*/ 4 w 141"/>
                <a:gd name="T39" fmla="*/ 32 h 105"/>
                <a:gd name="T40" fmla="*/ 4 w 141"/>
                <a:gd name="T41" fmla="*/ 29 h 105"/>
                <a:gd name="T42" fmla="*/ 4 w 141"/>
                <a:gd name="T43" fmla="*/ 20 h 105"/>
                <a:gd name="T44" fmla="*/ 20 w 141"/>
                <a:gd name="T45" fmla="*/ 16 h 105"/>
                <a:gd name="T46" fmla="*/ 29 w 141"/>
                <a:gd name="T47" fmla="*/ 7 h 105"/>
                <a:gd name="T48" fmla="*/ 42 w 141"/>
                <a:gd name="T49" fmla="*/ 4 h 105"/>
                <a:gd name="T50" fmla="*/ 61 w 141"/>
                <a:gd name="T51" fmla="*/ 0 h 105"/>
                <a:gd name="T52" fmla="*/ 71 w 141"/>
                <a:gd name="T53" fmla="*/ 0 h 105"/>
                <a:gd name="T54" fmla="*/ 86 w 141"/>
                <a:gd name="T55" fmla="*/ 0 h 105"/>
                <a:gd name="T56" fmla="*/ 99 w 141"/>
                <a:gd name="T57" fmla="*/ 0 h 105"/>
                <a:gd name="T58" fmla="*/ 99 w 141"/>
                <a:gd name="T59" fmla="*/ 0 h 105"/>
                <a:gd name="T60" fmla="*/ 99 w 141"/>
                <a:gd name="T61" fmla="*/ 0 h 10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41" h="105">
                  <a:moveTo>
                    <a:pt x="99" y="0"/>
                  </a:moveTo>
                  <a:lnTo>
                    <a:pt x="115" y="16"/>
                  </a:lnTo>
                  <a:lnTo>
                    <a:pt x="131" y="35"/>
                  </a:lnTo>
                  <a:lnTo>
                    <a:pt x="131" y="48"/>
                  </a:lnTo>
                  <a:lnTo>
                    <a:pt x="141" y="61"/>
                  </a:lnTo>
                  <a:lnTo>
                    <a:pt x="128" y="64"/>
                  </a:lnTo>
                  <a:lnTo>
                    <a:pt x="118" y="64"/>
                  </a:lnTo>
                  <a:lnTo>
                    <a:pt x="102" y="77"/>
                  </a:lnTo>
                  <a:lnTo>
                    <a:pt x="83" y="74"/>
                  </a:lnTo>
                  <a:lnTo>
                    <a:pt x="71" y="86"/>
                  </a:lnTo>
                  <a:lnTo>
                    <a:pt x="55" y="90"/>
                  </a:lnTo>
                  <a:lnTo>
                    <a:pt x="29" y="105"/>
                  </a:lnTo>
                  <a:lnTo>
                    <a:pt x="16" y="93"/>
                  </a:lnTo>
                  <a:lnTo>
                    <a:pt x="13" y="86"/>
                  </a:lnTo>
                  <a:lnTo>
                    <a:pt x="4" y="64"/>
                  </a:lnTo>
                  <a:lnTo>
                    <a:pt x="0" y="48"/>
                  </a:lnTo>
                  <a:lnTo>
                    <a:pt x="0" y="32"/>
                  </a:lnTo>
                  <a:lnTo>
                    <a:pt x="4" y="32"/>
                  </a:lnTo>
                  <a:lnTo>
                    <a:pt x="4" y="29"/>
                  </a:lnTo>
                  <a:lnTo>
                    <a:pt x="4" y="20"/>
                  </a:lnTo>
                  <a:lnTo>
                    <a:pt x="20" y="16"/>
                  </a:lnTo>
                  <a:lnTo>
                    <a:pt x="29" y="7"/>
                  </a:lnTo>
                  <a:lnTo>
                    <a:pt x="42" y="4"/>
                  </a:lnTo>
                  <a:lnTo>
                    <a:pt x="61" y="0"/>
                  </a:lnTo>
                  <a:lnTo>
                    <a:pt x="71" y="0"/>
                  </a:lnTo>
                  <a:lnTo>
                    <a:pt x="86" y="0"/>
                  </a:lnTo>
                  <a:lnTo>
                    <a:pt x="99" y="0"/>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201" name="Freeform 41"/>
            <p:cNvSpPr>
              <a:spLocks/>
            </p:cNvSpPr>
            <p:nvPr/>
          </p:nvSpPr>
          <p:spPr bwMode="gray">
            <a:xfrm>
              <a:off x="3257" y="2189"/>
              <a:ext cx="99" cy="204"/>
            </a:xfrm>
            <a:custGeom>
              <a:avLst/>
              <a:gdLst>
                <a:gd name="T0" fmla="*/ 70 w 99"/>
                <a:gd name="T1" fmla="*/ 57 h 204"/>
                <a:gd name="T2" fmla="*/ 70 w 99"/>
                <a:gd name="T3" fmla="*/ 73 h 204"/>
                <a:gd name="T4" fmla="*/ 74 w 99"/>
                <a:gd name="T5" fmla="*/ 89 h 204"/>
                <a:gd name="T6" fmla="*/ 83 w 99"/>
                <a:gd name="T7" fmla="*/ 111 h 204"/>
                <a:gd name="T8" fmla="*/ 86 w 99"/>
                <a:gd name="T9" fmla="*/ 121 h 204"/>
                <a:gd name="T10" fmla="*/ 99 w 99"/>
                <a:gd name="T11" fmla="*/ 130 h 204"/>
                <a:gd name="T12" fmla="*/ 99 w 99"/>
                <a:gd name="T13" fmla="*/ 143 h 204"/>
                <a:gd name="T14" fmla="*/ 86 w 99"/>
                <a:gd name="T15" fmla="*/ 162 h 204"/>
                <a:gd name="T16" fmla="*/ 70 w 99"/>
                <a:gd name="T17" fmla="*/ 169 h 204"/>
                <a:gd name="T18" fmla="*/ 61 w 99"/>
                <a:gd name="T19" fmla="*/ 178 h 204"/>
                <a:gd name="T20" fmla="*/ 58 w 99"/>
                <a:gd name="T21" fmla="*/ 197 h 204"/>
                <a:gd name="T22" fmla="*/ 55 w 99"/>
                <a:gd name="T23" fmla="*/ 204 h 204"/>
                <a:gd name="T24" fmla="*/ 42 w 99"/>
                <a:gd name="T25" fmla="*/ 197 h 204"/>
                <a:gd name="T26" fmla="*/ 32 w 99"/>
                <a:gd name="T27" fmla="*/ 169 h 204"/>
                <a:gd name="T28" fmla="*/ 13 w 99"/>
                <a:gd name="T29" fmla="*/ 169 h 204"/>
                <a:gd name="T30" fmla="*/ 4 w 99"/>
                <a:gd name="T31" fmla="*/ 162 h 204"/>
                <a:gd name="T32" fmla="*/ 13 w 99"/>
                <a:gd name="T33" fmla="*/ 150 h 204"/>
                <a:gd name="T34" fmla="*/ 4 w 99"/>
                <a:gd name="T35" fmla="*/ 140 h 204"/>
                <a:gd name="T36" fmla="*/ 4 w 99"/>
                <a:gd name="T37" fmla="*/ 127 h 204"/>
                <a:gd name="T38" fmla="*/ 13 w 99"/>
                <a:gd name="T39" fmla="*/ 115 h 204"/>
                <a:gd name="T40" fmla="*/ 4 w 99"/>
                <a:gd name="T41" fmla="*/ 99 h 204"/>
                <a:gd name="T42" fmla="*/ 4 w 99"/>
                <a:gd name="T43" fmla="*/ 73 h 204"/>
                <a:gd name="T44" fmla="*/ 13 w 99"/>
                <a:gd name="T45" fmla="*/ 70 h 204"/>
                <a:gd name="T46" fmla="*/ 16 w 99"/>
                <a:gd name="T47" fmla="*/ 60 h 204"/>
                <a:gd name="T48" fmla="*/ 0 w 99"/>
                <a:gd name="T49" fmla="*/ 54 h 204"/>
                <a:gd name="T50" fmla="*/ 0 w 99"/>
                <a:gd name="T51" fmla="*/ 32 h 204"/>
                <a:gd name="T52" fmla="*/ 4 w 99"/>
                <a:gd name="T53" fmla="*/ 16 h 204"/>
                <a:gd name="T54" fmla="*/ 16 w 99"/>
                <a:gd name="T55" fmla="*/ 3 h 204"/>
                <a:gd name="T56" fmla="*/ 26 w 99"/>
                <a:gd name="T57" fmla="*/ 3 h 204"/>
                <a:gd name="T58" fmla="*/ 29 w 99"/>
                <a:gd name="T59" fmla="*/ 16 h 204"/>
                <a:gd name="T60" fmla="*/ 42 w 99"/>
                <a:gd name="T61" fmla="*/ 3 h 204"/>
                <a:gd name="T62" fmla="*/ 42 w 99"/>
                <a:gd name="T63" fmla="*/ 0 h 204"/>
                <a:gd name="T64" fmla="*/ 42 w 99"/>
                <a:gd name="T65" fmla="*/ 3 h 204"/>
                <a:gd name="T66" fmla="*/ 55 w 99"/>
                <a:gd name="T67" fmla="*/ 16 h 204"/>
                <a:gd name="T68" fmla="*/ 58 w 99"/>
                <a:gd name="T69" fmla="*/ 16 h 204"/>
                <a:gd name="T70" fmla="*/ 70 w 99"/>
                <a:gd name="T71" fmla="*/ 29 h 204"/>
                <a:gd name="T72" fmla="*/ 70 w 99"/>
                <a:gd name="T73" fmla="*/ 32 h 204"/>
                <a:gd name="T74" fmla="*/ 70 w 99"/>
                <a:gd name="T75" fmla="*/ 54 h 204"/>
                <a:gd name="T76" fmla="*/ 70 w 99"/>
                <a:gd name="T77" fmla="*/ 57 h 204"/>
                <a:gd name="T78" fmla="*/ 70 w 99"/>
                <a:gd name="T79" fmla="*/ 57 h 204"/>
                <a:gd name="T80" fmla="*/ 70 w 99"/>
                <a:gd name="T81" fmla="*/ 57 h 2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9" h="204">
                  <a:moveTo>
                    <a:pt x="70" y="57"/>
                  </a:moveTo>
                  <a:lnTo>
                    <a:pt x="70" y="73"/>
                  </a:lnTo>
                  <a:lnTo>
                    <a:pt x="74" y="89"/>
                  </a:lnTo>
                  <a:lnTo>
                    <a:pt x="83" y="111"/>
                  </a:lnTo>
                  <a:lnTo>
                    <a:pt x="86" y="121"/>
                  </a:lnTo>
                  <a:lnTo>
                    <a:pt x="99" y="130"/>
                  </a:lnTo>
                  <a:lnTo>
                    <a:pt x="99" y="143"/>
                  </a:lnTo>
                  <a:lnTo>
                    <a:pt x="86" y="162"/>
                  </a:lnTo>
                  <a:lnTo>
                    <a:pt x="70" y="169"/>
                  </a:lnTo>
                  <a:lnTo>
                    <a:pt x="61" y="178"/>
                  </a:lnTo>
                  <a:lnTo>
                    <a:pt x="58" y="197"/>
                  </a:lnTo>
                  <a:lnTo>
                    <a:pt x="55" y="204"/>
                  </a:lnTo>
                  <a:lnTo>
                    <a:pt x="42" y="197"/>
                  </a:lnTo>
                  <a:lnTo>
                    <a:pt x="32" y="169"/>
                  </a:lnTo>
                  <a:lnTo>
                    <a:pt x="13" y="169"/>
                  </a:lnTo>
                  <a:lnTo>
                    <a:pt x="4" y="162"/>
                  </a:lnTo>
                  <a:lnTo>
                    <a:pt x="13" y="150"/>
                  </a:lnTo>
                  <a:lnTo>
                    <a:pt x="4" y="140"/>
                  </a:lnTo>
                  <a:lnTo>
                    <a:pt x="4" y="127"/>
                  </a:lnTo>
                  <a:lnTo>
                    <a:pt x="13" y="115"/>
                  </a:lnTo>
                  <a:lnTo>
                    <a:pt x="4" y="99"/>
                  </a:lnTo>
                  <a:lnTo>
                    <a:pt x="4" y="73"/>
                  </a:lnTo>
                  <a:lnTo>
                    <a:pt x="13" y="70"/>
                  </a:lnTo>
                  <a:lnTo>
                    <a:pt x="16" y="60"/>
                  </a:lnTo>
                  <a:lnTo>
                    <a:pt x="0" y="54"/>
                  </a:lnTo>
                  <a:lnTo>
                    <a:pt x="0" y="32"/>
                  </a:lnTo>
                  <a:lnTo>
                    <a:pt x="4" y="16"/>
                  </a:lnTo>
                  <a:lnTo>
                    <a:pt x="16" y="3"/>
                  </a:lnTo>
                  <a:lnTo>
                    <a:pt x="26" y="3"/>
                  </a:lnTo>
                  <a:lnTo>
                    <a:pt x="29" y="16"/>
                  </a:lnTo>
                  <a:lnTo>
                    <a:pt x="42" y="3"/>
                  </a:lnTo>
                  <a:lnTo>
                    <a:pt x="42" y="0"/>
                  </a:lnTo>
                  <a:lnTo>
                    <a:pt x="42" y="3"/>
                  </a:lnTo>
                  <a:lnTo>
                    <a:pt x="55" y="16"/>
                  </a:lnTo>
                  <a:lnTo>
                    <a:pt x="58" y="16"/>
                  </a:lnTo>
                  <a:lnTo>
                    <a:pt x="70" y="29"/>
                  </a:lnTo>
                  <a:lnTo>
                    <a:pt x="70" y="32"/>
                  </a:lnTo>
                  <a:lnTo>
                    <a:pt x="70" y="54"/>
                  </a:lnTo>
                  <a:lnTo>
                    <a:pt x="70" y="57"/>
                  </a:lnTo>
                  <a:close/>
                </a:path>
              </a:pathLst>
            </a:custGeom>
            <a:solidFill>
              <a:schemeClr val="bg1"/>
            </a:solidFill>
            <a:ln w="6350">
              <a:solidFill>
                <a:schemeClr val="accent2"/>
              </a:solidFill>
              <a:round/>
              <a:headEnd/>
              <a:tailEnd/>
            </a:ln>
          </p:spPr>
          <p:txBody>
            <a:bodyPr/>
            <a:lstStyle/>
            <a:p>
              <a:endParaRPr lang="de-DE"/>
            </a:p>
          </p:txBody>
        </p:sp>
        <p:sp>
          <p:nvSpPr>
            <p:cNvPr id="202" name="Freeform 42"/>
            <p:cNvSpPr>
              <a:spLocks/>
            </p:cNvSpPr>
            <p:nvPr/>
          </p:nvSpPr>
          <p:spPr bwMode="gray">
            <a:xfrm>
              <a:off x="3257" y="2189"/>
              <a:ext cx="99" cy="204"/>
            </a:xfrm>
            <a:custGeom>
              <a:avLst/>
              <a:gdLst>
                <a:gd name="T0" fmla="*/ 70 w 99"/>
                <a:gd name="T1" fmla="*/ 57 h 204"/>
                <a:gd name="T2" fmla="*/ 70 w 99"/>
                <a:gd name="T3" fmla="*/ 73 h 204"/>
                <a:gd name="T4" fmla="*/ 74 w 99"/>
                <a:gd name="T5" fmla="*/ 89 h 204"/>
                <a:gd name="T6" fmla="*/ 83 w 99"/>
                <a:gd name="T7" fmla="*/ 111 h 204"/>
                <a:gd name="T8" fmla="*/ 86 w 99"/>
                <a:gd name="T9" fmla="*/ 121 h 204"/>
                <a:gd name="T10" fmla="*/ 99 w 99"/>
                <a:gd name="T11" fmla="*/ 130 h 204"/>
                <a:gd name="T12" fmla="*/ 99 w 99"/>
                <a:gd name="T13" fmla="*/ 143 h 204"/>
                <a:gd name="T14" fmla="*/ 86 w 99"/>
                <a:gd name="T15" fmla="*/ 162 h 204"/>
                <a:gd name="T16" fmla="*/ 70 w 99"/>
                <a:gd name="T17" fmla="*/ 169 h 204"/>
                <a:gd name="T18" fmla="*/ 61 w 99"/>
                <a:gd name="T19" fmla="*/ 178 h 204"/>
                <a:gd name="T20" fmla="*/ 58 w 99"/>
                <a:gd name="T21" fmla="*/ 197 h 204"/>
                <a:gd name="T22" fmla="*/ 55 w 99"/>
                <a:gd name="T23" fmla="*/ 204 h 204"/>
                <a:gd name="T24" fmla="*/ 42 w 99"/>
                <a:gd name="T25" fmla="*/ 197 h 204"/>
                <a:gd name="T26" fmla="*/ 32 w 99"/>
                <a:gd name="T27" fmla="*/ 169 h 204"/>
                <a:gd name="T28" fmla="*/ 13 w 99"/>
                <a:gd name="T29" fmla="*/ 169 h 204"/>
                <a:gd name="T30" fmla="*/ 4 w 99"/>
                <a:gd name="T31" fmla="*/ 162 h 204"/>
                <a:gd name="T32" fmla="*/ 13 w 99"/>
                <a:gd name="T33" fmla="*/ 150 h 204"/>
                <a:gd name="T34" fmla="*/ 4 w 99"/>
                <a:gd name="T35" fmla="*/ 140 h 204"/>
                <a:gd name="T36" fmla="*/ 4 w 99"/>
                <a:gd name="T37" fmla="*/ 127 h 204"/>
                <a:gd name="T38" fmla="*/ 13 w 99"/>
                <a:gd name="T39" fmla="*/ 115 h 204"/>
                <a:gd name="T40" fmla="*/ 4 w 99"/>
                <a:gd name="T41" fmla="*/ 99 h 204"/>
                <a:gd name="T42" fmla="*/ 4 w 99"/>
                <a:gd name="T43" fmla="*/ 73 h 204"/>
                <a:gd name="T44" fmla="*/ 13 w 99"/>
                <a:gd name="T45" fmla="*/ 70 h 204"/>
                <a:gd name="T46" fmla="*/ 16 w 99"/>
                <a:gd name="T47" fmla="*/ 60 h 204"/>
                <a:gd name="T48" fmla="*/ 0 w 99"/>
                <a:gd name="T49" fmla="*/ 54 h 204"/>
                <a:gd name="T50" fmla="*/ 0 w 99"/>
                <a:gd name="T51" fmla="*/ 32 h 204"/>
                <a:gd name="T52" fmla="*/ 4 w 99"/>
                <a:gd name="T53" fmla="*/ 16 h 204"/>
                <a:gd name="T54" fmla="*/ 16 w 99"/>
                <a:gd name="T55" fmla="*/ 3 h 204"/>
                <a:gd name="T56" fmla="*/ 26 w 99"/>
                <a:gd name="T57" fmla="*/ 3 h 204"/>
                <a:gd name="T58" fmla="*/ 29 w 99"/>
                <a:gd name="T59" fmla="*/ 16 h 204"/>
                <a:gd name="T60" fmla="*/ 42 w 99"/>
                <a:gd name="T61" fmla="*/ 3 h 204"/>
                <a:gd name="T62" fmla="*/ 42 w 99"/>
                <a:gd name="T63" fmla="*/ 0 h 204"/>
                <a:gd name="T64" fmla="*/ 42 w 99"/>
                <a:gd name="T65" fmla="*/ 3 h 204"/>
                <a:gd name="T66" fmla="*/ 55 w 99"/>
                <a:gd name="T67" fmla="*/ 16 h 204"/>
                <a:gd name="T68" fmla="*/ 58 w 99"/>
                <a:gd name="T69" fmla="*/ 16 h 204"/>
                <a:gd name="T70" fmla="*/ 70 w 99"/>
                <a:gd name="T71" fmla="*/ 29 h 204"/>
                <a:gd name="T72" fmla="*/ 70 w 99"/>
                <a:gd name="T73" fmla="*/ 32 h 204"/>
                <a:gd name="T74" fmla="*/ 70 w 99"/>
                <a:gd name="T75" fmla="*/ 54 h 204"/>
                <a:gd name="T76" fmla="*/ 70 w 99"/>
                <a:gd name="T77" fmla="*/ 57 h 204"/>
                <a:gd name="T78" fmla="*/ 70 w 99"/>
                <a:gd name="T79" fmla="*/ 57 h 204"/>
                <a:gd name="T80" fmla="*/ 70 w 99"/>
                <a:gd name="T81" fmla="*/ 57 h 2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9" h="204">
                  <a:moveTo>
                    <a:pt x="70" y="57"/>
                  </a:moveTo>
                  <a:lnTo>
                    <a:pt x="70" y="73"/>
                  </a:lnTo>
                  <a:lnTo>
                    <a:pt x="74" y="89"/>
                  </a:lnTo>
                  <a:lnTo>
                    <a:pt x="83" y="111"/>
                  </a:lnTo>
                  <a:lnTo>
                    <a:pt x="86" y="121"/>
                  </a:lnTo>
                  <a:lnTo>
                    <a:pt x="99" y="130"/>
                  </a:lnTo>
                  <a:lnTo>
                    <a:pt x="99" y="143"/>
                  </a:lnTo>
                  <a:lnTo>
                    <a:pt x="86" y="162"/>
                  </a:lnTo>
                  <a:lnTo>
                    <a:pt x="70" y="169"/>
                  </a:lnTo>
                  <a:lnTo>
                    <a:pt x="61" y="178"/>
                  </a:lnTo>
                  <a:lnTo>
                    <a:pt x="58" y="197"/>
                  </a:lnTo>
                  <a:lnTo>
                    <a:pt x="55" y="204"/>
                  </a:lnTo>
                  <a:lnTo>
                    <a:pt x="42" y="197"/>
                  </a:lnTo>
                  <a:lnTo>
                    <a:pt x="32" y="169"/>
                  </a:lnTo>
                  <a:lnTo>
                    <a:pt x="13" y="169"/>
                  </a:lnTo>
                  <a:lnTo>
                    <a:pt x="4" y="162"/>
                  </a:lnTo>
                  <a:lnTo>
                    <a:pt x="13" y="150"/>
                  </a:lnTo>
                  <a:lnTo>
                    <a:pt x="4" y="140"/>
                  </a:lnTo>
                  <a:lnTo>
                    <a:pt x="4" y="127"/>
                  </a:lnTo>
                  <a:lnTo>
                    <a:pt x="13" y="115"/>
                  </a:lnTo>
                  <a:lnTo>
                    <a:pt x="4" y="99"/>
                  </a:lnTo>
                  <a:lnTo>
                    <a:pt x="4" y="73"/>
                  </a:lnTo>
                  <a:lnTo>
                    <a:pt x="13" y="70"/>
                  </a:lnTo>
                  <a:lnTo>
                    <a:pt x="16" y="60"/>
                  </a:lnTo>
                  <a:lnTo>
                    <a:pt x="0" y="54"/>
                  </a:lnTo>
                  <a:lnTo>
                    <a:pt x="0" y="32"/>
                  </a:lnTo>
                  <a:lnTo>
                    <a:pt x="4" y="16"/>
                  </a:lnTo>
                  <a:lnTo>
                    <a:pt x="16" y="3"/>
                  </a:lnTo>
                  <a:lnTo>
                    <a:pt x="26" y="3"/>
                  </a:lnTo>
                  <a:lnTo>
                    <a:pt x="29" y="16"/>
                  </a:lnTo>
                  <a:lnTo>
                    <a:pt x="42" y="3"/>
                  </a:lnTo>
                  <a:lnTo>
                    <a:pt x="42" y="0"/>
                  </a:lnTo>
                  <a:lnTo>
                    <a:pt x="42" y="3"/>
                  </a:lnTo>
                  <a:lnTo>
                    <a:pt x="55" y="16"/>
                  </a:lnTo>
                  <a:lnTo>
                    <a:pt x="58" y="16"/>
                  </a:lnTo>
                  <a:lnTo>
                    <a:pt x="70" y="29"/>
                  </a:lnTo>
                  <a:lnTo>
                    <a:pt x="70" y="32"/>
                  </a:lnTo>
                  <a:lnTo>
                    <a:pt x="70" y="54"/>
                  </a:lnTo>
                  <a:lnTo>
                    <a:pt x="70" y="57"/>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203" name="Freeform 43"/>
            <p:cNvSpPr>
              <a:spLocks/>
            </p:cNvSpPr>
            <p:nvPr/>
          </p:nvSpPr>
          <p:spPr bwMode="gray">
            <a:xfrm>
              <a:off x="3216" y="1950"/>
              <a:ext cx="226" cy="296"/>
            </a:xfrm>
            <a:custGeom>
              <a:avLst/>
              <a:gdLst>
                <a:gd name="T0" fmla="*/ 10 w 226"/>
                <a:gd name="T1" fmla="*/ 23 h 296"/>
                <a:gd name="T2" fmla="*/ 29 w 226"/>
                <a:gd name="T3" fmla="*/ 16 h 296"/>
                <a:gd name="T4" fmla="*/ 45 w 226"/>
                <a:gd name="T5" fmla="*/ 0 h 296"/>
                <a:gd name="T6" fmla="*/ 70 w 226"/>
                <a:gd name="T7" fmla="*/ 7 h 296"/>
                <a:gd name="T8" fmla="*/ 86 w 226"/>
                <a:gd name="T9" fmla="*/ 16 h 296"/>
                <a:gd name="T10" fmla="*/ 111 w 226"/>
                <a:gd name="T11" fmla="*/ 54 h 296"/>
                <a:gd name="T12" fmla="*/ 140 w 226"/>
                <a:gd name="T13" fmla="*/ 70 h 296"/>
                <a:gd name="T14" fmla="*/ 131 w 226"/>
                <a:gd name="T15" fmla="*/ 86 h 296"/>
                <a:gd name="T16" fmla="*/ 156 w 226"/>
                <a:gd name="T17" fmla="*/ 105 h 296"/>
                <a:gd name="T18" fmla="*/ 182 w 226"/>
                <a:gd name="T19" fmla="*/ 105 h 296"/>
                <a:gd name="T20" fmla="*/ 210 w 226"/>
                <a:gd name="T21" fmla="*/ 99 h 296"/>
                <a:gd name="T22" fmla="*/ 197 w 226"/>
                <a:gd name="T23" fmla="*/ 115 h 296"/>
                <a:gd name="T24" fmla="*/ 197 w 226"/>
                <a:gd name="T25" fmla="*/ 144 h 296"/>
                <a:gd name="T26" fmla="*/ 213 w 226"/>
                <a:gd name="T27" fmla="*/ 185 h 296"/>
                <a:gd name="T28" fmla="*/ 223 w 226"/>
                <a:gd name="T29" fmla="*/ 210 h 296"/>
                <a:gd name="T30" fmla="*/ 201 w 226"/>
                <a:gd name="T31" fmla="*/ 239 h 296"/>
                <a:gd name="T32" fmla="*/ 210 w 226"/>
                <a:gd name="T33" fmla="*/ 264 h 296"/>
                <a:gd name="T34" fmla="*/ 182 w 226"/>
                <a:gd name="T35" fmla="*/ 264 h 296"/>
                <a:gd name="T36" fmla="*/ 153 w 226"/>
                <a:gd name="T37" fmla="*/ 268 h 296"/>
                <a:gd name="T38" fmla="*/ 131 w 226"/>
                <a:gd name="T39" fmla="*/ 280 h 296"/>
                <a:gd name="T40" fmla="*/ 115 w 226"/>
                <a:gd name="T41" fmla="*/ 293 h 296"/>
                <a:gd name="T42" fmla="*/ 111 w 226"/>
                <a:gd name="T43" fmla="*/ 293 h 296"/>
                <a:gd name="T44" fmla="*/ 111 w 226"/>
                <a:gd name="T45" fmla="*/ 268 h 296"/>
                <a:gd name="T46" fmla="*/ 92 w 226"/>
                <a:gd name="T47" fmla="*/ 255 h 296"/>
                <a:gd name="T48" fmla="*/ 83 w 226"/>
                <a:gd name="T49" fmla="*/ 239 h 296"/>
                <a:gd name="T50" fmla="*/ 86 w 226"/>
                <a:gd name="T51" fmla="*/ 226 h 296"/>
                <a:gd name="T52" fmla="*/ 73 w 226"/>
                <a:gd name="T53" fmla="*/ 214 h 296"/>
                <a:gd name="T54" fmla="*/ 51 w 226"/>
                <a:gd name="T55" fmla="*/ 201 h 296"/>
                <a:gd name="T56" fmla="*/ 45 w 226"/>
                <a:gd name="T57" fmla="*/ 194 h 296"/>
                <a:gd name="T58" fmla="*/ 41 w 226"/>
                <a:gd name="T59" fmla="*/ 172 h 296"/>
                <a:gd name="T60" fmla="*/ 29 w 226"/>
                <a:gd name="T61" fmla="*/ 153 h 296"/>
                <a:gd name="T62" fmla="*/ 41 w 226"/>
                <a:gd name="T63" fmla="*/ 153 h 296"/>
                <a:gd name="T64" fmla="*/ 41 w 226"/>
                <a:gd name="T65" fmla="*/ 140 h 296"/>
                <a:gd name="T66" fmla="*/ 16 w 226"/>
                <a:gd name="T67" fmla="*/ 128 h 296"/>
                <a:gd name="T68" fmla="*/ 29 w 226"/>
                <a:gd name="T69" fmla="*/ 99 h 296"/>
                <a:gd name="T70" fmla="*/ 22 w 226"/>
                <a:gd name="T71" fmla="*/ 86 h 296"/>
                <a:gd name="T72" fmla="*/ 16 w 226"/>
                <a:gd name="T73" fmla="*/ 86 h 296"/>
                <a:gd name="T74" fmla="*/ 22 w 226"/>
                <a:gd name="T75" fmla="*/ 77 h 296"/>
                <a:gd name="T76" fmla="*/ 29 w 226"/>
                <a:gd name="T77" fmla="*/ 70 h 296"/>
                <a:gd name="T78" fmla="*/ 10 w 226"/>
                <a:gd name="T79" fmla="*/ 64 h 296"/>
                <a:gd name="T80" fmla="*/ 6 w 226"/>
                <a:gd name="T81" fmla="*/ 29 h 296"/>
                <a:gd name="T82" fmla="*/ 0 w 226"/>
                <a:gd name="T83" fmla="*/ 29 h 29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26" h="296">
                  <a:moveTo>
                    <a:pt x="0" y="29"/>
                  </a:moveTo>
                  <a:lnTo>
                    <a:pt x="10" y="23"/>
                  </a:lnTo>
                  <a:lnTo>
                    <a:pt x="22" y="16"/>
                  </a:lnTo>
                  <a:lnTo>
                    <a:pt x="29" y="16"/>
                  </a:lnTo>
                  <a:lnTo>
                    <a:pt x="35" y="13"/>
                  </a:lnTo>
                  <a:lnTo>
                    <a:pt x="45" y="0"/>
                  </a:lnTo>
                  <a:lnTo>
                    <a:pt x="57" y="7"/>
                  </a:lnTo>
                  <a:lnTo>
                    <a:pt x="70" y="7"/>
                  </a:lnTo>
                  <a:lnTo>
                    <a:pt x="86" y="13"/>
                  </a:lnTo>
                  <a:lnTo>
                    <a:pt x="86" y="16"/>
                  </a:lnTo>
                  <a:lnTo>
                    <a:pt x="102" y="42"/>
                  </a:lnTo>
                  <a:lnTo>
                    <a:pt x="111" y="54"/>
                  </a:lnTo>
                  <a:lnTo>
                    <a:pt x="121" y="58"/>
                  </a:lnTo>
                  <a:lnTo>
                    <a:pt x="140" y="70"/>
                  </a:lnTo>
                  <a:lnTo>
                    <a:pt x="131" y="83"/>
                  </a:lnTo>
                  <a:lnTo>
                    <a:pt x="131" y="86"/>
                  </a:lnTo>
                  <a:lnTo>
                    <a:pt x="153" y="93"/>
                  </a:lnTo>
                  <a:lnTo>
                    <a:pt x="156" y="105"/>
                  </a:lnTo>
                  <a:lnTo>
                    <a:pt x="169" y="99"/>
                  </a:lnTo>
                  <a:lnTo>
                    <a:pt x="182" y="105"/>
                  </a:lnTo>
                  <a:lnTo>
                    <a:pt x="185" y="93"/>
                  </a:lnTo>
                  <a:lnTo>
                    <a:pt x="210" y="99"/>
                  </a:lnTo>
                  <a:lnTo>
                    <a:pt x="197" y="112"/>
                  </a:lnTo>
                  <a:lnTo>
                    <a:pt x="197" y="115"/>
                  </a:lnTo>
                  <a:lnTo>
                    <a:pt x="201" y="140"/>
                  </a:lnTo>
                  <a:lnTo>
                    <a:pt x="197" y="144"/>
                  </a:lnTo>
                  <a:lnTo>
                    <a:pt x="201" y="169"/>
                  </a:lnTo>
                  <a:lnTo>
                    <a:pt x="213" y="185"/>
                  </a:lnTo>
                  <a:lnTo>
                    <a:pt x="226" y="198"/>
                  </a:lnTo>
                  <a:lnTo>
                    <a:pt x="223" y="210"/>
                  </a:lnTo>
                  <a:lnTo>
                    <a:pt x="201" y="226"/>
                  </a:lnTo>
                  <a:lnTo>
                    <a:pt x="201" y="239"/>
                  </a:lnTo>
                  <a:lnTo>
                    <a:pt x="210" y="252"/>
                  </a:lnTo>
                  <a:lnTo>
                    <a:pt x="210" y="264"/>
                  </a:lnTo>
                  <a:lnTo>
                    <a:pt x="197" y="264"/>
                  </a:lnTo>
                  <a:lnTo>
                    <a:pt x="182" y="264"/>
                  </a:lnTo>
                  <a:lnTo>
                    <a:pt x="172" y="264"/>
                  </a:lnTo>
                  <a:lnTo>
                    <a:pt x="153" y="268"/>
                  </a:lnTo>
                  <a:lnTo>
                    <a:pt x="140" y="271"/>
                  </a:lnTo>
                  <a:lnTo>
                    <a:pt x="131" y="280"/>
                  </a:lnTo>
                  <a:lnTo>
                    <a:pt x="115" y="284"/>
                  </a:lnTo>
                  <a:lnTo>
                    <a:pt x="115" y="293"/>
                  </a:lnTo>
                  <a:lnTo>
                    <a:pt x="115" y="296"/>
                  </a:lnTo>
                  <a:lnTo>
                    <a:pt x="111" y="293"/>
                  </a:lnTo>
                  <a:lnTo>
                    <a:pt x="111" y="271"/>
                  </a:lnTo>
                  <a:lnTo>
                    <a:pt x="111" y="268"/>
                  </a:lnTo>
                  <a:lnTo>
                    <a:pt x="99" y="255"/>
                  </a:lnTo>
                  <a:lnTo>
                    <a:pt x="92" y="255"/>
                  </a:lnTo>
                  <a:lnTo>
                    <a:pt x="83" y="242"/>
                  </a:lnTo>
                  <a:lnTo>
                    <a:pt x="83" y="239"/>
                  </a:lnTo>
                  <a:lnTo>
                    <a:pt x="86" y="226"/>
                  </a:lnTo>
                  <a:lnTo>
                    <a:pt x="86" y="214"/>
                  </a:lnTo>
                  <a:lnTo>
                    <a:pt x="73" y="214"/>
                  </a:lnTo>
                  <a:lnTo>
                    <a:pt x="64" y="201"/>
                  </a:lnTo>
                  <a:lnTo>
                    <a:pt x="51" y="201"/>
                  </a:lnTo>
                  <a:lnTo>
                    <a:pt x="45" y="198"/>
                  </a:lnTo>
                  <a:lnTo>
                    <a:pt x="45" y="194"/>
                  </a:lnTo>
                  <a:lnTo>
                    <a:pt x="35" y="182"/>
                  </a:lnTo>
                  <a:lnTo>
                    <a:pt x="41" y="172"/>
                  </a:lnTo>
                  <a:lnTo>
                    <a:pt x="29" y="163"/>
                  </a:lnTo>
                  <a:lnTo>
                    <a:pt x="29" y="153"/>
                  </a:lnTo>
                  <a:lnTo>
                    <a:pt x="35" y="144"/>
                  </a:lnTo>
                  <a:lnTo>
                    <a:pt x="41" y="153"/>
                  </a:lnTo>
                  <a:lnTo>
                    <a:pt x="45" y="144"/>
                  </a:lnTo>
                  <a:lnTo>
                    <a:pt x="41" y="140"/>
                  </a:lnTo>
                  <a:lnTo>
                    <a:pt x="35" y="140"/>
                  </a:lnTo>
                  <a:lnTo>
                    <a:pt x="16" y="128"/>
                  </a:lnTo>
                  <a:lnTo>
                    <a:pt x="16" y="115"/>
                  </a:lnTo>
                  <a:lnTo>
                    <a:pt x="29" y="99"/>
                  </a:lnTo>
                  <a:lnTo>
                    <a:pt x="29" y="86"/>
                  </a:lnTo>
                  <a:lnTo>
                    <a:pt x="22" y="86"/>
                  </a:lnTo>
                  <a:lnTo>
                    <a:pt x="16" y="93"/>
                  </a:lnTo>
                  <a:lnTo>
                    <a:pt x="16" y="86"/>
                  </a:lnTo>
                  <a:lnTo>
                    <a:pt x="10" y="77"/>
                  </a:lnTo>
                  <a:lnTo>
                    <a:pt x="22" y="77"/>
                  </a:lnTo>
                  <a:lnTo>
                    <a:pt x="29" y="77"/>
                  </a:lnTo>
                  <a:lnTo>
                    <a:pt x="29" y="70"/>
                  </a:lnTo>
                  <a:lnTo>
                    <a:pt x="16" y="64"/>
                  </a:lnTo>
                  <a:lnTo>
                    <a:pt x="10" y="64"/>
                  </a:lnTo>
                  <a:lnTo>
                    <a:pt x="10" y="45"/>
                  </a:lnTo>
                  <a:lnTo>
                    <a:pt x="6" y="29"/>
                  </a:lnTo>
                  <a:lnTo>
                    <a:pt x="0" y="29"/>
                  </a:lnTo>
                  <a:close/>
                </a:path>
              </a:pathLst>
            </a:custGeom>
            <a:solidFill>
              <a:schemeClr val="bg1"/>
            </a:solidFill>
            <a:ln w="6350">
              <a:solidFill>
                <a:schemeClr val="accent2"/>
              </a:solidFill>
              <a:round/>
              <a:headEnd/>
              <a:tailEnd/>
            </a:ln>
          </p:spPr>
          <p:txBody>
            <a:bodyPr/>
            <a:lstStyle/>
            <a:p>
              <a:endParaRPr lang="de-DE"/>
            </a:p>
          </p:txBody>
        </p:sp>
        <p:sp>
          <p:nvSpPr>
            <p:cNvPr id="204" name="Freeform 44"/>
            <p:cNvSpPr>
              <a:spLocks/>
            </p:cNvSpPr>
            <p:nvPr/>
          </p:nvSpPr>
          <p:spPr bwMode="gray">
            <a:xfrm>
              <a:off x="3216" y="1950"/>
              <a:ext cx="226" cy="296"/>
            </a:xfrm>
            <a:custGeom>
              <a:avLst/>
              <a:gdLst>
                <a:gd name="T0" fmla="*/ 10 w 226"/>
                <a:gd name="T1" fmla="*/ 23 h 296"/>
                <a:gd name="T2" fmla="*/ 29 w 226"/>
                <a:gd name="T3" fmla="*/ 16 h 296"/>
                <a:gd name="T4" fmla="*/ 45 w 226"/>
                <a:gd name="T5" fmla="*/ 0 h 296"/>
                <a:gd name="T6" fmla="*/ 70 w 226"/>
                <a:gd name="T7" fmla="*/ 7 h 296"/>
                <a:gd name="T8" fmla="*/ 86 w 226"/>
                <a:gd name="T9" fmla="*/ 16 h 296"/>
                <a:gd name="T10" fmla="*/ 111 w 226"/>
                <a:gd name="T11" fmla="*/ 54 h 296"/>
                <a:gd name="T12" fmla="*/ 140 w 226"/>
                <a:gd name="T13" fmla="*/ 70 h 296"/>
                <a:gd name="T14" fmla="*/ 131 w 226"/>
                <a:gd name="T15" fmla="*/ 86 h 296"/>
                <a:gd name="T16" fmla="*/ 156 w 226"/>
                <a:gd name="T17" fmla="*/ 105 h 296"/>
                <a:gd name="T18" fmla="*/ 182 w 226"/>
                <a:gd name="T19" fmla="*/ 105 h 296"/>
                <a:gd name="T20" fmla="*/ 210 w 226"/>
                <a:gd name="T21" fmla="*/ 99 h 296"/>
                <a:gd name="T22" fmla="*/ 197 w 226"/>
                <a:gd name="T23" fmla="*/ 115 h 296"/>
                <a:gd name="T24" fmla="*/ 197 w 226"/>
                <a:gd name="T25" fmla="*/ 144 h 296"/>
                <a:gd name="T26" fmla="*/ 213 w 226"/>
                <a:gd name="T27" fmla="*/ 185 h 296"/>
                <a:gd name="T28" fmla="*/ 223 w 226"/>
                <a:gd name="T29" fmla="*/ 210 h 296"/>
                <a:gd name="T30" fmla="*/ 201 w 226"/>
                <a:gd name="T31" fmla="*/ 239 h 296"/>
                <a:gd name="T32" fmla="*/ 210 w 226"/>
                <a:gd name="T33" fmla="*/ 264 h 296"/>
                <a:gd name="T34" fmla="*/ 182 w 226"/>
                <a:gd name="T35" fmla="*/ 264 h 296"/>
                <a:gd name="T36" fmla="*/ 153 w 226"/>
                <a:gd name="T37" fmla="*/ 268 h 296"/>
                <a:gd name="T38" fmla="*/ 131 w 226"/>
                <a:gd name="T39" fmla="*/ 280 h 296"/>
                <a:gd name="T40" fmla="*/ 115 w 226"/>
                <a:gd name="T41" fmla="*/ 293 h 296"/>
                <a:gd name="T42" fmla="*/ 111 w 226"/>
                <a:gd name="T43" fmla="*/ 293 h 296"/>
                <a:gd name="T44" fmla="*/ 111 w 226"/>
                <a:gd name="T45" fmla="*/ 268 h 296"/>
                <a:gd name="T46" fmla="*/ 92 w 226"/>
                <a:gd name="T47" fmla="*/ 255 h 296"/>
                <a:gd name="T48" fmla="*/ 83 w 226"/>
                <a:gd name="T49" fmla="*/ 239 h 296"/>
                <a:gd name="T50" fmla="*/ 86 w 226"/>
                <a:gd name="T51" fmla="*/ 226 h 296"/>
                <a:gd name="T52" fmla="*/ 73 w 226"/>
                <a:gd name="T53" fmla="*/ 214 h 296"/>
                <a:gd name="T54" fmla="*/ 51 w 226"/>
                <a:gd name="T55" fmla="*/ 201 h 296"/>
                <a:gd name="T56" fmla="*/ 45 w 226"/>
                <a:gd name="T57" fmla="*/ 194 h 296"/>
                <a:gd name="T58" fmla="*/ 41 w 226"/>
                <a:gd name="T59" fmla="*/ 172 h 296"/>
                <a:gd name="T60" fmla="*/ 29 w 226"/>
                <a:gd name="T61" fmla="*/ 153 h 296"/>
                <a:gd name="T62" fmla="*/ 41 w 226"/>
                <a:gd name="T63" fmla="*/ 153 h 296"/>
                <a:gd name="T64" fmla="*/ 41 w 226"/>
                <a:gd name="T65" fmla="*/ 140 h 296"/>
                <a:gd name="T66" fmla="*/ 16 w 226"/>
                <a:gd name="T67" fmla="*/ 128 h 296"/>
                <a:gd name="T68" fmla="*/ 29 w 226"/>
                <a:gd name="T69" fmla="*/ 99 h 296"/>
                <a:gd name="T70" fmla="*/ 22 w 226"/>
                <a:gd name="T71" fmla="*/ 86 h 296"/>
                <a:gd name="T72" fmla="*/ 16 w 226"/>
                <a:gd name="T73" fmla="*/ 86 h 296"/>
                <a:gd name="T74" fmla="*/ 22 w 226"/>
                <a:gd name="T75" fmla="*/ 77 h 296"/>
                <a:gd name="T76" fmla="*/ 29 w 226"/>
                <a:gd name="T77" fmla="*/ 70 h 296"/>
                <a:gd name="T78" fmla="*/ 10 w 226"/>
                <a:gd name="T79" fmla="*/ 64 h 296"/>
                <a:gd name="T80" fmla="*/ 6 w 226"/>
                <a:gd name="T81" fmla="*/ 29 h 296"/>
                <a:gd name="T82" fmla="*/ 0 w 226"/>
                <a:gd name="T83" fmla="*/ 29 h 29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26" h="296">
                  <a:moveTo>
                    <a:pt x="0" y="29"/>
                  </a:moveTo>
                  <a:lnTo>
                    <a:pt x="10" y="23"/>
                  </a:lnTo>
                  <a:lnTo>
                    <a:pt x="22" y="16"/>
                  </a:lnTo>
                  <a:lnTo>
                    <a:pt x="29" y="16"/>
                  </a:lnTo>
                  <a:lnTo>
                    <a:pt x="35" y="13"/>
                  </a:lnTo>
                  <a:lnTo>
                    <a:pt x="45" y="0"/>
                  </a:lnTo>
                  <a:lnTo>
                    <a:pt x="57" y="7"/>
                  </a:lnTo>
                  <a:lnTo>
                    <a:pt x="70" y="7"/>
                  </a:lnTo>
                  <a:lnTo>
                    <a:pt x="86" y="13"/>
                  </a:lnTo>
                  <a:lnTo>
                    <a:pt x="86" y="16"/>
                  </a:lnTo>
                  <a:lnTo>
                    <a:pt x="102" y="42"/>
                  </a:lnTo>
                  <a:lnTo>
                    <a:pt x="111" y="54"/>
                  </a:lnTo>
                  <a:lnTo>
                    <a:pt x="121" y="58"/>
                  </a:lnTo>
                  <a:lnTo>
                    <a:pt x="140" y="70"/>
                  </a:lnTo>
                  <a:lnTo>
                    <a:pt x="131" y="83"/>
                  </a:lnTo>
                  <a:lnTo>
                    <a:pt x="131" y="86"/>
                  </a:lnTo>
                  <a:lnTo>
                    <a:pt x="153" y="93"/>
                  </a:lnTo>
                  <a:lnTo>
                    <a:pt x="156" y="105"/>
                  </a:lnTo>
                  <a:lnTo>
                    <a:pt x="169" y="99"/>
                  </a:lnTo>
                  <a:lnTo>
                    <a:pt x="182" y="105"/>
                  </a:lnTo>
                  <a:lnTo>
                    <a:pt x="185" y="93"/>
                  </a:lnTo>
                  <a:lnTo>
                    <a:pt x="210" y="99"/>
                  </a:lnTo>
                  <a:lnTo>
                    <a:pt x="197" y="112"/>
                  </a:lnTo>
                  <a:lnTo>
                    <a:pt x="197" y="115"/>
                  </a:lnTo>
                  <a:lnTo>
                    <a:pt x="201" y="140"/>
                  </a:lnTo>
                  <a:lnTo>
                    <a:pt x="197" y="144"/>
                  </a:lnTo>
                  <a:lnTo>
                    <a:pt x="201" y="169"/>
                  </a:lnTo>
                  <a:lnTo>
                    <a:pt x="213" y="185"/>
                  </a:lnTo>
                  <a:lnTo>
                    <a:pt x="226" y="198"/>
                  </a:lnTo>
                  <a:lnTo>
                    <a:pt x="223" y="210"/>
                  </a:lnTo>
                  <a:lnTo>
                    <a:pt x="201" y="226"/>
                  </a:lnTo>
                  <a:lnTo>
                    <a:pt x="201" y="239"/>
                  </a:lnTo>
                  <a:lnTo>
                    <a:pt x="210" y="252"/>
                  </a:lnTo>
                  <a:lnTo>
                    <a:pt x="210" y="264"/>
                  </a:lnTo>
                  <a:lnTo>
                    <a:pt x="197" y="264"/>
                  </a:lnTo>
                  <a:lnTo>
                    <a:pt x="182" y="264"/>
                  </a:lnTo>
                  <a:lnTo>
                    <a:pt x="172" y="264"/>
                  </a:lnTo>
                  <a:lnTo>
                    <a:pt x="153" y="268"/>
                  </a:lnTo>
                  <a:lnTo>
                    <a:pt x="140" y="271"/>
                  </a:lnTo>
                  <a:lnTo>
                    <a:pt x="131" y="280"/>
                  </a:lnTo>
                  <a:lnTo>
                    <a:pt x="115" y="284"/>
                  </a:lnTo>
                  <a:lnTo>
                    <a:pt x="115" y="293"/>
                  </a:lnTo>
                  <a:lnTo>
                    <a:pt x="115" y="296"/>
                  </a:lnTo>
                  <a:lnTo>
                    <a:pt x="111" y="293"/>
                  </a:lnTo>
                  <a:lnTo>
                    <a:pt x="111" y="271"/>
                  </a:lnTo>
                  <a:lnTo>
                    <a:pt x="111" y="268"/>
                  </a:lnTo>
                  <a:lnTo>
                    <a:pt x="99" y="255"/>
                  </a:lnTo>
                  <a:lnTo>
                    <a:pt x="92" y="255"/>
                  </a:lnTo>
                  <a:lnTo>
                    <a:pt x="83" y="242"/>
                  </a:lnTo>
                  <a:lnTo>
                    <a:pt x="83" y="239"/>
                  </a:lnTo>
                  <a:lnTo>
                    <a:pt x="86" y="226"/>
                  </a:lnTo>
                  <a:lnTo>
                    <a:pt x="86" y="214"/>
                  </a:lnTo>
                  <a:lnTo>
                    <a:pt x="73" y="214"/>
                  </a:lnTo>
                  <a:lnTo>
                    <a:pt x="64" y="201"/>
                  </a:lnTo>
                  <a:lnTo>
                    <a:pt x="51" y="201"/>
                  </a:lnTo>
                  <a:lnTo>
                    <a:pt x="45" y="198"/>
                  </a:lnTo>
                  <a:lnTo>
                    <a:pt x="45" y="194"/>
                  </a:lnTo>
                  <a:lnTo>
                    <a:pt x="35" y="182"/>
                  </a:lnTo>
                  <a:lnTo>
                    <a:pt x="41" y="172"/>
                  </a:lnTo>
                  <a:lnTo>
                    <a:pt x="29" y="163"/>
                  </a:lnTo>
                  <a:lnTo>
                    <a:pt x="29" y="153"/>
                  </a:lnTo>
                  <a:lnTo>
                    <a:pt x="35" y="144"/>
                  </a:lnTo>
                  <a:lnTo>
                    <a:pt x="41" y="153"/>
                  </a:lnTo>
                  <a:lnTo>
                    <a:pt x="45" y="144"/>
                  </a:lnTo>
                  <a:lnTo>
                    <a:pt x="41" y="140"/>
                  </a:lnTo>
                  <a:lnTo>
                    <a:pt x="35" y="140"/>
                  </a:lnTo>
                  <a:lnTo>
                    <a:pt x="16" y="128"/>
                  </a:lnTo>
                  <a:lnTo>
                    <a:pt x="16" y="115"/>
                  </a:lnTo>
                  <a:lnTo>
                    <a:pt x="29" y="99"/>
                  </a:lnTo>
                  <a:lnTo>
                    <a:pt x="29" y="86"/>
                  </a:lnTo>
                  <a:lnTo>
                    <a:pt x="22" y="86"/>
                  </a:lnTo>
                  <a:lnTo>
                    <a:pt x="16" y="93"/>
                  </a:lnTo>
                  <a:lnTo>
                    <a:pt x="16" y="86"/>
                  </a:lnTo>
                  <a:lnTo>
                    <a:pt x="10" y="77"/>
                  </a:lnTo>
                  <a:lnTo>
                    <a:pt x="22" y="77"/>
                  </a:lnTo>
                  <a:lnTo>
                    <a:pt x="29" y="77"/>
                  </a:lnTo>
                  <a:lnTo>
                    <a:pt x="29" y="70"/>
                  </a:lnTo>
                  <a:lnTo>
                    <a:pt x="16" y="64"/>
                  </a:lnTo>
                  <a:lnTo>
                    <a:pt x="10" y="64"/>
                  </a:lnTo>
                  <a:lnTo>
                    <a:pt x="10" y="45"/>
                  </a:lnTo>
                  <a:lnTo>
                    <a:pt x="6" y="29"/>
                  </a:lnTo>
                  <a:lnTo>
                    <a:pt x="0" y="29"/>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205" name="Freeform 45"/>
            <p:cNvSpPr>
              <a:spLocks/>
            </p:cNvSpPr>
            <p:nvPr/>
          </p:nvSpPr>
          <p:spPr bwMode="gray">
            <a:xfrm>
              <a:off x="3203" y="2119"/>
              <a:ext cx="99" cy="124"/>
            </a:xfrm>
            <a:custGeom>
              <a:avLst/>
              <a:gdLst>
                <a:gd name="T0" fmla="*/ 54 w 99"/>
                <a:gd name="T1" fmla="*/ 124 h 124"/>
                <a:gd name="T2" fmla="*/ 54 w 99"/>
                <a:gd name="T3" fmla="*/ 102 h 124"/>
                <a:gd name="T4" fmla="*/ 58 w 99"/>
                <a:gd name="T5" fmla="*/ 86 h 124"/>
                <a:gd name="T6" fmla="*/ 70 w 99"/>
                <a:gd name="T7" fmla="*/ 73 h 124"/>
                <a:gd name="T8" fmla="*/ 80 w 99"/>
                <a:gd name="T9" fmla="*/ 73 h 124"/>
                <a:gd name="T10" fmla="*/ 83 w 99"/>
                <a:gd name="T11" fmla="*/ 86 h 124"/>
                <a:gd name="T12" fmla="*/ 96 w 99"/>
                <a:gd name="T13" fmla="*/ 73 h 124"/>
                <a:gd name="T14" fmla="*/ 96 w 99"/>
                <a:gd name="T15" fmla="*/ 70 h 124"/>
                <a:gd name="T16" fmla="*/ 99 w 99"/>
                <a:gd name="T17" fmla="*/ 57 h 124"/>
                <a:gd name="T18" fmla="*/ 99 w 99"/>
                <a:gd name="T19" fmla="*/ 45 h 124"/>
                <a:gd name="T20" fmla="*/ 86 w 99"/>
                <a:gd name="T21" fmla="*/ 45 h 124"/>
                <a:gd name="T22" fmla="*/ 80 w 99"/>
                <a:gd name="T23" fmla="*/ 32 h 124"/>
                <a:gd name="T24" fmla="*/ 67 w 99"/>
                <a:gd name="T25" fmla="*/ 32 h 124"/>
                <a:gd name="T26" fmla="*/ 58 w 99"/>
                <a:gd name="T27" fmla="*/ 29 h 124"/>
                <a:gd name="T28" fmla="*/ 58 w 99"/>
                <a:gd name="T29" fmla="*/ 25 h 124"/>
                <a:gd name="T30" fmla="*/ 48 w 99"/>
                <a:gd name="T31" fmla="*/ 13 h 124"/>
                <a:gd name="T32" fmla="*/ 48 w 99"/>
                <a:gd name="T33" fmla="*/ 13 h 124"/>
                <a:gd name="T34" fmla="*/ 42 w 99"/>
                <a:gd name="T35" fmla="*/ 13 h 124"/>
                <a:gd name="T36" fmla="*/ 29 w 99"/>
                <a:gd name="T37" fmla="*/ 0 h 124"/>
                <a:gd name="T38" fmla="*/ 26 w 99"/>
                <a:gd name="T39" fmla="*/ 3 h 124"/>
                <a:gd name="T40" fmla="*/ 26 w 99"/>
                <a:gd name="T41" fmla="*/ 16 h 124"/>
                <a:gd name="T42" fmla="*/ 29 w 99"/>
                <a:gd name="T43" fmla="*/ 25 h 124"/>
                <a:gd name="T44" fmla="*/ 39 w 99"/>
                <a:gd name="T45" fmla="*/ 29 h 124"/>
                <a:gd name="T46" fmla="*/ 29 w 99"/>
                <a:gd name="T47" fmla="*/ 32 h 124"/>
                <a:gd name="T48" fmla="*/ 19 w 99"/>
                <a:gd name="T49" fmla="*/ 32 h 124"/>
                <a:gd name="T50" fmla="*/ 13 w 99"/>
                <a:gd name="T51" fmla="*/ 45 h 124"/>
                <a:gd name="T52" fmla="*/ 13 w 99"/>
                <a:gd name="T53" fmla="*/ 57 h 124"/>
                <a:gd name="T54" fmla="*/ 7 w 99"/>
                <a:gd name="T55" fmla="*/ 70 h 124"/>
                <a:gd name="T56" fmla="*/ 0 w 99"/>
                <a:gd name="T57" fmla="*/ 73 h 124"/>
                <a:gd name="T58" fmla="*/ 7 w 99"/>
                <a:gd name="T59" fmla="*/ 83 h 124"/>
                <a:gd name="T60" fmla="*/ 19 w 99"/>
                <a:gd name="T61" fmla="*/ 83 h 124"/>
                <a:gd name="T62" fmla="*/ 39 w 99"/>
                <a:gd name="T63" fmla="*/ 111 h 124"/>
                <a:gd name="T64" fmla="*/ 42 w 99"/>
                <a:gd name="T65" fmla="*/ 115 h 124"/>
                <a:gd name="T66" fmla="*/ 54 w 99"/>
                <a:gd name="T67" fmla="*/ 124 h 124"/>
                <a:gd name="T68" fmla="*/ 54 w 99"/>
                <a:gd name="T69" fmla="*/ 124 h 124"/>
                <a:gd name="T70" fmla="*/ 54 w 99"/>
                <a:gd name="T71" fmla="*/ 124 h 12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9" h="124">
                  <a:moveTo>
                    <a:pt x="54" y="124"/>
                  </a:moveTo>
                  <a:lnTo>
                    <a:pt x="54" y="102"/>
                  </a:lnTo>
                  <a:lnTo>
                    <a:pt x="58" y="86"/>
                  </a:lnTo>
                  <a:lnTo>
                    <a:pt x="70" y="73"/>
                  </a:lnTo>
                  <a:lnTo>
                    <a:pt x="80" y="73"/>
                  </a:lnTo>
                  <a:lnTo>
                    <a:pt x="83" y="86"/>
                  </a:lnTo>
                  <a:lnTo>
                    <a:pt x="96" y="73"/>
                  </a:lnTo>
                  <a:lnTo>
                    <a:pt x="96" y="70"/>
                  </a:lnTo>
                  <a:lnTo>
                    <a:pt x="99" y="57"/>
                  </a:lnTo>
                  <a:lnTo>
                    <a:pt x="99" y="45"/>
                  </a:lnTo>
                  <a:lnTo>
                    <a:pt x="86" y="45"/>
                  </a:lnTo>
                  <a:lnTo>
                    <a:pt x="80" y="32"/>
                  </a:lnTo>
                  <a:lnTo>
                    <a:pt x="67" y="32"/>
                  </a:lnTo>
                  <a:lnTo>
                    <a:pt x="58" y="29"/>
                  </a:lnTo>
                  <a:lnTo>
                    <a:pt x="58" y="25"/>
                  </a:lnTo>
                  <a:lnTo>
                    <a:pt x="48" y="13"/>
                  </a:lnTo>
                  <a:lnTo>
                    <a:pt x="42" y="13"/>
                  </a:lnTo>
                  <a:lnTo>
                    <a:pt x="29" y="0"/>
                  </a:lnTo>
                  <a:lnTo>
                    <a:pt x="26" y="3"/>
                  </a:lnTo>
                  <a:lnTo>
                    <a:pt x="26" y="16"/>
                  </a:lnTo>
                  <a:lnTo>
                    <a:pt x="29" y="25"/>
                  </a:lnTo>
                  <a:lnTo>
                    <a:pt x="39" y="29"/>
                  </a:lnTo>
                  <a:lnTo>
                    <a:pt x="29" y="32"/>
                  </a:lnTo>
                  <a:lnTo>
                    <a:pt x="19" y="32"/>
                  </a:lnTo>
                  <a:lnTo>
                    <a:pt x="13" y="45"/>
                  </a:lnTo>
                  <a:lnTo>
                    <a:pt x="13" y="57"/>
                  </a:lnTo>
                  <a:lnTo>
                    <a:pt x="7" y="70"/>
                  </a:lnTo>
                  <a:lnTo>
                    <a:pt x="0" y="73"/>
                  </a:lnTo>
                  <a:lnTo>
                    <a:pt x="7" y="83"/>
                  </a:lnTo>
                  <a:lnTo>
                    <a:pt x="19" y="83"/>
                  </a:lnTo>
                  <a:lnTo>
                    <a:pt x="39" y="111"/>
                  </a:lnTo>
                  <a:lnTo>
                    <a:pt x="42" y="115"/>
                  </a:lnTo>
                  <a:lnTo>
                    <a:pt x="54" y="124"/>
                  </a:lnTo>
                  <a:close/>
                </a:path>
              </a:pathLst>
            </a:custGeom>
            <a:solidFill>
              <a:schemeClr val="bg1"/>
            </a:solidFill>
            <a:ln w="6350">
              <a:solidFill>
                <a:schemeClr val="accent2"/>
              </a:solidFill>
              <a:round/>
              <a:headEnd/>
              <a:tailEnd/>
            </a:ln>
          </p:spPr>
          <p:txBody>
            <a:bodyPr/>
            <a:lstStyle/>
            <a:p>
              <a:endParaRPr lang="de-DE"/>
            </a:p>
          </p:txBody>
        </p:sp>
        <p:sp>
          <p:nvSpPr>
            <p:cNvPr id="206" name="Freeform 46"/>
            <p:cNvSpPr>
              <a:spLocks/>
            </p:cNvSpPr>
            <p:nvPr/>
          </p:nvSpPr>
          <p:spPr bwMode="gray">
            <a:xfrm>
              <a:off x="3203" y="2119"/>
              <a:ext cx="99" cy="124"/>
            </a:xfrm>
            <a:custGeom>
              <a:avLst/>
              <a:gdLst>
                <a:gd name="T0" fmla="*/ 54 w 99"/>
                <a:gd name="T1" fmla="*/ 124 h 124"/>
                <a:gd name="T2" fmla="*/ 54 w 99"/>
                <a:gd name="T3" fmla="*/ 102 h 124"/>
                <a:gd name="T4" fmla="*/ 58 w 99"/>
                <a:gd name="T5" fmla="*/ 86 h 124"/>
                <a:gd name="T6" fmla="*/ 70 w 99"/>
                <a:gd name="T7" fmla="*/ 73 h 124"/>
                <a:gd name="T8" fmla="*/ 80 w 99"/>
                <a:gd name="T9" fmla="*/ 73 h 124"/>
                <a:gd name="T10" fmla="*/ 83 w 99"/>
                <a:gd name="T11" fmla="*/ 86 h 124"/>
                <a:gd name="T12" fmla="*/ 96 w 99"/>
                <a:gd name="T13" fmla="*/ 73 h 124"/>
                <a:gd name="T14" fmla="*/ 96 w 99"/>
                <a:gd name="T15" fmla="*/ 70 h 124"/>
                <a:gd name="T16" fmla="*/ 99 w 99"/>
                <a:gd name="T17" fmla="*/ 57 h 124"/>
                <a:gd name="T18" fmla="*/ 99 w 99"/>
                <a:gd name="T19" fmla="*/ 45 h 124"/>
                <a:gd name="T20" fmla="*/ 86 w 99"/>
                <a:gd name="T21" fmla="*/ 45 h 124"/>
                <a:gd name="T22" fmla="*/ 80 w 99"/>
                <a:gd name="T23" fmla="*/ 32 h 124"/>
                <a:gd name="T24" fmla="*/ 67 w 99"/>
                <a:gd name="T25" fmla="*/ 32 h 124"/>
                <a:gd name="T26" fmla="*/ 58 w 99"/>
                <a:gd name="T27" fmla="*/ 29 h 124"/>
                <a:gd name="T28" fmla="*/ 58 w 99"/>
                <a:gd name="T29" fmla="*/ 25 h 124"/>
                <a:gd name="T30" fmla="*/ 48 w 99"/>
                <a:gd name="T31" fmla="*/ 13 h 124"/>
                <a:gd name="T32" fmla="*/ 48 w 99"/>
                <a:gd name="T33" fmla="*/ 13 h 124"/>
                <a:gd name="T34" fmla="*/ 42 w 99"/>
                <a:gd name="T35" fmla="*/ 13 h 124"/>
                <a:gd name="T36" fmla="*/ 29 w 99"/>
                <a:gd name="T37" fmla="*/ 0 h 124"/>
                <a:gd name="T38" fmla="*/ 26 w 99"/>
                <a:gd name="T39" fmla="*/ 3 h 124"/>
                <a:gd name="T40" fmla="*/ 26 w 99"/>
                <a:gd name="T41" fmla="*/ 16 h 124"/>
                <a:gd name="T42" fmla="*/ 29 w 99"/>
                <a:gd name="T43" fmla="*/ 25 h 124"/>
                <a:gd name="T44" fmla="*/ 39 w 99"/>
                <a:gd name="T45" fmla="*/ 29 h 124"/>
                <a:gd name="T46" fmla="*/ 29 w 99"/>
                <a:gd name="T47" fmla="*/ 32 h 124"/>
                <a:gd name="T48" fmla="*/ 19 w 99"/>
                <a:gd name="T49" fmla="*/ 32 h 124"/>
                <a:gd name="T50" fmla="*/ 13 w 99"/>
                <a:gd name="T51" fmla="*/ 45 h 124"/>
                <a:gd name="T52" fmla="*/ 13 w 99"/>
                <a:gd name="T53" fmla="*/ 57 h 124"/>
                <a:gd name="T54" fmla="*/ 7 w 99"/>
                <a:gd name="T55" fmla="*/ 70 h 124"/>
                <a:gd name="T56" fmla="*/ 0 w 99"/>
                <a:gd name="T57" fmla="*/ 73 h 124"/>
                <a:gd name="T58" fmla="*/ 7 w 99"/>
                <a:gd name="T59" fmla="*/ 83 h 124"/>
                <a:gd name="T60" fmla="*/ 19 w 99"/>
                <a:gd name="T61" fmla="*/ 83 h 124"/>
                <a:gd name="T62" fmla="*/ 39 w 99"/>
                <a:gd name="T63" fmla="*/ 111 h 124"/>
                <a:gd name="T64" fmla="*/ 42 w 99"/>
                <a:gd name="T65" fmla="*/ 115 h 124"/>
                <a:gd name="T66" fmla="*/ 54 w 99"/>
                <a:gd name="T67" fmla="*/ 124 h 124"/>
                <a:gd name="T68" fmla="*/ 54 w 99"/>
                <a:gd name="T69" fmla="*/ 124 h 124"/>
                <a:gd name="T70" fmla="*/ 54 w 99"/>
                <a:gd name="T71" fmla="*/ 124 h 12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9" h="124">
                  <a:moveTo>
                    <a:pt x="54" y="124"/>
                  </a:moveTo>
                  <a:lnTo>
                    <a:pt x="54" y="102"/>
                  </a:lnTo>
                  <a:lnTo>
                    <a:pt x="58" y="86"/>
                  </a:lnTo>
                  <a:lnTo>
                    <a:pt x="70" y="73"/>
                  </a:lnTo>
                  <a:lnTo>
                    <a:pt x="80" y="73"/>
                  </a:lnTo>
                  <a:lnTo>
                    <a:pt x="83" y="86"/>
                  </a:lnTo>
                  <a:lnTo>
                    <a:pt x="96" y="73"/>
                  </a:lnTo>
                  <a:lnTo>
                    <a:pt x="96" y="70"/>
                  </a:lnTo>
                  <a:lnTo>
                    <a:pt x="99" y="57"/>
                  </a:lnTo>
                  <a:lnTo>
                    <a:pt x="99" y="45"/>
                  </a:lnTo>
                  <a:lnTo>
                    <a:pt x="86" y="45"/>
                  </a:lnTo>
                  <a:lnTo>
                    <a:pt x="80" y="32"/>
                  </a:lnTo>
                  <a:lnTo>
                    <a:pt x="67" y="32"/>
                  </a:lnTo>
                  <a:lnTo>
                    <a:pt x="58" y="29"/>
                  </a:lnTo>
                  <a:lnTo>
                    <a:pt x="58" y="25"/>
                  </a:lnTo>
                  <a:lnTo>
                    <a:pt x="48" y="13"/>
                  </a:lnTo>
                  <a:lnTo>
                    <a:pt x="42" y="13"/>
                  </a:lnTo>
                  <a:lnTo>
                    <a:pt x="29" y="0"/>
                  </a:lnTo>
                  <a:lnTo>
                    <a:pt x="26" y="3"/>
                  </a:lnTo>
                  <a:lnTo>
                    <a:pt x="26" y="16"/>
                  </a:lnTo>
                  <a:lnTo>
                    <a:pt x="29" y="25"/>
                  </a:lnTo>
                  <a:lnTo>
                    <a:pt x="39" y="29"/>
                  </a:lnTo>
                  <a:lnTo>
                    <a:pt x="29" y="32"/>
                  </a:lnTo>
                  <a:lnTo>
                    <a:pt x="19" y="32"/>
                  </a:lnTo>
                  <a:lnTo>
                    <a:pt x="13" y="45"/>
                  </a:lnTo>
                  <a:lnTo>
                    <a:pt x="13" y="57"/>
                  </a:lnTo>
                  <a:lnTo>
                    <a:pt x="7" y="70"/>
                  </a:lnTo>
                  <a:lnTo>
                    <a:pt x="0" y="73"/>
                  </a:lnTo>
                  <a:lnTo>
                    <a:pt x="7" y="83"/>
                  </a:lnTo>
                  <a:lnTo>
                    <a:pt x="19" y="83"/>
                  </a:lnTo>
                  <a:lnTo>
                    <a:pt x="39" y="111"/>
                  </a:lnTo>
                  <a:lnTo>
                    <a:pt x="42" y="115"/>
                  </a:lnTo>
                  <a:lnTo>
                    <a:pt x="54" y="124"/>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207" name="Freeform 47"/>
            <p:cNvSpPr>
              <a:spLocks noEditPoints="1"/>
            </p:cNvSpPr>
            <p:nvPr/>
          </p:nvSpPr>
          <p:spPr bwMode="gray">
            <a:xfrm>
              <a:off x="2951" y="1942"/>
              <a:ext cx="297" cy="232"/>
            </a:xfrm>
            <a:custGeom>
              <a:avLst/>
              <a:gdLst>
                <a:gd name="T0" fmla="*/ 91 w 93"/>
                <a:gd name="T1" fmla="*/ 26 h 73"/>
                <a:gd name="T2" fmla="*/ 89 w 93"/>
                <a:gd name="T3" fmla="*/ 22 h 73"/>
                <a:gd name="T4" fmla="*/ 86 w 93"/>
                <a:gd name="T5" fmla="*/ 11 h 73"/>
                <a:gd name="T6" fmla="*/ 73 w 93"/>
                <a:gd name="T7" fmla="*/ 11 h 73"/>
                <a:gd name="T8" fmla="*/ 58 w 93"/>
                <a:gd name="T9" fmla="*/ 8 h 73"/>
                <a:gd name="T10" fmla="*/ 47 w 93"/>
                <a:gd name="T11" fmla="*/ 0 h 73"/>
                <a:gd name="T12" fmla="*/ 29 w 93"/>
                <a:gd name="T13" fmla="*/ 11 h 73"/>
                <a:gd name="T14" fmla="*/ 20 w 93"/>
                <a:gd name="T15" fmla="*/ 19 h 73"/>
                <a:gd name="T16" fmla="*/ 5 w 93"/>
                <a:gd name="T17" fmla="*/ 20 h 73"/>
                <a:gd name="T18" fmla="*/ 0 w 93"/>
                <a:gd name="T19" fmla="*/ 28 h 73"/>
                <a:gd name="T20" fmla="*/ 5 w 93"/>
                <a:gd name="T21" fmla="*/ 35 h 73"/>
                <a:gd name="T22" fmla="*/ 13 w 93"/>
                <a:gd name="T23" fmla="*/ 20 h 73"/>
                <a:gd name="T24" fmla="*/ 22 w 93"/>
                <a:gd name="T25" fmla="*/ 28 h 73"/>
                <a:gd name="T26" fmla="*/ 29 w 93"/>
                <a:gd name="T27" fmla="*/ 42 h 73"/>
                <a:gd name="T28" fmla="*/ 31 w 93"/>
                <a:gd name="T29" fmla="*/ 44 h 73"/>
                <a:gd name="T30" fmla="*/ 29 w 93"/>
                <a:gd name="T31" fmla="*/ 51 h 73"/>
                <a:gd name="T32" fmla="*/ 40 w 93"/>
                <a:gd name="T33" fmla="*/ 55 h 73"/>
                <a:gd name="T34" fmla="*/ 47 w 93"/>
                <a:gd name="T35" fmla="*/ 60 h 73"/>
                <a:gd name="T36" fmla="*/ 67 w 93"/>
                <a:gd name="T37" fmla="*/ 71 h 73"/>
                <a:gd name="T38" fmla="*/ 64 w 93"/>
                <a:gd name="T39" fmla="*/ 71 h 73"/>
                <a:gd name="T40" fmla="*/ 67 w 93"/>
                <a:gd name="T41" fmla="*/ 69 h 73"/>
                <a:gd name="T42" fmla="*/ 42 w 93"/>
                <a:gd name="T43" fmla="*/ 42 h 73"/>
                <a:gd name="T44" fmla="*/ 40 w 93"/>
                <a:gd name="T45" fmla="*/ 35 h 73"/>
                <a:gd name="T46" fmla="*/ 34 w 93"/>
                <a:gd name="T47" fmla="*/ 29 h 73"/>
                <a:gd name="T48" fmla="*/ 36 w 93"/>
                <a:gd name="T49" fmla="*/ 22 h 73"/>
                <a:gd name="T50" fmla="*/ 44 w 93"/>
                <a:gd name="T51" fmla="*/ 26 h 73"/>
                <a:gd name="T52" fmla="*/ 49 w 93"/>
                <a:gd name="T53" fmla="*/ 24 h 73"/>
                <a:gd name="T54" fmla="*/ 56 w 93"/>
                <a:gd name="T55" fmla="*/ 22 h 73"/>
                <a:gd name="T56" fmla="*/ 62 w 93"/>
                <a:gd name="T57" fmla="*/ 24 h 73"/>
                <a:gd name="T58" fmla="*/ 69 w 93"/>
                <a:gd name="T59" fmla="*/ 26 h 73"/>
                <a:gd name="T60" fmla="*/ 80 w 93"/>
                <a:gd name="T61" fmla="*/ 26 h 73"/>
                <a:gd name="T62" fmla="*/ 89 w 93"/>
                <a:gd name="T63" fmla="*/ 29 h 73"/>
                <a:gd name="T64" fmla="*/ 60 w 93"/>
                <a:gd name="T65" fmla="*/ 71 h 73"/>
                <a:gd name="T66" fmla="*/ 49 w 93"/>
                <a:gd name="T67" fmla="*/ 66 h 73"/>
                <a:gd name="T68" fmla="*/ 49 w 93"/>
                <a:gd name="T69" fmla="*/ 66 h 73"/>
                <a:gd name="T70" fmla="*/ 56 w 93"/>
                <a:gd name="T71" fmla="*/ 64 h 73"/>
                <a:gd name="T72" fmla="*/ 49 w 93"/>
                <a:gd name="T73" fmla="*/ 62 h 73"/>
                <a:gd name="T74" fmla="*/ 29 w 93"/>
                <a:gd name="T75" fmla="*/ 44 h 73"/>
                <a:gd name="T76" fmla="*/ 22 w 93"/>
                <a:gd name="T77" fmla="*/ 35 h 73"/>
                <a:gd name="T78" fmla="*/ 22 w 93"/>
                <a:gd name="T79" fmla="*/ 35 h 73"/>
                <a:gd name="T80" fmla="*/ 27 w 93"/>
                <a:gd name="T81" fmla="*/ 51 h 73"/>
                <a:gd name="T82" fmla="*/ 20 w 93"/>
                <a:gd name="T83" fmla="*/ 42 h 73"/>
                <a:gd name="T84" fmla="*/ 11 w 93"/>
                <a:gd name="T85" fmla="*/ 31 h 73"/>
                <a:gd name="T86" fmla="*/ 16 w 93"/>
                <a:gd name="T87" fmla="*/ 39 h 73"/>
                <a:gd name="T88" fmla="*/ 11 w 93"/>
                <a:gd name="T89" fmla="*/ 31 h 73"/>
                <a:gd name="T90" fmla="*/ 16 w 93"/>
                <a:gd name="T91" fmla="*/ 33 h 73"/>
                <a:gd name="T92" fmla="*/ 13 w 93"/>
                <a:gd name="T93" fmla="*/ 2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 h="73">
                  <a:moveTo>
                    <a:pt x="89" y="29"/>
                  </a:moveTo>
                  <a:cubicBezTo>
                    <a:pt x="87" y="26"/>
                    <a:pt x="87" y="26"/>
                    <a:pt x="87" y="26"/>
                  </a:cubicBezTo>
                  <a:cubicBezTo>
                    <a:pt x="91" y="26"/>
                    <a:pt x="91" y="26"/>
                    <a:pt x="91" y="26"/>
                  </a:cubicBezTo>
                  <a:cubicBezTo>
                    <a:pt x="93" y="26"/>
                    <a:pt x="93" y="26"/>
                    <a:pt x="93" y="26"/>
                  </a:cubicBezTo>
                  <a:cubicBezTo>
                    <a:pt x="93" y="24"/>
                    <a:pt x="93" y="24"/>
                    <a:pt x="93" y="24"/>
                  </a:cubicBezTo>
                  <a:cubicBezTo>
                    <a:pt x="89" y="22"/>
                    <a:pt x="89" y="22"/>
                    <a:pt x="89" y="22"/>
                  </a:cubicBezTo>
                  <a:cubicBezTo>
                    <a:pt x="87" y="22"/>
                    <a:pt x="87" y="22"/>
                    <a:pt x="87" y="22"/>
                  </a:cubicBezTo>
                  <a:cubicBezTo>
                    <a:pt x="87" y="17"/>
                    <a:pt x="87" y="17"/>
                    <a:pt x="87" y="17"/>
                  </a:cubicBezTo>
                  <a:cubicBezTo>
                    <a:pt x="86" y="11"/>
                    <a:pt x="86" y="11"/>
                    <a:pt x="86" y="11"/>
                  </a:cubicBezTo>
                  <a:cubicBezTo>
                    <a:pt x="82" y="11"/>
                    <a:pt x="82" y="11"/>
                    <a:pt x="82" y="11"/>
                  </a:cubicBezTo>
                  <a:cubicBezTo>
                    <a:pt x="80" y="15"/>
                    <a:pt x="80" y="15"/>
                    <a:pt x="80" y="15"/>
                  </a:cubicBezTo>
                  <a:cubicBezTo>
                    <a:pt x="73" y="11"/>
                    <a:pt x="73" y="11"/>
                    <a:pt x="73" y="11"/>
                  </a:cubicBezTo>
                  <a:cubicBezTo>
                    <a:pt x="64" y="11"/>
                    <a:pt x="64" y="11"/>
                    <a:pt x="64" y="11"/>
                  </a:cubicBezTo>
                  <a:cubicBezTo>
                    <a:pt x="62" y="8"/>
                    <a:pt x="62" y="8"/>
                    <a:pt x="62" y="8"/>
                  </a:cubicBezTo>
                  <a:cubicBezTo>
                    <a:pt x="58" y="8"/>
                    <a:pt x="58" y="8"/>
                    <a:pt x="58" y="8"/>
                  </a:cubicBezTo>
                  <a:cubicBezTo>
                    <a:pt x="51" y="0"/>
                    <a:pt x="51" y="0"/>
                    <a:pt x="51" y="0"/>
                  </a:cubicBezTo>
                  <a:cubicBezTo>
                    <a:pt x="47" y="0"/>
                    <a:pt x="47" y="0"/>
                    <a:pt x="47" y="0"/>
                  </a:cubicBezTo>
                  <a:cubicBezTo>
                    <a:pt x="47" y="0"/>
                    <a:pt x="47" y="0"/>
                    <a:pt x="47" y="0"/>
                  </a:cubicBezTo>
                  <a:cubicBezTo>
                    <a:pt x="40" y="0"/>
                    <a:pt x="40" y="0"/>
                    <a:pt x="40" y="0"/>
                  </a:cubicBezTo>
                  <a:cubicBezTo>
                    <a:pt x="31" y="6"/>
                    <a:pt x="31" y="6"/>
                    <a:pt x="31" y="6"/>
                  </a:cubicBezTo>
                  <a:cubicBezTo>
                    <a:pt x="29" y="11"/>
                    <a:pt x="29" y="11"/>
                    <a:pt x="29" y="11"/>
                  </a:cubicBezTo>
                  <a:cubicBezTo>
                    <a:pt x="24" y="13"/>
                    <a:pt x="24" y="13"/>
                    <a:pt x="24" y="13"/>
                  </a:cubicBezTo>
                  <a:cubicBezTo>
                    <a:pt x="24" y="19"/>
                    <a:pt x="24" y="19"/>
                    <a:pt x="24" y="19"/>
                  </a:cubicBezTo>
                  <a:cubicBezTo>
                    <a:pt x="20" y="19"/>
                    <a:pt x="20" y="19"/>
                    <a:pt x="20" y="19"/>
                  </a:cubicBezTo>
                  <a:cubicBezTo>
                    <a:pt x="13" y="17"/>
                    <a:pt x="13" y="17"/>
                    <a:pt x="13" y="17"/>
                  </a:cubicBezTo>
                  <a:cubicBezTo>
                    <a:pt x="9" y="17"/>
                    <a:pt x="9" y="17"/>
                    <a:pt x="9" y="17"/>
                  </a:cubicBezTo>
                  <a:cubicBezTo>
                    <a:pt x="5" y="20"/>
                    <a:pt x="5" y="20"/>
                    <a:pt x="5" y="20"/>
                  </a:cubicBezTo>
                  <a:cubicBezTo>
                    <a:pt x="0" y="20"/>
                    <a:pt x="0" y="20"/>
                    <a:pt x="0" y="20"/>
                  </a:cubicBezTo>
                  <a:cubicBezTo>
                    <a:pt x="0" y="22"/>
                    <a:pt x="0" y="22"/>
                    <a:pt x="0" y="22"/>
                  </a:cubicBezTo>
                  <a:cubicBezTo>
                    <a:pt x="0" y="28"/>
                    <a:pt x="0" y="28"/>
                    <a:pt x="0" y="28"/>
                  </a:cubicBezTo>
                  <a:cubicBezTo>
                    <a:pt x="3" y="31"/>
                    <a:pt x="3" y="31"/>
                    <a:pt x="3" y="31"/>
                  </a:cubicBezTo>
                  <a:cubicBezTo>
                    <a:pt x="3" y="33"/>
                    <a:pt x="3" y="33"/>
                    <a:pt x="3" y="33"/>
                  </a:cubicBezTo>
                  <a:cubicBezTo>
                    <a:pt x="5" y="35"/>
                    <a:pt x="5" y="35"/>
                    <a:pt x="5" y="35"/>
                  </a:cubicBezTo>
                  <a:cubicBezTo>
                    <a:pt x="9" y="28"/>
                    <a:pt x="9" y="28"/>
                    <a:pt x="9" y="28"/>
                  </a:cubicBezTo>
                  <a:cubicBezTo>
                    <a:pt x="11" y="24"/>
                    <a:pt x="11" y="24"/>
                    <a:pt x="11" y="24"/>
                  </a:cubicBezTo>
                  <a:cubicBezTo>
                    <a:pt x="13" y="20"/>
                    <a:pt x="13" y="20"/>
                    <a:pt x="13" y="20"/>
                  </a:cubicBezTo>
                  <a:cubicBezTo>
                    <a:pt x="16" y="20"/>
                    <a:pt x="16" y="20"/>
                    <a:pt x="16" y="20"/>
                  </a:cubicBezTo>
                  <a:cubicBezTo>
                    <a:pt x="18" y="24"/>
                    <a:pt x="18" y="24"/>
                    <a:pt x="18" y="24"/>
                  </a:cubicBezTo>
                  <a:cubicBezTo>
                    <a:pt x="22" y="28"/>
                    <a:pt x="22" y="28"/>
                    <a:pt x="22" y="28"/>
                  </a:cubicBezTo>
                  <a:cubicBezTo>
                    <a:pt x="22" y="31"/>
                    <a:pt x="22" y="31"/>
                    <a:pt x="22" y="31"/>
                  </a:cubicBezTo>
                  <a:cubicBezTo>
                    <a:pt x="25" y="37"/>
                    <a:pt x="25" y="37"/>
                    <a:pt x="25" y="37"/>
                  </a:cubicBezTo>
                  <a:cubicBezTo>
                    <a:pt x="29" y="42"/>
                    <a:pt x="29" y="42"/>
                    <a:pt x="29" y="42"/>
                  </a:cubicBezTo>
                  <a:cubicBezTo>
                    <a:pt x="31" y="42"/>
                    <a:pt x="31" y="42"/>
                    <a:pt x="31" y="42"/>
                  </a:cubicBezTo>
                  <a:cubicBezTo>
                    <a:pt x="34" y="46"/>
                    <a:pt x="34" y="46"/>
                    <a:pt x="34" y="46"/>
                  </a:cubicBezTo>
                  <a:cubicBezTo>
                    <a:pt x="31" y="44"/>
                    <a:pt x="31" y="44"/>
                    <a:pt x="31" y="44"/>
                  </a:cubicBezTo>
                  <a:cubicBezTo>
                    <a:pt x="29" y="44"/>
                    <a:pt x="29" y="44"/>
                    <a:pt x="29" y="44"/>
                  </a:cubicBezTo>
                  <a:cubicBezTo>
                    <a:pt x="27" y="48"/>
                    <a:pt x="27" y="48"/>
                    <a:pt x="27" y="48"/>
                  </a:cubicBezTo>
                  <a:cubicBezTo>
                    <a:pt x="29" y="51"/>
                    <a:pt x="29" y="51"/>
                    <a:pt x="29" y="51"/>
                  </a:cubicBezTo>
                  <a:cubicBezTo>
                    <a:pt x="33" y="51"/>
                    <a:pt x="33" y="51"/>
                    <a:pt x="33" y="51"/>
                  </a:cubicBezTo>
                  <a:cubicBezTo>
                    <a:pt x="36" y="55"/>
                    <a:pt x="36" y="55"/>
                    <a:pt x="36" y="55"/>
                  </a:cubicBezTo>
                  <a:cubicBezTo>
                    <a:pt x="40" y="55"/>
                    <a:pt x="40" y="55"/>
                    <a:pt x="40" y="55"/>
                  </a:cubicBezTo>
                  <a:cubicBezTo>
                    <a:pt x="42" y="58"/>
                    <a:pt x="42" y="58"/>
                    <a:pt x="42" y="58"/>
                  </a:cubicBezTo>
                  <a:cubicBezTo>
                    <a:pt x="44" y="60"/>
                    <a:pt x="44" y="60"/>
                    <a:pt x="44" y="60"/>
                  </a:cubicBezTo>
                  <a:cubicBezTo>
                    <a:pt x="47" y="60"/>
                    <a:pt x="47" y="60"/>
                    <a:pt x="47" y="60"/>
                  </a:cubicBezTo>
                  <a:cubicBezTo>
                    <a:pt x="55" y="60"/>
                    <a:pt x="55" y="60"/>
                    <a:pt x="55" y="60"/>
                  </a:cubicBezTo>
                  <a:cubicBezTo>
                    <a:pt x="58" y="62"/>
                    <a:pt x="58" y="62"/>
                    <a:pt x="58" y="62"/>
                  </a:cubicBezTo>
                  <a:cubicBezTo>
                    <a:pt x="67" y="71"/>
                    <a:pt x="67" y="71"/>
                    <a:pt x="67" y="71"/>
                  </a:cubicBezTo>
                  <a:cubicBezTo>
                    <a:pt x="66" y="71"/>
                    <a:pt x="66" y="71"/>
                    <a:pt x="66" y="71"/>
                  </a:cubicBezTo>
                  <a:cubicBezTo>
                    <a:pt x="62" y="69"/>
                    <a:pt x="62" y="69"/>
                    <a:pt x="62" y="69"/>
                  </a:cubicBezTo>
                  <a:cubicBezTo>
                    <a:pt x="64" y="71"/>
                    <a:pt x="64" y="71"/>
                    <a:pt x="64" y="71"/>
                  </a:cubicBezTo>
                  <a:cubicBezTo>
                    <a:pt x="67" y="73"/>
                    <a:pt x="67" y="73"/>
                    <a:pt x="67" y="73"/>
                  </a:cubicBezTo>
                  <a:cubicBezTo>
                    <a:pt x="67" y="73"/>
                    <a:pt x="67" y="73"/>
                    <a:pt x="67" y="73"/>
                  </a:cubicBezTo>
                  <a:cubicBezTo>
                    <a:pt x="67" y="69"/>
                    <a:pt x="67" y="69"/>
                    <a:pt x="67" y="69"/>
                  </a:cubicBezTo>
                  <a:cubicBezTo>
                    <a:pt x="56" y="57"/>
                    <a:pt x="56" y="57"/>
                    <a:pt x="56" y="57"/>
                  </a:cubicBezTo>
                  <a:cubicBezTo>
                    <a:pt x="42" y="44"/>
                    <a:pt x="42" y="44"/>
                    <a:pt x="42" y="44"/>
                  </a:cubicBezTo>
                  <a:cubicBezTo>
                    <a:pt x="42" y="42"/>
                    <a:pt x="42" y="42"/>
                    <a:pt x="42" y="42"/>
                  </a:cubicBezTo>
                  <a:cubicBezTo>
                    <a:pt x="42" y="40"/>
                    <a:pt x="42" y="40"/>
                    <a:pt x="42" y="40"/>
                  </a:cubicBezTo>
                  <a:cubicBezTo>
                    <a:pt x="40" y="39"/>
                    <a:pt x="40" y="39"/>
                    <a:pt x="40" y="39"/>
                  </a:cubicBezTo>
                  <a:cubicBezTo>
                    <a:pt x="40" y="35"/>
                    <a:pt x="40" y="35"/>
                    <a:pt x="40" y="35"/>
                  </a:cubicBezTo>
                  <a:cubicBezTo>
                    <a:pt x="36" y="31"/>
                    <a:pt x="36" y="31"/>
                    <a:pt x="36" y="31"/>
                  </a:cubicBezTo>
                  <a:cubicBezTo>
                    <a:pt x="34" y="31"/>
                    <a:pt x="34" y="31"/>
                    <a:pt x="34" y="31"/>
                  </a:cubicBezTo>
                  <a:cubicBezTo>
                    <a:pt x="34" y="29"/>
                    <a:pt x="34" y="29"/>
                    <a:pt x="34" y="29"/>
                  </a:cubicBezTo>
                  <a:cubicBezTo>
                    <a:pt x="34" y="28"/>
                    <a:pt x="34" y="28"/>
                    <a:pt x="34" y="28"/>
                  </a:cubicBezTo>
                  <a:cubicBezTo>
                    <a:pt x="34" y="22"/>
                    <a:pt x="34" y="22"/>
                    <a:pt x="34" y="22"/>
                  </a:cubicBezTo>
                  <a:cubicBezTo>
                    <a:pt x="36" y="22"/>
                    <a:pt x="36" y="22"/>
                    <a:pt x="36" y="22"/>
                  </a:cubicBezTo>
                  <a:cubicBezTo>
                    <a:pt x="40" y="24"/>
                    <a:pt x="40" y="24"/>
                    <a:pt x="40" y="24"/>
                  </a:cubicBezTo>
                  <a:cubicBezTo>
                    <a:pt x="42" y="28"/>
                    <a:pt x="42" y="28"/>
                    <a:pt x="42" y="28"/>
                  </a:cubicBezTo>
                  <a:cubicBezTo>
                    <a:pt x="44" y="26"/>
                    <a:pt x="44" y="26"/>
                    <a:pt x="44" y="26"/>
                  </a:cubicBezTo>
                  <a:cubicBezTo>
                    <a:pt x="44" y="24"/>
                    <a:pt x="44" y="24"/>
                    <a:pt x="44" y="24"/>
                  </a:cubicBezTo>
                  <a:cubicBezTo>
                    <a:pt x="47" y="24"/>
                    <a:pt x="47" y="24"/>
                    <a:pt x="47" y="24"/>
                  </a:cubicBezTo>
                  <a:cubicBezTo>
                    <a:pt x="49" y="24"/>
                    <a:pt x="49" y="24"/>
                    <a:pt x="49" y="24"/>
                  </a:cubicBezTo>
                  <a:cubicBezTo>
                    <a:pt x="51" y="22"/>
                    <a:pt x="51" y="22"/>
                    <a:pt x="51" y="22"/>
                  </a:cubicBezTo>
                  <a:cubicBezTo>
                    <a:pt x="55" y="24"/>
                    <a:pt x="55" y="24"/>
                    <a:pt x="55" y="24"/>
                  </a:cubicBezTo>
                  <a:cubicBezTo>
                    <a:pt x="56" y="22"/>
                    <a:pt x="56" y="22"/>
                    <a:pt x="56" y="22"/>
                  </a:cubicBezTo>
                  <a:cubicBezTo>
                    <a:pt x="58" y="22"/>
                    <a:pt x="58" y="22"/>
                    <a:pt x="58" y="22"/>
                  </a:cubicBezTo>
                  <a:cubicBezTo>
                    <a:pt x="60" y="26"/>
                    <a:pt x="60" y="26"/>
                    <a:pt x="60" y="26"/>
                  </a:cubicBezTo>
                  <a:cubicBezTo>
                    <a:pt x="62" y="24"/>
                    <a:pt x="62" y="24"/>
                    <a:pt x="62" y="24"/>
                  </a:cubicBezTo>
                  <a:cubicBezTo>
                    <a:pt x="66" y="26"/>
                    <a:pt x="66" y="26"/>
                    <a:pt x="66" y="26"/>
                  </a:cubicBezTo>
                  <a:cubicBezTo>
                    <a:pt x="69" y="24"/>
                    <a:pt x="69" y="24"/>
                    <a:pt x="69" y="24"/>
                  </a:cubicBezTo>
                  <a:cubicBezTo>
                    <a:pt x="69" y="26"/>
                    <a:pt x="69" y="26"/>
                    <a:pt x="69" y="26"/>
                  </a:cubicBezTo>
                  <a:cubicBezTo>
                    <a:pt x="75" y="24"/>
                    <a:pt x="75" y="24"/>
                    <a:pt x="75" y="24"/>
                  </a:cubicBezTo>
                  <a:cubicBezTo>
                    <a:pt x="77" y="26"/>
                    <a:pt x="77" y="26"/>
                    <a:pt x="77" y="26"/>
                  </a:cubicBezTo>
                  <a:cubicBezTo>
                    <a:pt x="80" y="26"/>
                    <a:pt x="80" y="26"/>
                    <a:pt x="80" y="26"/>
                  </a:cubicBezTo>
                  <a:cubicBezTo>
                    <a:pt x="84" y="28"/>
                    <a:pt x="84" y="28"/>
                    <a:pt x="84" y="28"/>
                  </a:cubicBezTo>
                  <a:cubicBezTo>
                    <a:pt x="87" y="29"/>
                    <a:pt x="87" y="29"/>
                    <a:pt x="87" y="29"/>
                  </a:cubicBezTo>
                  <a:cubicBezTo>
                    <a:pt x="89" y="29"/>
                    <a:pt x="89" y="29"/>
                    <a:pt x="89" y="29"/>
                  </a:cubicBezTo>
                  <a:close/>
                  <a:moveTo>
                    <a:pt x="53" y="69"/>
                  </a:moveTo>
                  <a:cubicBezTo>
                    <a:pt x="58" y="69"/>
                    <a:pt x="58" y="69"/>
                    <a:pt x="58" y="69"/>
                  </a:cubicBezTo>
                  <a:cubicBezTo>
                    <a:pt x="60" y="71"/>
                    <a:pt x="60" y="71"/>
                    <a:pt x="60" y="71"/>
                  </a:cubicBezTo>
                  <a:cubicBezTo>
                    <a:pt x="55" y="71"/>
                    <a:pt x="55" y="71"/>
                    <a:pt x="55" y="71"/>
                  </a:cubicBezTo>
                  <a:cubicBezTo>
                    <a:pt x="53" y="69"/>
                    <a:pt x="53" y="69"/>
                    <a:pt x="53" y="69"/>
                  </a:cubicBezTo>
                  <a:close/>
                  <a:moveTo>
                    <a:pt x="49" y="66"/>
                  </a:moveTo>
                  <a:cubicBezTo>
                    <a:pt x="58" y="66"/>
                    <a:pt x="58" y="66"/>
                    <a:pt x="58" y="66"/>
                  </a:cubicBezTo>
                  <a:cubicBezTo>
                    <a:pt x="55" y="68"/>
                    <a:pt x="55" y="68"/>
                    <a:pt x="55" y="68"/>
                  </a:cubicBezTo>
                  <a:cubicBezTo>
                    <a:pt x="49" y="66"/>
                    <a:pt x="49" y="66"/>
                    <a:pt x="49" y="66"/>
                  </a:cubicBezTo>
                  <a:close/>
                  <a:moveTo>
                    <a:pt x="49" y="62"/>
                  </a:moveTo>
                  <a:cubicBezTo>
                    <a:pt x="55" y="62"/>
                    <a:pt x="55" y="62"/>
                    <a:pt x="55" y="62"/>
                  </a:cubicBezTo>
                  <a:cubicBezTo>
                    <a:pt x="56" y="64"/>
                    <a:pt x="56" y="64"/>
                    <a:pt x="56" y="64"/>
                  </a:cubicBezTo>
                  <a:cubicBezTo>
                    <a:pt x="53" y="64"/>
                    <a:pt x="53" y="64"/>
                    <a:pt x="53" y="64"/>
                  </a:cubicBezTo>
                  <a:cubicBezTo>
                    <a:pt x="51" y="64"/>
                    <a:pt x="51" y="64"/>
                    <a:pt x="51" y="64"/>
                  </a:cubicBezTo>
                  <a:cubicBezTo>
                    <a:pt x="49" y="62"/>
                    <a:pt x="49" y="62"/>
                    <a:pt x="49" y="62"/>
                  </a:cubicBezTo>
                  <a:close/>
                  <a:moveTo>
                    <a:pt x="24" y="40"/>
                  </a:moveTo>
                  <a:cubicBezTo>
                    <a:pt x="25" y="40"/>
                    <a:pt x="25" y="40"/>
                    <a:pt x="25" y="40"/>
                  </a:cubicBezTo>
                  <a:cubicBezTo>
                    <a:pt x="29" y="44"/>
                    <a:pt x="29" y="44"/>
                    <a:pt x="29" y="44"/>
                  </a:cubicBezTo>
                  <a:cubicBezTo>
                    <a:pt x="27" y="44"/>
                    <a:pt x="27" y="44"/>
                    <a:pt x="27" y="44"/>
                  </a:cubicBezTo>
                  <a:cubicBezTo>
                    <a:pt x="24" y="40"/>
                    <a:pt x="24" y="40"/>
                    <a:pt x="24" y="40"/>
                  </a:cubicBezTo>
                  <a:close/>
                  <a:moveTo>
                    <a:pt x="22" y="35"/>
                  </a:moveTo>
                  <a:cubicBezTo>
                    <a:pt x="24" y="39"/>
                    <a:pt x="24" y="39"/>
                    <a:pt x="24" y="39"/>
                  </a:cubicBezTo>
                  <a:cubicBezTo>
                    <a:pt x="22" y="39"/>
                    <a:pt x="22" y="39"/>
                    <a:pt x="22" y="39"/>
                  </a:cubicBezTo>
                  <a:cubicBezTo>
                    <a:pt x="22" y="35"/>
                    <a:pt x="22" y="35"/>
                    <a:pt x="22" y="35"/>
                  </a:cubicBezTo>
                  <a:close/>
                  <a:moveTo>
                    <a:pt x="22" y="46"/>
                  </a:moveTo>
                  <a:cubicBezTo>
                    <a:pt x="25" y="49"/>
                    <a:pt x="25" y="49"/>
                    <a:pt x="25" y="49"/>
                  </a:cubicBezTo>
                  <a:cubicBezTo>
                    <a:pt x="27" y="51"/>
                    <a:pt x="27" y="51"/>
                    <a:pt x="27" y="51"/>
                  </a:cubicBezTo>
                  <a:cubicBezTo>
                    <a:pt x="22" y="46"/>
                    <a:pt x="22" y="46"/>
                    <a:pt x="22" y="46"/>
                  </a:cubicBezTo>
                  <a:close/>
                  <a:moveTo>
                    <a:pt x="18" y="40"/>
                  </a:moveTo>
                  <a:cubicBezTo>
                    <a:pt x="20" y="42"/>
                    <a:pt x="20" y="42"/>
                    <a:pt x="20" y="42"/>
                  </a:cubicBezTo>
                  <a:cubicBezTo>
                    <a:pt x="20" y="44"/>
                    <a:pt x="20" y="44"/>
                    <a:pt x="20" y="44"/>
                  </a:cubicBezTo>
                  <a:cubicBezTo>
                    <a:pt x="18" y="40"/>
                    <a:pt x="18" y="40"/>
                    <a:pt x="18" y="40"/>
                  </a:cubicBezTo>
                  <a:close/>
                  <a:moveTo>
                    <a:pt x="11" y="31"/>
                  </a:moveTo>
                  <a:cubicBezTo>
                    <a:pt x="16" y="35"/>
                    <a:pt x="16" y="35"/>
                    <a:pt x="16" y="35"/>
                  </a:cubicBezTo>
                  <a:cubicBezTo>
                    <a:pt x="18" y="39"/>
                    <a:pt x="18" y="39"/>
                    <a:pt x="18" y="39"/>
                  </a:cubicBezTo>
                  <a:cubicBezTo>
                    <a:pt x="16" y="39"/>
                    <a:pt x="16" y="39"/>
                    <a:pt x="16" y="39"/>
                  </a:cubicBezTo>
                  <a:cubicBezTo>
                    <a:pt x="13" y="35"/>
                    <a:pt x="13" y="35"/>
                    <a:pt x="13" y="35"/>
                  </a:cubicBezTo>
                  <a:cubicBezTo>
                    <a:pt x="14" y="35"/>
                    <a:pt x="14" y="35"/>
                    <a:pt x="14" y="35"/>
                  </a:cubicBezTo>
                  <a:cubicBezTo>
                    <a:pt x="11" y="31"/>
                    <a:pt x="11" y="31"/>
                    <a:pt x="11" y="31"/>
                  </a:cubicBezTo>
                  <a:close/>
                  <a:moveTo>
                    <a:pt x="14" y="24"/>
                  </a:moveTo>
                  <a:cubicBezTo>
                    <a:pt x="20" y="31"/>
                    <a:pt x="20" y="31"/>
                    <a:pt x="20" y="31"/>
                  </a:cubicBezTo>
                  <a:cubicBezTo>
                    <a:pt x="16" y="33"/>
                    <a:pt x="16" y="33"/>
                    <a:pt x="16" y="33"/>
                  </a:cubicBezTo>
                  <a:cubicBezTo>
                    <a:pt x="16" y="31"/>
                    <a:pt x="16" y="31"/>
                    <a:pt x="16" y="31"/>
                  </a:cubicBezTo>
                  <a:cubicBezTo>
                    <a:pt x="13" y="29"/>
                    <a:pt x="13" y="29"/>
                    <a:pt x="13" y="29"/>
                  </a:cubicBezTo>
                  <a:cubicBezTo>
                    <a:pt x="13" y="26"/>
                    <a:pt x="13" y="26"/>
                    <a:pt x="13" y="26"/>
                  </a:cubicBezTo>
                  <a:cubicBezTo>
                    <a:pt x="14" y="24"/>
                    <a:pt x="14" y="24"/>
                    <a:pt x="14" y="24"/>
                  </a:cubicBezTo>
                  <a:close/>
                </a:path>
              </a:pathLst>
            </a:custGeom>
            <a:pattFill prst="dkDnDiag">
              <a:fgClr>
                <a:schemeClr val="accent3"/>
              </a:fgClr>
              <a:bgClr>
                <a:schemeClr val="bg1"/>
              </a:bgClr>
            </a:pattFill>
            <a:ln w="6350">
              <a:solidFill>
                <a:schemeClr val="accent2"/>
              </a:solidFill>
              <a:round/>
              <a:headEnd/>
              <a:tailEnd/>
            </a:ln>
          </p:spPr>
          <p:txBody>
            <a:bodyPr/>
            <a:lstStyle/>
            <a:p>
              <a:endParaRPr lang="de-DE" dirty="0"/>
            </a:p>
          </p:txBody>
        </p:sp>
        <p:sp>
          <p:nvSpPr>
            <p:cNvPr id="208" name="Freeform 49"/>
            <p:cNvSpPr>
              <a:spLocks/>
            </p:cNvSpPr>
            <p:nvPr/>
          </p:nvSpPr>
          <p:spPr bwMode="gray">
            <a:xfrm>
              <a:off x="3060" y="2014"/>
              <a:ext cx="201" cy="178"/>
            </a:xfrm>
            <a:custGeom>
              <a:avLst/>
              <a:gdLst>
                <a:gd name="T0" fmla="*/ 102 w 201"/>
                <a:gd name="T1" fmla="*/ 150 h 178"/>
                <a:gd name="T2" fmla="*/ 26 w 201"/>
                <a:gd name="T3" fmla="*/ 70 h 178"/>
                <a:gd name="T4" fmla="*/ 26 w 201"/>
                <a:gd name="T5" fmla="*/ 57 h 178"/>
                <a:gd name="T6" fmla="*/ 16 w 201"/>
                <a:gd name="T7" fmla="*/ 41 h 178"/>
                <a:gd name="T8" fmla="*/ 0 w 201"/>
                <a:gd name="T9" fmla="*/ 29 h 178"/>
                <a:gd name="T10" fmla="*/ 0 w 201"/>
                <a:gd name="T11" fmla="*/ 16 h 178"/>
                <a:gd name="T12" fmla="*/ 6 w 201"/>
                <a:gd name="T13" fmla="*/ 0 h 178"/>
                <a:gd name="T14" fmla="*/ 26 w 201"/>
                <a:gd name="T15" fmla="*/ 16 h 178"/>
                <a:gd name="T16" fmla="*/ 29 w 201"/>
                <a:gd name="T17" fmla="*/ 6 h 178"/>
                <a:gd name="T18" fmla="*/ 45 w 201"/>
                <a:gd name="T19" fmla="*/ 6 h 178"/>
                <a:gd name="T20" fmla="*/ 64 w 201"/>
                <a:gd name="T21" fmla="*/ 6 h 178"/>
                <a:gd name="T22" fmla="*/ 73 w 201"/>
                <a:gd name="T23" fmla="*/ 0 h 178"/>
                <a:gd name="T24" fmla="*/ 86 w 201"/>
                <a:gd name="T25" fmla="*/ 6 h 178"/>
                <a:gd name="T26" fmla="*/ 111 w 201"/>
                <a:gd name="T27" fmla="*/ 6 h 178"/>
                <a:gd name="T28" fmla="*/ 127 w 201"/>
                <a:gd name="T29" fmla="*/ 6 h 178"/>
                <a:gd name="T30" fmla="*/ 143 w 201"/>
                <a:gd name="T31" fmla="*/ 13 h 178"/>
                <a:gd name="T32" fmla="*/ 169 w 201"/>
                <a:gd name="T33" fmla="*/ 22 h 178"/>
                <a:gd name="T34" fmla="*/ 182 w 201"/>
                <a:gd name="T35" fmla="*/ 22 h 178"/>
                <a:gd name="T36" fmla="*/ 185 w 201"/>
                <a:gd name="T37" fmla="*/ 35 h 178"/>
                <a:gd name="T38" fmla="*/ 172 w 201"/>
                <a:gd name="T39" fmla="*/ 64 h 178"/>
                <a:gd name="T40" fmla="*/ 197 w 201"/>
                <a:gd name="T41" fmla="*/ 76 h 178"/>
                <a:gd name="T42" fmla="*/ 197 w 201"/>
                <a:gd name="T43" fmla="*/ 89 h 178"/>
                <a:gd name="T44" fmla="*/ 185 w 201"/>
                <a:gd name="T45" fmla="*/ 89 h 178"/>
                <a:gd name="T46" fmla="*/ 197 w 201"/>
                <a:gd name="T47" fmla="*/ 108 h 178"/>
                <a:gd name="T48" fmla="*/ 185 w 201"/>
                <a:gd name="T49" fmla="*/ 118 h 178"/>
                <a:gd name="T50" fmla="*/ 169 w 201"/>
                <a:gd name="T51" fmla="*/ 108 h 178"/>
                <a:gd name="T52" fmla="*/ 172 w 201"/>
                <a:gd name="T53" fmla="*/ 127 h 178"/>
                <a:gd name="T54" fmla="*/ 172 w 201"/>
                <a:gd name="T55" fmla="*/ 137 h 178"/>
                <a:gd name="T56" fmla="*/ 156 w 201"/>
                <a:gd name="T57" fmla="*/ 150 h 178"/>
                <a:gd name="T58" fmla="*/ 150 w 201"/>
                <a:gd name="T59" fmla="*/ 175 h 178"/>
                <a:gd name="T60" fmla="*/ 134 w 201"/>
                <a:gd name="T61" fmla="*/ 162 h 178"/>
                <a:gd name="T62" fmla="*/ 111 w 201"/>
                <a:gd name="T63" fmla="*/ 162 h 178"/>
                <a:gd name="T64" fmla="*/ 102 w 201"/>
                <a:gd name="T65" fmla="*/ 162 h 178"/>
                <a:gd name="T66" fmla="*/ 102 w 201"/>
                <a:gd name="T67" fmla="*/ 162 h 17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01" h="178">
                  <a:moveTo>
                    <a:pt x="102" y="162"/>
                  </a:moveTo>
                  <a:lnTo>
                    <a:pt x="102" y="150"/>
                  </a:lnTo>
                  <a:lnTo>
                    <a:pt x="70" y="108"/>
                  </a:lnTo>
                  <a:lnTo>
                    <a:pt x="26" y="70"/>
                  </a:lnTo>
                  <a:lnTo>
                    <a:pt x="26" y="64"/>
                  </a:lnTo>
                  <a:lnTo>
                    <a:pt x="26" y="57"/>
                  </a:lnTo>
                  <a:lnTo>
                    <a:pt x="16" y="51"/>
                  </a:lnTo>
                  <a:lnTo>
                    <a:pt x="16" y="41"/>
                  </a:lnTo>
                  <a:lnTo>
                    <a:pt x="6" y="29"/>
                  </a:lnTo>
                  <a:lnTo>
                    <a:pt x="0" y="29"/>
                  </a:lnTo>
                  <a:lnTo>
                    <a:pt x="0" y="22"/>
                  </a:lnTo>
                  <a:lnTo>
                    <a:pt x="0" y="16"/>
                  </a:lnTo>
                  <a:lnTo>
                    <a:pt x="0" y="0"/>
                  </a:lnTo>
                  <a:lnTo>
                    <a:pt x="6" y="0"/>
                  </a:lnTo>
                  <a:lnTo>
                    <a:pt x="16" y="6"/>
                  </a:lnTo>
                  <a:lnTo>
                    <a:pt x="26" y="16"/>
                  </a:lnTo>
                  <a:lnTo>
                    <a:pt x="29" y="13"/>
                  </a:lnTo>
                  <a:lnTo>
                    <a:pt x="29" y="6"/>
                  </a:lnTo>
                  <a:lnTo>
                    <a:pt x="41" y="6"/>
                  </a:lnTo>
                  <a:lnTo>
                    <a:pt x="45" y="6"/>
                  </a:lnTo>
                  <a:lnTo>
                    <a:pt x="54" y="0"/>
                  </a:lnTo>
                  <a:lnTo>
                    <a:pt x="64" y="6"/>
                  </a:lnTo>
                  <a:lnTo>
                    <a:pt x="70" y="0"/>
                  </a:lnTo>
                  <a:lnTo>
                    <a:pt x="73" y="0"/>
                  </a:lnTo>
                  <a:lnTo>
                    <a:pt x="83" y="13"/>
                  </a:lnTo>
                  <a:lnTo>
                    <a:pt x="86" y="6"/>
                  </a:lnTo>
                  <a:lnTo>
                    <a:pt x="99" y="13"/>
                  </a:lnTo>
                  <a:lnTo>
                    <a:pt x="111" y="6"/>
                  </a:lnTo>
                  <a:lnTo>
                    <a:pt x="111" y="13"/>
                  </a:lnTo>
                  <a:lnTo>
                    <a:pt x="127" y="6"/>
                  </a:lnTo>
                  <a:lnTo>
                    <a:pt x="134" y="13"/>
                  </a:lnTo>
                  <a:lnTo>
                    <a:pt x="143" y="13"/>
                  </a:lnTo>
                  <a:lnTo>
                    <a:pt x="156" y="16"/>
                  </a:lnTo>
                  <a:lnTo>
                    <a:pt x="169" y="22"/>
                  </a:lnTo>
                  <a:lnTo>
                    <a:pt x="172" y="29"/>
                  </a:lnTo>
                  <a:lnTo>
                    <a:pt x="182" y="22"/>
                  </a:lnTo>
                  <a:lnTo>
                    <a:pt x="185" y="22"/>
                  </a:lnTo>
                  <a:lnTo>
                    <a:pt x="185" y="35"/>
                  </a:lnTo>
                  <a:lnTo>
                    <a:pt x="172" y="51"/>
                  </a:lnTo>
                  <a:lnTo>
                    <a:pt x="172" y="64"/>
                  </a:lnTo>
                  <a:lnTo>
                    <a:pt x="191" y="76"/>
                  </a:lnTo>
                  <a:lnTo>
                    <a:pt x="197" y="76"/>
                  </a:lnTo>
                  <a:lnTo>
                    <a:pt x="201" y="80"/>
                  </a:lnTo>
                  <a:lnTo>
                    <a:pt x="197" y="89"/>
                  </a:lnTo>
                  <a:lnTo>
                    <a:pt x="191" y="80"/>
                  </a:lnTo>
                  <a:lnTo>
                    <a:pt x="185" y="89"/>
                  </a:lnTo>
                  <a:lnTo>
                    <a:pt x="185" y="99"/>
                  </a:lnTo>
                  <a:lnTo>
                    <a:pt x="197" y="108"/>
                  </a:lnTo>
                  <a:lnTo>
                    <a:pt x="191" y="118"/>
                  </a:lnTo>
                  <a:lnTo>
                    <a:pt x="185" y="118"/>
                  </a:lnTo>
                  <a:lnTo>
                    <a:pt x="172" y="105"/>
                  </a:lnTo>
                  <a:lnTo>
                    <a:pt x="169" y="108"/>
                  </a:lnTo>
                  <a:lnTo>
                    <a:pt x="169" y="121"/>
                  </a:lnTo>
                  <a:lnTo>
                    <a:pt x="172" y="127"/>
                  </a:lnTo>
                  <a:lnTo>
                    <a:pt x="182" y="134"/>
                  </a:lnTo>
                  <a:lnTo>
                    <a:pt x="172" y="137"/>
                  </a:lnTo>
                  <a:lnTo>
                    <a:pt x="162" y="137"/>
                  </a:lnTo>
                  <a:lnTo>
                    <a:pt x="156" y="150"/>
                  </a:lnTo>
                  <a:lnTo>
                    <a:pt x="156" y="162"/>
                  </a:lnTo>
                  <a:lnTo>
                    <a:pt x="150" y="175"/>
                  </a:lnTo>
                  <a:lnTo>
                    <a:pt x="143" y="178"/>
                  </a:lnTo>
                  <a:lnTo>
                    <a:pt x="134" y="162"/>
                  </a:lnTo>
                  <a:lnTo>
                    <a:pt x="127" y="165"/>
                  </a:lnTo>
                  <a:lnTo>
                    <a:pt x="111" y="162"/>
                  </a:lnTo>
                  <a:lnTo>
                    <a:pt x="102" y="162"/>
                  </a:lnTo>
                  <a:close/>
                </a:path>
              </a:pathLst>
            </a:custGeom>
            <a:solidFill>
              <a:schemeClr val="bg1"/>
            </a:solidFill>
            <a:ln w="6350">
              <a:solidFill>
                <a:schemeClr val="accent2"/>
              </a:solidFill>
              <a:round/>
              <a:headEnd/>
              <a:tailEnd/>
            </a:ln>
          </p:spPr>
          <p:txBody>
            <a:bodyPr/>
            <a:lstStyle/>
            <a:p>
              <a:endParaRPr lang="de-DE"/>
            </a:p>
          </p:txBody>
        </p:sp>
        <p:sp>
          <p:nvSpPr>
            <p:cNvPr id="209" name="Freeform 50"/>
            <p:cNvSpPr>
              <a:spLocks/>
            </p:cNvSpPr>
            <p:nvPr/>
          </p:nvSpPr>
          <p:spPr bwMode="gray">
            <a:xfrm>
              <a:off x="3060" y="2014"/>
              <a:ext cx="201" cy="178"/>
            </a:xfrm>
            <a:custGeom>
              <a:avLst/>
              <a:gdLst>
                <a:gd name="T0" fmla="*/ 102 w 201"/>
                <a:gd name="T1" fmla="*/ 150 h 178"/>
                <a:gd name="T2" fmla="*/ 26 w 201"/>
                <a:gd name="T3" fmla="*/ 70 h 178"/>
                <a:gd name="T4" fmla="*/ 26 w 201"/>
                <a:gd name="T5" fmla="*/ 57 h 178"/>
                <a:gd name="T6" fmla="*/ 16 w 201"/>
                <a:gd name="T7" fmla="*/ 41 h 178"/>
                <a:gd name="T8" fmla="*/ 0 w 201"/>
                <a:gd name="T9" fmla="*/ 29 h 178"/>
                <a:gd name="T10" fmla="*/ 0 w 201"/>
                <a:gd name="T11" fmla="*/ 16 h 178"/>
                <a:gd name="T12" fmla="*/ 6 w 201"/>
                <a:gd name="T13" fmla="*/ 0 h 178"/>
                <a:gd name="T14" fmla="*/ 26 w 201"/>
                <a:gd name="T15" fmla="*/ 16 h 178"/>
                <a:gd name="T16" fmla="*/ 29 w 201"/>
                <a:gd name="T17" fmla="*/ 6 h 178"/>
                <a:gd name="T18" fmla="*/ 45 w 201"/>
                <a:gd name="T19" fmla="*/ 6 h 178"/>
                <a:gd name="T20" fmla="*/ 64 w 201"/>
                <a:gd name="T21" fmla="*/ 6 h 178"/>
                <a:gd name="T22" fmla="*/ 73 w 201"/>
                <a:gd name="T23" fmla="*/ 0 h 178"/>
                <a:gd name="T24" fmla="*/ 86 w 201"/>
                <a:gd name="T25" fmla="*/ 6 h 178"/>
                <a:gd name="T26" fmla="*/ 111 w 201"/>
                <a:gd name="T27" fmla="*/ 6 h 178"/>
                <a:gd name="T28" fmla="*/ 127 w 201"/>
                <a:gd name="T29" fmla="*/ 6 h 178"/>
                <a:gd name="T30" fmla="*/ 143 w 201"/>
                <a:gd name="T31" fmla="*/ 13 h 178"/>
                <a:gd name="T32" fmla="*/ 169 w 201"/>
                <a:gd name="T33" fmla="*/ 22 h 178"/>
                <a:gd name="T34" fmla="*/ 182 w 201"/>
                <a:gd name="T35" fmla="*/ 22 h 178"/>
                <a:gd name="T36" fmla="*/ 185 w 201"/>
                <a:gd name="T37" fmla="*/ 35 h 178"/>
                <a:gd name="T38" fmla="*/ 172 w 201"/>
                <a:gd name="T39" fmla="*/ 64 h 178"/>
                <a:gd name="T40" fmla="*/ 197 w 201"/>
                <a:gd name="T41" fmla="*/ 76 h 178"/>
                <a:gd name="T42" fmla="*/ 197 w 201"/>
                <a:gd name="T43" fmla="*/ 89 h 178"/>
                <a:gd name="T44" fmla="*/ 185 w 201"/>
                <a:gd name="T45" fmla="*/ 89 h 178"/>
                <a:gd name="T46" fmla="*/ 197 w 201"/>
                <a:gd name="T47" fmla="*/ 108 h 178"/>
                <a:gd name="T48" fmla="*/ 185 w 201"/>
                <a:gd name="T49" fmla="*/ 118 h 178"/>
                <a:gd name="T50" fmla="*/ 169 w 201"/>
                <a:gd name="T51" fmla="*/ 108 h 178"/>
                <a:gd name="T52" fmla="*/ 172 w 201"/>
                <a:gd name="T53" fmla="*/ 127 h 178"/>
                <a:gd name="T54" fmla="*/ 172 w 201"/>
                <a:gd name="T55" fmla="*/ 137 h 178"/>
                <a:gd name="T56" fmla="*/ 156 w 201"/>
                <a:gd name="T57" fmla="*/ 150 h 178"/>
                <a:gd name="T58" fmla="*/ 150 w 201"/>
                <a:gd name="T59" fmla="*/ 175 h 178"/>
                <a:gd name="T60" fmla="*/ 134 w 201"/>
                <a:gd name="T61" fmla="*/ 162 h 178"/>
                <a:gd name="T62" fmla="*/ 111 w 201"/>
                <a:gd name="T63" fmla="*/ 162 h 178"/>
                <a:gd name="T64" fmla="*/ 102 w 201"/>
                <a:gd name="T65" fmla="*/ 162 h 178"/>
                <a:gd name="T66" fmla="*/ 102 w 201"/>
                <a:gd name="T67" fmla="*/ 162 h 17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01" h="178">
                  <a:moveTo>
                    <a:pt x="102" y="162"/>
                  </a:moveTo>
                  <a:lnTo>
                    <a:pt x="102" y="150"/>
                  </a:lnTo>
                  <a:lnTo>
                    <a:pt x="70" y="108"/>
                  </a:lnTo>
                  <a:lnTo>
                    <a:pt x="26" y="70"/>
                  </a:lnTo>
                  <a:lnTo>
                    <a:pt x="26" y="64"/>
                  </a:lnTo>
                  <a:lnTo>
                    <a:pt x="26" y="57"/>
                  </a:lnTo>
                  <a:lnTo>
                    <a:pt x="16" y="51"/>
                  </a:lnTo>
                  <a:lnTo>
                    <a:pt x="16" y="41"/>
                  </a:lnTo>
                  <a:lnTo>
                    <a:pt x="6" y="29"/>
                  </a:lnTo>
                  <a:lnTo>
                    <a:pt x="0" y="29"/>
                  </a:lnTo>
                  <a:lnTo>
                    <a:pt x="0" y="22"/>
                  </a:lnTo>
                  <a:lnTo>
                    <a:pt x="0" y="16"/>
                  </a:lnTo>
                  <a:lnTo>
                    <a:pt x="0" y="0"/>
                  </a:lnTo>
                  <a:lnTo>
                    <a:pt x="6" y="0"/>
                  </a:lnTo>
                  <a:lnTo>
                    <a:pt x="16" y="6"/>
                  </a:lnTo>
                  <a:lnTo>
                    <a:pt x="26" y="16"/>
                  </a:lnTo>
                  <a:lnTo>
                    <a:pt x="29" y="13"/>
                  </a:lnTo>
                  <a:lnTo>
                    <a:pt x="29" y="6"/>
                  </a:lnTo>
                  <a:lnTo>
                    <a:pt x="41" y="6"/>
                  </a:lnTo>
                  <a:lnTo>
                    <a:pt x="45" y="6"/>
                  </a:lnTo>
                  <a:lnTo>
                    <a:pt x="54" y="0"/>
                  </a:lnTo>
                  <a:lnTo>
                    <a:pt x="64" y="6"/>
                  </a:lnTo>
                  <a:lnTo>
                    <a:pt x="70" y="0"/>
                  </a:lnTo>
                  <a:lnTo>
                    <a:pt x="73" y="0"/>
                  </a:lnTo>
                  <a:lnTo>
                    <a:pt x="83" y="13"/>
                  </a:lnTo>
                  <a:lnTo>
                    <a:pt x="86" y="6"/>
                  </a:lnTo>
                  <a:lnTo>
                    <a:pt x="99" y="13"/>
                  </a:lnTo>
                  <a:lnTo>
                    <a:pt x="111" y="6"/>
                  </a:lnTo>
                  <a:lnTo>
                    <a:pt x="111" y="13"/>
                  </a:lnTo>
                  <a:lnTo>
                    <a:pt x="127" y="6"/>
                  </a:lnTo>
                  <a:lnTo>
                    <a:pt x="134" y="13"/>
                  </a:lnTo>
                  <a:lnTo>
                    <a:pt x="143" y="13"/>
                  </a:lnTo>
                  <a:lnTo>
                    <a:pt x="156" y="16"/>
                  </a:lnTo>
                  <a:lnTo>
                    <a:pt x="169" y="22"/>
                  </a:lnTo>
                  <a:lnTo>
                    <a:pt x="172" y="29"/>
                  </a:lnTo>
                  <a:lnTo>
                    <a:pt x="182" y="22"/>
                  </a:lnTo>
                  <a:lnTo>
                    <a:pt x="185" y="22"/>
                  </a:lnTo>
                  <a:lnTo>
                    <a:pt x="185" y="35"/>
                  </a:lnTo>
                  <a:lnTo>
                    <a:pt x="172" y="51"/>
                  </a:lnTo>
                  <a:lnTo>
                    <a:pt x="172" y="64"/>
                  </a:lnTo>
                  <a:lnTo>
                    <a:pt x="191" y="76"/>
                  </a:lnTo>
                  <a:lnTo>
                    <a:pt x="197" y="76"/>
                  </a:lnTo>
                  <a:lnTo>
                    <a:pt x="201" y="80"/>
                  </a:lnTo>
                  <a:lnTo>
                    <a:pt x="197" y="89"/>
                  </a:lnTo>
                  <a:lnTo>
                    <a:pt x="191" y="80"/>
                  </a:lnTo>
                  <a:lnTo>
                    <a:pt x="185" y="89"/>
                  </a:lnTo>
                  <a:lnTo>
                    <a:pt x="185" y="99"/>
                  </a:lnTo>
                  <a:lnTo>
                    <a:pt x="197" y="108"/>
                  </a:lnTo>
                  <a:lnTo>
                    <a:pt x="191" y="118"/>
                  </a:lnTo>
                  <a:lnTo>
                    <a:pt x="185" y="118"/>
                  </a:lnTo>
                  <a:lnTo>
                    <a:pt x="172" y="105"/>
                  </a:lnTo>
                  <a:lnTo>
                    <a:pt x="169" y="108"/>
                  </a:lnTo>
                  <a:lnTo>
                    <a:pt x="169" y="121"/>
                  </a:lnTo>
                  <a:lnTo>
                    <a:pt x="172" y="127"/>
                  </a:lnTo>
                  <a:lnTo>
                    <a:pt x="182" y="134"/>
                  </a:lnTo>
                  <a:lnTo>
                    <a:pt x="172" y="137"/>
                  </a:lnTo>
                  <a:lnTo>
                    <a:pt x="162" y="137"/>
                  </a:lnTo>
                  <a:lnTo>
                    <a:pt x="156" y="150"/>
                  </a:lnTo>
                  <a:lnTo>
                    <a:pt x="156" y="162"/>
                  </a:lnTo>
                  <a:lnTo>
                    <a:pt x="150" y="175"/>
                  </a:lnTo>
                  <a:lnTo>
                    <a:pt x="143" y="178"/>
                  </a:lnTo>
                  <a:lnTo>
                    <a:pt x="134" y="162"/>
                  </a:lnTo>
                  <a:lnTo>
                    <a:pt x="127" y="165"/>
                  </a:lnTo>
                  <a:lnTo>
                    <a:pt x="111" y="162"/>
                  </a:lnTo>
                  <a:lnTo>
                    <a:pt x="102" y="162"/>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212" name="Freeform 51"/>
            <p:cNvSpPr>
              <a:spLocks/>
            </p:cNvSpPr>
            <p:nvPr/>
          </p:nvSpPr>
          <p:spPr bwMode="gray">
            <a:xfrm>
              <a:off x="2945" y="1909"/>
              <a:ext cx="156" cy="99"/>
            </a:xfrm>
            <a:custGeom>
              <a:avLst/>
              <a:gdLst>
                <a:gd name="T0" fmla="*/ 4 w 156"/>
                <a:gd name="T1" fmla="*/ 99 h 99"/>
                <a:gd name="T2" fmla="*/ 23 w 156"/>
                <a:gd name="T3" fmla="*/ 99 h 99"/>
                <a:gd name="T4" fmla="*/ 35 w 156"/>
                <a:gd name="T5" fmla="*/ 86 h 99"/>
                <a:gd name="T6" fmla="*/ 45 w 156"/>
                <a:gd name="T7" fmla="*/ 86 h 99"/>
                <a:gd name="T8" fmla="*/ 71 w 156"/>
                <a:gd name="T9" fmla="*/ 95 h 99"/>
                <a:gd name="T10" fmla="*/ 83 w 156"/>
                <a:gd name="T11" fmla="*/ 95 h 99"/>
                <a:gd name="T12" fmla="*/ 83 w 156"/>
                <a:gd name="T13" fmla="*/ 76 h 99"/>
                <a:gd name="T14" fmla="*/ 99 w 156"/>
                <a:gd name="T15" fmla="*/ 70 h 99"/>
                <a:gd name="T16" fmla="*/ 102 w 156"/>
                <a:gd name="T17" fmla="*/ 51 h 99"/>
                <a:gd name="T18" fmla="*/ 131 w 156"/>
                <a:gd name="T19" fmla="*/ 35 h 99"/>
                <a:gd name="T20" fmla="*/ 156 w 156"/>
                <a:gd name="T21" fmla="*/ 35 h 99"/>
                <a:gd name="T22" fmla="*/ 156 w 156"/>
                <a:gd name="T23" fmla="*/ 19 h 99"/>
                <a:gd name="T24" fmla="*/ 144 w 156"/>
                <a:gd name="T25" fmla="*/ 0 h 99"/>
                <a:gd name="T26" fmla="*/ 128 w 156"/>
                <a:gd name="T27" fmla="*/ 6 h 99"/>
                <a:gd name="T28" fmla="*/ 102 w 156"/>
                <a:gd name="T29" fmla="*/ 19 h 99"/>
                <a:gd name="T30" fmla="*/ 99 w 156"/>
                <a:gd name="T31" fmla="*/ 19 h 99"/>
                <a:gd name="T32" fmla="*/ 93 w 156"/>
                <a:gd name="T33" fmla="*/ 19 h 99"/>
                <a:gd name="T34" fmla="*/ 83 w 156"/>
                <a:gd name="T35" fmla="*/ 22 h 99"/>
                <a:gd name="T36" fmla="*/ 71 w 156"/>
                <a:gd name="T37" fmla="*/ 22 h 99"/>
                <a:gd name="T38" fmla="*/ 51 w 156"/>
                <a:gd name="T39" fmla="*/ 29 h 99"/>
                <a:gd name="T40" fmla="*/ 45 w 156"/>
                <a:gd name="T41" fmla="*/ 19 h 99"/>
                <a:gd name="T42" fmla="*/ 23 w 156"/>
                <a:gd name="T43" fmla="*/ 19 h 99"/>
                <a:gd name="T44" fmla="*/ 16 w 156"/>
                <a:gd name="T45" fmla="*/ 19 h 99"/>
                <a:gd name="T46" fmla="*/ 0 w 156"/>
                <a:gd name="T47" fmla="*/ 35 h 99"/>
                <a:gd name="T48" fmla="*/ 4 w 156"/>
                <a:gd name="T49" fmla="*/ 48 h 99"/>
                <a:gd name="T50" fmla="*/ 0 w 156"/>
                <a:gd name="T51" fmla="*/ 57 h 99"/>
                <a:gd name="T52" fmla="*/ 0 w 156"/>
                <a:gd name="T53" fmla="*/ 76 h 99"/>
                <a:gd name="T54" fmla="*/ 0 w 156"/>
                <a:gd name="T55" fmla="*/ 76 h 99"/>
                <a:gd name="T56" fmla="*/ 10 w 156"/>
                <a:gd name="T57" fmla="*/ 83 h 99"/>
                <a:gd name="T58" fmla="*/ 10 w 156"/>
                <a:gd name="T59" fmla="*/ 86 h 99"/>
                <a:gd name="T60" fmla="*/ 4 w 156"/>
                <a:gd name="T61" fmla="*/ 95 h 99"/>
                <a:gd name="T62" fmla="*/ 4 w 156"/>
                <a:gd name="T63" fmla="*/ 99 h 99"/>
                <a:gd name="T64" fmla="*/ 4 w 156"/>
                <a:gd name="T65" fmla="*/ 99 h 99"/>
                <a:gd name="T66" fmla="*/ 4 w 156"/>
                <a:gd name="T67" fmla="*/ 99 h 9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6" h="99">
                  <a:moveTo>
                    <a:pt x="4" y="99"/>
                  </a:moveTo>
                  <a:lnTo>
                    <a:pt x="23" y="99"/>
                  </a:lnTo>
                  <a:lnTo>
                    <a:pt x="35" y="86"/>
                  </a:lnTo>
                  <a:lnTo>
                    <a:pt x="45" y="86"/>
                  </a:lnTo>
                  <a:lnTo>
                    <a:pt x="71" y="95"/>
                  </a:lnTo>
                  <a:lnTo>
                    <a:pt x="83" y="95"/>
                  </a:lnTo>
                  <a:lnTo>
                    <a:pt x="83" y="76"/>
                  </a:lnTo>
                  <a:lnTo>
                    <a:pt x="99" y="70"/>
                  </a:lnTo>
                  <a:lnTo>
                    <a:pt x="102" y="51"/>
                  </a:lnTo>
                  <a:lnTo>
                    <a:pt x="131" y="35"/>
                  </a:lnTo>
                  <a:lnTo>
                    <a:pt x="156" y="35"/>
                  </a:lnTo>
                  <a:lnTo>
                    <a:pt x="156" y="19"/>
                  </a:lnTo>
                  <a:lnTo>
                    <a:pt x="144" y="0"/>
                  </a:lnTo>
                  <a:lnTo>
                    <a:pt x="128" y="6"/>
                  </a:lnTo>
                  <a:lnTo>
                    <a:pt x="102" y="19"/>
                  </a:lnTo>
                  <a:lnTo>
                    <a:pt x="99" y="19"/>
                  </a:lnTo>
                  <a:lnTo>
                    <a:pt x="93" y="19"/>
                  </a:lnTo>
                  <a:lnTo>
                    <a:pt x="83" y="22"/>
                  </a:lnTo>
                  <a:lnTo>
                    <a:pt x="71" y="22"/>
                  </a:lnTo>
                  <a:lnTo>
                    <a:pt x="51" y="29"/>
                  </a:lnTo>
                  <a:lnTo>
                    <a:pt x="45" y="19"/>
                  </a:lnTo>
                  <a:lnTo>
                    <a:pt x="23" y="19"/>
                  </a:lnTo>
                  <a:lnTo>
                    <a:pt x="16" y="19"/>
                  </a:lnTo>
                  <a:lnTo>
                    <a:pt x="0" y="35"/>
                  </a:lnTo>
                  <a:lnTo>
                    <a:pt x="4" y="48"/>
                  </a:lnTo>
                  <a:lnTo>
                    <a:pt x="0" y="57"/>
                  </a:lnTo>
                  <a:lnTo>
                    <a:pt x="0" y="76"/>
                  </a:lnTo>
                  <a:lnTo>
                    <a:pt x="10" y="83"/>
                  </a:lnTo>
                  <a:lnTo>
                    <a:pt x="10" y="86"/>
                  </a:lnTo>
                  <a:lnTo>
                    <a:pt x="4" y="95"/>
                  </a:lnTo>
                  <a:lnTo>
                    <a:pt x="4" y="99"/>
                  </a:lnTo>
                  <a:close/>
                </a:path>
              </a:pathLst>
            </a:custGeom>
            <a:solidFill>
              <a:schemeClr val="bg1"/>
            </a:solidFill>
            <a:ln w="6350">
              <a:solidFill>
                <a:schemeClr val="accent2"/>
              </a:solidFill>
              <a:round/>
              <a:headEnd/>
              <a:tailEnd/>
            </a:ln>
          </p:spPr>
          <p:txBody>
            <a:bodyPr/>
            <a:lstStyle/>
            <a:p>
              <a:endParaRPr lang="de-DE"/>
            </a:p>
          </p:txBody>
        </p:sp>
        <p:sp>
          <p:nvSpPr>
            <p:cNvPr id="213" name="Freeform 52"/>
            <p:cNvSpPr>
              <a:spLocks/>
            </p:cNvSpPr>
            <p:nvPr/>
          </p:nvSpPr>
          <p:spPr bwMode="gray">
            <a:xfrm>
              <a:off x="2945" y="1909"/>
              <a:ext cx="156" cy="99"/>
            </a:xfrm>
            <a:custGeom>
              <a:avLst/>
              <a:gdLst>
                <a:gd name="T0" fmla="*/ 4 w 156"/>
                <a:gd name="T1" fmla="*/ 99 h 99"/>
                <a:gd name="T2" fmla="*/ 23 w 156"/>
                <a:gd name="T3" fmla="*/ 99 h 99"/>
                <a:gd name="T4" fmla="*/ 35 w 156"/>
                <a:gd name="T5" fmla="*/ 86 h 99"/>
                <a:gd name="T6" fmla="*/ 45 w 156"/>
                <a:gd name="T7" fmla="*/ 86 h 99"/>
                <a:gd name="T8" fmla="*/ 71 w 156"/>
                <a:gd name="T9" fmla="*/ 95 h 99"/>
                <a:gd name="T10" fmla="*/ 83 w 156"/>
                <a:gd name="T11" fmla="*/ 95 h 99"/>
                <a:gd name="T12" fmla="*/ 83 w 156"/>
                <a:gd name="T13" fmla="*/ 76 h 99"/>
                <a:gd name="T14" fmla="*/ 99 w 156"/>
                <a:gd name="T15" fmla="*/ 70 h 99"/>
                <a:gd name="T16" fmla="*/ 102 w 156"/>
                <a:gd name="T17" fmla="*/ 51 h 99"/>
                <a:gd name="T18" fmla="*/ 131 w 156"/>
                <a:gd name="T19" fmla="*/ 35 h 99"/>
                <a:gd name="T20" fmla="*/ 156 w 156"/>
                <a:gd name="T21" fmla="*/ 35 h 99"/>
                <a:gd name="T22" fmla="*/ 156 w 156"/>
                <a:gd name="T23" fmla="*/ 19 h 99"/>
                <a:gd name="T24" fmla="*/ 144 w 156"/>
                <a:gd name="T25" fmla="*/ 0 h 99"/>
                <a:gd name="T26" fmla="*/ 128 w 156"/>
                <a:gd name="T27" fmla="*/ 6 h 99"/>
                <a:gd name="T28" fmla="*/ 102 w 156"/>
                <a:gd name="T29" fmla="*/ 19 h 99"/>
                <a:gd name="T30" fmla="*/ 99 w 156"/>
                <a:gd name="T31" fmla="*/ 19 h 99"/>
                <a:gd name="T32" fmla="*/ 93 w 156"/>
                <a:gd name="T33" fmla="*/ 19 h 99"/>
                <a:gd name="T34" fmla="*/ 83 w 156"/>
                <a:gd name="T35" fmla="*/ 22 h 99"/>
                <a:gd name="T36" fmla="*/ 71 w 156"/>
                <a:gd name="T37" fmla="*/ 22 h 99"/>
                <a:gd name="T38" fmla="*/ 51 w 156"/>
                <a:gd name="T39" fmla="*/ 29 h 99"/>
                <a:gd name="T40" fmla="*/ 45 w 156"/>
                <a:gd name="T41" fmla="*/ 19 h 99"/>
                <a:gd name="T42" fmla="*/ 23 w 156"/>
                <a:gd name="T43" fmla="*/ 19 h 99"/>
                <a:gd name="T44" fmla="*/ 16 w 156"/>
                <a:gd name="T45" fmla="*/ 19 h 99"/>
                <a:gd name="T46" fmla="*/ 0 w 156"/>
                <a:gd name="T47" fmla="*/ 35 h 99"/>
                <a:gd name="T48" fmla="*/ 4 w 156"/>
                <a:gd name="T49" fmla="*/ 48 h 99"/>
                <a:gd name="T50" fmla="*/ 0 w 156"/>
                <a:gd name="T51" fmla="*/ 57 h 99"/>
                <a:gd name="T52" fmla="*/ 0 w 156"/>
                <a:gd name="T53" fmla="*/ 76 h 99"/>
                <a:gd name="T54" fmla="*/ 0 w 156"/>
                <a:gd name="T55" fmla="*/ 76 h 99"/>
                <a:gd name="T56" fmla="*/ 10 w 156"/>
                <a:gd name="T57" fmla="*/ 83 h 99"/>
                <a:gd name="T58" fmla="*/ 10 w 156"/>
                <a:gd name="T59" fmla="*/ 86 h 99"/>
                <a:gd name="T60" fmla="*/ 4 w 156"/>
                <a:gd name="T61" fmla="*/ 95 h 99"/>
                <a:gd name="T62" fmla="*/ 4 w 156"/>
                <a:gd name="T63" fmla="*/ 99 h 99"/>
                <a:gd name="T64" fmla="*/ 4 w 156"/>
                <a:gd name="T65" fmla="*/ 99 h 99"/>
                <a:gd name="T66" fmla="*/ 4 w 156"/>
                <a:gd name="T67" fmla="*/ 99 h 9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6" h="99">
                  <a:moveTo>
                    <a:pt x="4" y="99"/>
                  </a:moveTo>
                  <a:lnTo>
                    <a:pt x="23" y="99"/>
                  </a:lnTo>
                  <a:lnTo>
                    <a:pt x="35" y="86"/>
                  </a:lnTo>
                  <a:lnTo>
                    <a:pt x="45" y="86"/>
                  </a:lnTo>
                  <a:lnTo>
                    <a:pt x="71" y="95"/>
                  </a:lnTo>
                  <a:lnTo>
                    <a:pt x="83" y="95"/>
                  </a:lnTo>
                  <a:lnTo>
                    <a:pt x="83" y="76"/>
                  </a:lnTo>
                  <a:lnTo>
                    <a:pt x="99" y="70"/>
                  </a:lnTo>
                  <a:lnTo>
                    <a:pt x="102" y="51"/>
                  </a:lnTo>
                  <a:lnTo>
                    <a:pt x="131" y="35"/>
                  </a:lnTo>
                  <a:lnTo>
                    <a:pt x="156" y="35"/>
                  </a:lnTo>
                  <a:lnTo>
                    <a:pt x="156" y="19"/>
                  </a:lnTo>
                  <a:lnTo>
                    <a:pt x="144" y="0"/>
                  </a:lnTo>
                  <a:lnTo>
                    <a:pt x="128" y="6"/>
                  </a:lnTo>
                  <a:lnTo>
                    <a:pt x="102" y="19"/>
                  </a:lnTo>
                  <a:lnTo>
                    <a:pt x="99" y="19"/>
                  </a:lnTo>
                  <a:lnTo>
                    <a:pt x="93" y="19"/>
                  </a:lnTo>
                  <a:lnTo>
                    <a:pt x="83" y="22"/>
                  </a:lnTo>
                  <a:lnTo>
                    <a:pt x="71" y="22"/>
                  </a:lnTo>
                  <a:lnTo>
                    <a:pt x="51" y="29"/>
                  </a:lnTo>
                  <a:lnTo>
                    <a:pt x="45" y="19"/>
                  </a:lnTo>
                  <a:lnTo>
                    <a:pt x="23" y="19"/>
                  </a:lnTo>
                  <a:lnTo>
                    <a:pt x="16" y="19"/>
                  </a:lnTo>
                  <a:lnTo>
                    <a:pt x="0" y="35"/>
                  </a:lnTo>
                  <a:lnTo>
                    <a:pt x="4" y="48"/>
                  </a:lnTo>
                  <a:lnTo>
                    <a:pt x="0" y="57"/>
                  </a:lnTo>
                  <a:lnTo>
                    <a:pt x="0" y="76"/>
                  </a:lnTo>
                  <a:lnTo>
                    <a:pt x="10" y="83"/>
                  </a:lnTo>
                  <a:lnTo>
                    <a:pt x="10" y="86"/>
                  </a:lnTo>
                  <a:lnTo>
                    <a:pt x="4" y="95"/>
                  </a:lnTo>
                  <a:lnTo>
                    <a:pt x="4" y="99"/>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214" name="Freeform 53"/>
            <p:cNvSpPr>
              <a:spLocks/>
            </p:cNvSpPr>
            <p:nvPr/>
          </p:nvSpPr>
          <p:spPr bwMode="gray">
            <a:xfrm>
              <a:off x="2732" y="1753"/>
              <a:ext cx="385" cy="185"/>
            </a:xfrm>
            <a:custGeom>
              <a:avLst/>
              <a:gdLst>
                <a:gd name="T0" fmla="*/ 236 w 385"/>
                <a:gd name="T1" fmla="*/ 175 h 185"/>
                <a:gd name="T2" fmla="*/ 264 w 385"/>
                <a:gd name="T3" fmla="*/ 185 h 185"/>
                <a:gd name="T4" fmla="*/ 293 w 385"/>
                <a:gd name="T5" fmla="*/ 181 h 185"/>
                <a:gd name="T6" fmla="*/ 312 w 385"/>
                <a:gd name="T7" fmla="*/ 175 h 185"/>
                <a:gd name="T8" fmla="*/ 341 w 385"/>
                <a:gd name="T9" fmla="*/ 162 h 185"/>
                <a:gd name="T10" fmla="*/ 369 w 385"/>
                <a:gd name="T11" fmla="*/ 146 h 185"/>
                <a:gd name="T12" fmla="*/ 363 w 385"/>
                <a:gd name="T13" fmla="*/ 124 h 185"/>
                <a:gd name="T14" fmla="*/ 357 w 385"/>
                <a:gd name="T15" fmla="*/ 99 h 185"/>
                <a:gd name="T16" fmla="*/ 382 w 385"/>
                <a:gd name="T17" fmla="*/ 92 h 185"/>
                <a:gd name="T18" fmla="*/ 382 w 385"/>
                <a:gd name="T19" fmla="*/ 76 h 185"/>
                <a:gd name="T20" fmla="*/ 382 w 385"/>
                <a:gd name="T21" fmla="*/ 25 h 185"/>
                <a:gd name="T22" fmla="*/ 354 w 385"/>
                <a:gd name="T23" fmla="*/ 13 h 185"/>
                <a:gd name="T24" fmla="*/ 315 w 385"/>
                <a:gd name="T25" fmla="*/ 19 h 185"/>
                <a:gd name="T26" fmla="*/ 287 w 385"/>
                <a:gd name="T27" fmla="*/ 6 h 185"/>
                <a:gd name="T28" fmla="*/ 271 w 385"/>
                <a:gd name="T29" fmla="*/ 13 h 185"/>
                <a:gd name="T30" fmla="*/ 264 w 385"/>
                <a:gd name="T31" fmla="*/ 25 h 185"/>
                <a:gd name="T32" fmla="*/ 239 w 385"/>
                <a:gd name="T33" fmla="*/ 29 h 185"/>
                <a:gd name="T34" fmla="*/ 207 w 385"/>
                <a:gd name="T35" fmla="*/ 19 h 185"/>
                <a:gd name="T36" fmla="*/ 207 w 385"/>
                <a:gd name="T37" fmla="*/ 35 h 185"/>
                <a:gd name="T38" fmla="*/ 194 w 385"/>
                <a:gd name="T39" fmla="*/ 48 h 185"/>
                <a:gd name="T40" fmla="*/ 166 w 385"/>
                <a:gd name="T41" fmla="*/ 70 h 185"/>
                <a:gd name="T42" fmla="*/ 178 w 385"/>
                <a:gd name="T43" fmla="*/ 89 h 185"/>
                <a:gd name="T44" fmla="*/ 169 w 385"/>
                <a:gd name="T45" fmla="*/ 99 h 185"/>
                <a:gd name="T46" fmla="*/ 150 w 385"/>
                <a:gd name="T47" fmla="*/ 92 h 185"/>
                <a:gd name="T48" fmla="*/ 128 w 385"/>
                <a:gd name="T49" fmla="*/ 92 h 185"/>
                <a:gd name="T50" fmla="*/ 99 w 385"/>
                <a:gd name="T51" fmla="*/ 105 h 185"/>
                <a:gd name="T52" fmla="*/ 83 w 385"/>
                <a:gd name="T53" fmla="*/ 105 h 185"/>
                <a:gd name="T54" fmla="*/ 64 w 385"/>
                <a:gd name="T55" fmla="*/ 99 h 185"/>
                <a:gd name="T56" fmla="*/ 42 w 385"/>
                <a:gd name="T57" fmla="*/ 111 h 185"/>
                <a:gd name="T58" fmla="*/ 29 w 385"/>
                <a:gd name="T59" fmla="*/ 111 h 185"/>
                <a:gd name="T60" fmla="*/ 13 w 385"/>
                <a:gd name="T61" fmla="*/ 105 h 185"/>
                <a:gd name="T62" fmla="*/ 0 w 385"/>
                <a:gd name="T63" fmla="*/ 111 h 185"/>
                <a:gd name="T64" fmla="*/ 10 w 385"/>
                <a:gd name="T65" fmla="*/ 124 h 185"/>
                <a:gd name="T66" fmla="*/ 13 w 385"/>
                <a:gd name="T67" fmla="*/ 134 h 185"/>
                <a:gd name="T68" fmla="*/ 29 w 385"/>
                <a:gd name="T69" fmla="*/ 134 h 185"/>
                <a:gd name="T70" fmla="*/ 51 w 385"/>
                <a:gd name="T71" fmla="*/ 134 h 185"/>
                <a:gd name="T72" fmla="*/ 67 w 385"/>
                <a:gd name="T73" fmla="*/ 146 h 185"/>
                <a:gd name="T74" fmla="*/ 83 w 385"/>
                <a:gd name="T75" fmla="*/ 153 h 185"/>
                <a:gd name="T76" fmla="*/ 124 w 385"/>
                <a:gd name="T77" fmla="*/ 140 h 185"/>
                <a:gd name="T78" fmla="*/ 140 w 385"/>
                <a:gd name="T79" fmla="*/ 146 h 185"/>
                <a:gd name="T80" fmla="*/ 201 w 385"/>
                <a:gd name="T81" fmla="*/ 169 h 185"/>
                <a:gd name="T82" fmla="*/ 229 w 385"/>
                <a:gd name="T83" fmla="*/ 175 h 185"/>
                <a:gd name="T84" fmla="*/ 229 w 385"/>
                <a:gd name="T85" fmla="*/ 175 h 18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85" h="185">
                  <a:moveTo>
                    <a:pt x="229" y="175"/>
                  </a:moveTo>
                  <a:lnTo>
                    <a:pt x="236" y="175"/>
                  </a:lnTo>
                  <a:lnTo>
                    <a:pt x="258" y="175"/>
                  </a:lnTo>
                  <a:lnTo>
                    <a:pt x="264" y="185"/>
                  </a:lnTo>
                  <a:lnTo>
                    <a:pt x="280" y="181"/>
                  </a:lnTo>
                  <a:lnTo>
                    <a:pt x="293" y="181"/>
                  </a:lnTo>
                  <a:lnTo>
                    <a:pt x="306" y="175"/>
                  </a:lnTo>
                  <a:lnTo>
                    <a:pt x="312" y="175"/>
                  </a:lnTo>
                  <a:lnTo>
                    <a:pt x="315" y="175"/>
                  </a:lnTo>
                  <a:lnTo>
                    <a:pt x="341" y="162"/>
                  </a:lnTo>
                  <a:lnTo>
                    <a:pt x="357" y="156"/>
                  </a:lnTo>
                  <a:lnTo>
                    <a:pt x="369" y="146"/>
                  </a:lnTo>
                  <a:lnTo>
                    <a:pt x="363" y="134"/>
                  </a:lnTo>
                  <a:lnTo>
                    <a:pt x="363" y="124"/>
                  </a:lnTo>
                  <a:lnTo>
                    <a:pt x="369" y="111"/>
                  </a:lnTo>
                  <a:lnTo>
                    <a:pt x="357" y="99"/>
                  </a:lnTo>
                  <a:lnTo>
                    <a:pt x="357" y="92"/>
                  </a:lnTo>
                  <a:lnTo>
                    <a:pt x="382" y="92"/>
                  </a:lnTo>
                  <a:lnTo>
                    <a:pt x="385" y="89"/>
                  </a:lnTo>
                  <a:lnTo>
                    <a:pt x="382" y="76"/>
                  </a:lnTo>
                  <a:lnTo>
                    <a:pt x="382" y="41"/>
                  </a:lnTo>
                  <a:lnTo>
                    <a:pt x="382" y="25"/>
                  </a:lnTo>
                  <a:lnTo>
                    <a:pt x="357" y="19"/>
                  </a:lnTo>
                  <a:lnTo>
                    <a:pt x="354" y="13"/>
                  </a:lnTo>
                  <a:lnTo>
                    <a:pt x="334" y="19"/>
                  </a:lnTo>
                  <a:lnTo>
                    <a:pt x="315" y="19"/>
                  </a:lnTo>
                  <a:lnTo>
                    <a:pt x="306" y="6"/>
                  </a:lnTo>
                  <a:lnTo>
                    <a:pt x="287" y="6"/>
                  </a:lnTo>
                  <a:lnTo>
                    <a:pt x="277" y="0"/>
                  </a:lnTo>
                  <a:lnTo>
                    <a:pt x="271" y="13"/>
                  </a:lnTo>
                  <a:lnTo>
                    <a:pt x="264" y="19"/>
                  </a:lnTo>
                  <a:lnTo>
                    <a:pt x="264" y="25"/>
                  </a:lnTo>
                  <a:lnTo>
                    <a:pt x="248" y="25"/>
                  </a:lnTo>
                  <a:lnTo>
                    <a:pt x="239" y="29"/>
                  </a:lnTo>
                  <a:lnTo>
                    <a:pt x="217" y="19"/>
                  </a:lnTo>
                  <a:lnTo>
                    <a:pt x="207" y="19"/>
                  </a:lnTo>
                  <a:lnTo>
                    <a:pt x="207" y="25"/>
                  </a:lnTo>
                  <a:lnTo>
                    <a:pt x="207" y="35"/>
                  </a:lnTo>
                  <a:lnTo>
                    <a:pt x="201" y="35"/>
                  </a:lnTo>
                  <a:lnTo>
                    <a:pt x="194" y="48"/>
                  </a:lnTo>
                  <a:lnTo>
                    <a:pt x="178" y="54"/>
                  </a:lnTo>
                  <a:lnTo>
                    <a:pt x="166" y="70"/>
                  </a:lnTo>
                  <a:lnTo>
                    <a:pt x="166" y="76"/>
                  </a:lnTo>
                  <a:lnTo>
                    <a:pt x="178" y="89"/>
                  </a:lnTo>
                  <a:lnTo>
                    <a:pt x="178" y="92"/>
                  </a:lnTo>
                  <a:lnTo>
                    <a:pt x="169" y="99"/>
                  </a:lnTo>
                  <a:lnTo>
                    <a:pt x="159" y="92"/>
                  </a:lnTo>
                  <a:lnTo>
                    <a:pt x="150" y="92"/>
                  </a:lnTo>
                  <a:lnTo>
                    <a:pt x="137" y="92"/>
                  </a:lnTo>
                  <a:lnTo>
                    <a:pt x="128" y="92"/>
                  </a:lnTo>
                  <a:lnTo>
                    <a:pt x="112" y="105"/>
                  </a:lnTo>
                  <a:lnTo>
                    <a:pt x="99" y="105"/>
                  </a:lnTo>
                  <a:lnTo>
                    <a:pt x="92" y="105"/>
                  </a:lnTo>
                  <a:lnTo>
                    <a:pt x="83" y="105"/>
                  </a:lnTo>
                  <a:lnTo>
                    <a:pt x="70" y="99"/>
                  </a:lnTo>
                  <a:lnTo>
                    <a:pt x="64" y="99"/>
                  </a:lnTo>
                  <a:lnTo>
                    <a:pt x="42" y="99"/>
                  </a:lnTo>
                  <a:lnTo>
                    <a:pt x="42" y="111"/>
                  </a:lnTo>
                  <a:lnTo>
                    <a:pt x="29" y="111"/>
                  </a:lnTo>
                  <a:lnTo>
                    <a:pt x="22" y="99"/>
                  </a:lnTo>
                  <a:lnTo>
                    <a:pt x="13" y="105"/>
                  </a:lnTo>
                  <a:lnTo>
                    <a:pt x="0" y="111"/>
                  </a:lnTo>
                  <a:lnTo>
                    <a:pt x="10" y="111"/>
                  </a:lnTo>
                  <a:lnTo>
                    <a:pt x="10" y="124"/>
                  </a:lnTo>
                  <a:lnTo>
                    <a:pt x="13" y="127"/>
                  </a:lnTo>
                  <a:lnTo>
                    <a:pt x="13" y="134"/>
                  </a:lnTo>
                  <a:lnTo>
                    <a:pt x="22" y="134"/>
                  </a:lnTo>
                  <a:lnTo>
                    <a:pt x="29" y="134"/>
                  </a:lnTo>
                  <a:lnTo>
                    <a:pt x="42" y="146"/>
                  </a:lnTo>
                  <a:lnTo>
                    <a:pt x="51" y="134"/>
                  </a:lnTo>
                  <a:lnTo>
                    <a:pt x="64" y="134"/>
                  </a:lnTo>
                  <a:lnTo>
                    <a:pt x="67" y="146"/>
                  </a:lnTo>
                  <a:lnTo>
                    <a:pt x="83" y="153"/>
                  </a:lnTo>
                  <a:lnTo>
                    <a:pt x="112" y="134"/>
                  </a:lnTo>
                  <a:lnTo>
                    <a:pt x="124" y="140"/>
                  </a:lnTo>
                  <a:lnTo>
                    <a:pt x="140" y="140"/>
                  </a:lnTo>
                  <a:lnTo>
                    <a:pt x="140" y="146"/>
                  </a:lnTo>
                  <a:lnTo>
                    <a:pt x="166" y="162"/>
                  </a:lnTo>
                  <a:lnTo>
                    <a:pt x="201" y="169"/>
                  </a:lnTo>
                  <a:lnTo>
                    <a:pt x="217" y="169"/>
                  </a:lnTo>
                  <a:lnTo>
                    <a:pt x="229" y="175"/>
                  </a:lnTo>
                  <a:close/>
                </a:path>
              </a:pathLst>
            </a:custGeom>
            <a:solidFill>
              <a:schemeClr val="bg1"/>
            </a:solidFill>
            <a:ln w="6350">
              <a:solidFill>
                <a:schemeClr val="accent2"/>
              </a:solidFill>
              <a:round/>
              <a:headEnd/>
              <a:tailEnd/>
            </a:ln>
          </p:spPr>
          <p:txBody>
            <a:bodyPr/>
            <a:lstStyle/>
            <a:p>
              <a:endParaRPr lang="de-DE"/>
            </a:p>
          </p:txBody>
        </p:sp>
        <p:sp>
          <p:nvSpPr>
            <p:cNvPr id="215" name="Freeform 54"/>
            <p:cNvSpPr>
              <a:spLocks/>
            </p:cNvSpPr>
            <p:nvPr/>
          </p:nvSpPr>
          <p:spPr bwMode="gray">
            <a:xfrm>
              <a:off x="2732" y="1753"/>
              <a:ext cx="385" cy="185"/>
            </a:xfrm>
            <a:custGeom>
              <a:avLst/>
              <a:gdLst>
                <a:gd name="T0" fmla="*/ 236 w 385"/>
                <a:gd name="T1" fmla="*/ 175 h 185"/>
                <a:gd name="T2" fmla="*/ 264 w 385"/>
                <a:gd name="T3" fmla="*/ 185 h 185"/>
                <a:gd name="T4" fmla="*/ 293 w 385"/>
                <a:gd name="T5" fmla="*/ 181 h 185"/>
                <a:gd name="T6" fmla="*/ 312 w 385"/>
                <a:gd name="T7" fmla="*/ 175 h 185"/>
                <a:gd name="T8" fmla="*/ 341 w 385"/>
                <a:gd name="T9" fmla="*/ 162 h 185"/>
                <a:gd name="T10" fmla="*/ 369 w 385"/>
                <a:gd name="T11" fmla="*/ 146 h 185"/>
                <a:gd name="T12" fmla="*/ 363 w 385"/>
                <a:gd name="T13" fmla="*/ 124 h 185"/>
                <a:gd name="T14" fmla="*/ 357 w 385"/>
                <a:gd name="T15" fmla="*/ 99 h 185"/>
                <a:gd name="T16" fmla="*/ 382 w 385"/>
                <a:gd name="T17" fmla="*/ 92 h 185"/>
                <a:gd name="T18" fmla="*/ 382 w 385"/>
                <a:gd name="T19" fmla="*/ 76 h 185"/>
                <a:gd name="T20" fmla="*/ 382 w 385"/>
                <a:gd name="T21" fmla="*/ 25 h 185"/>
                <a:gd name="T22" fmla="*/ 354 w 385"/>
                <a:gd name="T23" fmla="*/ 13 h 185"/>
                <a:gd name="T24" fmla="*/ 315 w 385"/>
                <a:gd name="T25" fmla="*/ 19 h 185"/>
                <a:gd name="T26" fmla="*/ 287 w 385"/>
                <a:gd name="T27" fmla="*/ 6 h 185"/>
                <a:gd name="T28" fmla="*/ 271 w 385"/>
                <a:gd name="T29" fmla="*/ 13 h 185"/>
                <a:gd name="T30" fmla="*/ 264 w 385"/>
                <a:gd name="T31" fmla="*/ 25 h 185"/>
                <a:gd name="T32" fmla="*/ 239 w 385"/>
                <a:gd name="T33" fmla="*/ 29 h 185"/>
                <a:gd name="T34" fmla="*/ 207 w 385"/>
                <a:gd name="T35" fmla="*/ 19 h 185"/>
                <a:gd name="T36" fmla="*/ 207 w 385"/>
                <a:gd name="T37" fmla="*/ 35 h 185"/>
                <a:gd name="T38" fmla="*/ 194 w 385"/>
                <a:gd name="T39" fmla="*/ 48 h 185"/>
                <a:gd name="T40" fmla="*/ 166 w 385"/>
                <a:gd name="T41" fmla="*/ 70 h 185"/>
                <a:gd name="T42" fmla="*/ 178 w 385"/>
                <a:gd name="T43" fmla="*/ 89 h 185"/>
                <a:gd name="T44" fmla="*/ 169 w 385"/>
                <a:gd name="T45" fmla="*/ 99 h 185"/>
                <a:gd name="T46" fmla="*/ 150 w 385"/>
                <a:gd name="T47" fmla="*/ 92 h 185"/>
                <a:gd name="T48" fmla="*/ 128 w 385"/>
                <a:gd name="T49" fmla="*/ 92 h 185"/>
                <a:gd name="T50" fmla="*/ 99 w 385"/>
                <a:gd name="T51" fmla="*/ 105 h 185"/>
                <a:gd name="T52" fmla="*/ 83 w 385"/>
                <a:gd name="T53" fmla="*/ 105 h 185"/>
                <a:gd name="T54" fmla="*/ 64 w 385"/>
                <a:gd name="T55" fmla="*/ 99 h 185"/>
                <a:gd name="T56" fmla="*/ 42 w 385"/>
                <a:gd name="T57" fmla="*/ 111 h 185"/>
                <a:gd name="T58" fmla="*/ 29 w 385"/>
                <a:gd name="T59" fmla="*/ 111 h 185"/>
                <a:gd name="T60" fmla="*/ 13 w 385"/>
                <a:gd name="T61" fmla="*/ 105 h 185"/>
                <a:gd name="T62" fmla="*/ 0 w 385"/>
                <a:gd name="T63" fmla="*/ 111 h 185"/>
                <a:gd name="T64" fmla="*/ 10 w 385"/>
                <a:gd name="T65" fmla="*/ 124 h 185"/>
                <a:gd name="T66" fmla="*/ 13 w 385"/>
                <a:gd name="T67" fmla="*/ 134 h 185"/>
                <a:gd name="T68" fmla="*/ 29 w 385"/>
                <a:gd name="T69" fmla="*/ 134 h 185"/>
                <a:gd name="T70" fmla="*/ 51 w 385"/>
                <a:gd name="T71" fmla="*/ 134 h 185"/>
                <a:gd name="T72" fmla="*/ 67 w 385"/>
                <a:gd name="T73" fmla="*/ 146 h 185"/>
                <a:gd name="T74" fmla="*/ 83 w 385"/>
                <a:gd name="T75" fmla="*/ 153 h 185"/>
                <a:gd name="T76" fmla="*/ 124 w 385"/>
                <a:gd name="T77" fmla="*/ 140 h 185"/>
                <a:gd name="T78" fmla="*/ 140 w 385"/>
                <a:gd name="T79" fmla="*/ 146 h 185"/>
                <a:gd name="T80" fmla="*/ 201 w 385"/>
                <a:gd name="T81" fmla="*/ 169 h 185"/>
                <a:gd name="T82" fmla="*/ 229 w 385"/>
                <a:gd name="T83" fmla="*/ 175 h 185"/>
                <a:gd name="T84" fmla="*/ 229 w 385"/>
                <a:gd name="T85" fmla="*/ 175 h 18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85" h="185">
                  <a:moveTo>
                    <a:pt x="229" y="175"/>
                  </a:moveTo>
                  <a:lnTo>
                    <a:pt x="236" y="175"/>
                  </a:lnTo>
                  <a:lnTo>
                    <a:pt x="258" y="175"/>
                  </a:lnTo>
                  <a:lnTo>
                    <a:pt x="264" y="185"/>
                  </a:lnTo>
                  <a:lnTo>
                    <a:pt x="280" y="181"/>
                  </a:lnTo>
                  <a:lnTo>
                    <a:pt x="293" y="181"/>
                  </a:lnTo>
                  <a:lnTo>
                    <a:pt x="306" y="175"/>
                  </a:lnTo>
                  <a:lnTo>
                    <a:pt x="312" y="175"/>
                  </a:lnTo>
                  <a:lnTo>
                    <a:pt x="315" y="175"/>
                  </a:lnTo>
                  <a:lnTo>
                    <a:pt x="341" y="162"/>
                  </a:lnTo>
                  <a:lnTo>
                    <a:pt x="357" y="156"/>
                  </a:lnTo>
                  <a:lnTo>
                    <a:pt x="369" y="146"/>
                  </a:lnTo>
                  <a:lnTo>
                    <a:pt x="363" y="134"/>
                  </a:lnTo>
                  <a:lnTo>
                    <a:pt x="363" y="124"/>
                  </a:lnTo>
                  <a:lnTo>
                    <a:pt x="369" y="111"/>
                  </a:lnTo>
                  <a:lnTo>
                    <a:pt x="357" y="99"/>
                  </a:lnTo>
                  <a:lnTo>
                    <a:pt x="357" y="92"/>
                  </a:lnTo>
                  <a:lnTo>
                    <a:pt x="382" y="92"/>
                  </a:lnTo>
                  <a:lnTo>
                    <a:pt x="385" y="89"/>
                  </a:lnTo>
                  <a:lnTo>
                    <a:pt x="382" y="76"/>
                  </a:lnTo>
                  <a:lnTo>
                    <a:pt x="382" y="41"/>
                  </a:lnTo>
                  <a:lnTo>
                    <a:pt x="382" y="25"/>
                  </a:lnTo>
                  <a:lnTo>
                    <a:pt x="357" y="19"/>
                  </a:lnTo>
                  <a:lnTo>
                    <a:pt x="354" y="13"/>
                  </a:lnTo>
                  <a:lnTo>
                    <a:pt x="334" y="19"/>
                  </a:lnTo>
                  <a:lnTo>
                    <a:pt x="315" y="19"/>
                  </a:lnTo>
                  <a:lnTo>
                    <a:pt x="306" y="6"/>
                  </a:lnTo>
                  <a:lnTo>
                    <a:pt x="287" y="6"/>
                  </a:lnTo>
                  <a:lnTo>
                    <a:pt x="277" y="0"/>
                  </a:lnTo>
                  <a:lnTo>
                    <a:pt x="271" y="13"/>
                  </a:lnTo>
                  <a:lnTo>
                    <a:pt x="264" y="19"/>
                  </a:lnTo>
                  <a:lnTo>
                    <a:pt x="264" y="25"/>
                  </a:lnTo>
                  <a:lnTo>
                    <a:pt x="248" y="25"/>
                  </a:lnTo>
                  <a:lnTo>
                    <a:pt x="239" y="29"/>
                  </a:lnTo>
                  <a:lnTo>
                    <a:pt x="217" y="19"/>
                  </a:lnTo>
                  <a:lnTo>
                    <a:pt x="207" y="19"/>
                  </a:lnTo>
                  <a:lnTo>
                    <a:pt x="207" y="25"/>
                  </a:lnTo>
                  <a:lnTo>
                    <a:pt x="207" y="35"/>
                  </a:lnTo>
                  <a:lnTo>
                    <a:pt x="201" y="35"/>
                  </a:lnTo>
                  <a:lnTo>
                    <a:pt x="194" y="48"/>
                  </a:lnTo>
                  <a:lnTo>
                    <a:pt x="178" y="54"/>
                  </a:lnTo>
                  <a:lnTo>
                    <a:pt x="166" y="70"/>
                  </a:lnTo>
                  <a:lnTo>
                    <a:pt x="166" y="76"/>
                  </a:lnTo>
                  <a:lnTo>
                    <a:pt x="178" y="89"/>
                  </a:lnTo>
                  <a:lnTo>
                    <a:pt x="178" y="92"/>
                  </a:lnTo>
                  <a:lnTo>
                    <a:pt x="169" y="99"/>
                  </a:lnTo>
                  <a:lnTo>
                    <a:pt x="159" y="92"/>
                  </a:lnTo>
                  <a:lnTo>
                    <a:pt x="150" y="92"/>
                  </a:lnTo>
                  <a:lnTo>
                    <a:pt x="137" y="92"/>
                  </a:lnTo>
                  <a:lnTo>
                    <a:pt x="128" y="92"/>
                  </a:lnTo>
                  <a:lnTo>
                    <a:pt x="112" y="105"/>
                  </a:lnTo>
                  <a:lnTo>
                    <a:pt x="99" y="105"/>
                  </a:lnTo>
                  <a:lnTo>
                    <a:pt x="92" y="105"/>
                  </a:lnTo>
                  <a:lnTo>
                    <a:pt x="83" y="105"/>
                  </a:lnTo>
                  <a:lnTo>
                    <a:pt x="70" y="99"/>
                  </a:lnTo>
                  <a:lnTo>
                    <a:pt x="64" y="99"/>
                  </a:lnTo>
                  <a:lnTo>
                    <a:pt x="42" y="99"/>
                  </a:lnTo>
                  <a:lnTo>
                    <a:pt x="42" y="111"/>
                  </a:lnTo>
                  <a:lnTo>
                    <a:pt x="29" y="111"/>
                  </a:lnTo>
                  <a:lnTo>
                    <a:pt x="22" y="99"/>
                  </a:lnTo>
                  <a:lnTo>
                    <a:pt x="13" y="105"/>
                  </a:lnTo>
                  <a:lnTo>
                    <a:pt x="0" y="111"/>
                  </a:lnTo>
                  <a:lnTo>
                    <a:pt x="10" y="111"/>
                  </a:lnTo>
                  <a:lnTo>
                    <a:pt x="10" y="124"/>
                  </a:lnTo>
                  <a:lnTo>
                    <a:pt x="13" y="127"/>
                  </a:lnTo>
                  <a:lnTo>
                    <a:pt x="13" y="134"/>
                  </a:lnTo>
                  <a:lnTo>
                    <a:pt x="22" y="134"/>
                  </a:lnTo>
                  <a:lnTo>
                    <a:pt x="29" y="134"/>
                  </a:lnTo>
                  <a:lnTo>
                    <a:pt x="42" y="146"/>
                  </a:lnTo>
                  <a:lnTo>
                    <a:pt x="51" y="134"/>
                  </a:lnTo>
                  <a:lnTo>
                    <a:pt x="64" y="134"/>
                  </a:lnTo>
                  <a:lnTo>
                    <a:pt x="67" y="146"/>
                  </a:lnTo>
                  <a:lnTo>
                    <a:pt x="83" y="153"/>
                  </a:lnTo>
                  <a:lnTo>
                    <a:pt x="112" y="134"/>
                  </a:lnTo>
                  <a:lnTo>
                    <a:pt x="124" y="140"/>
                  </a:lnTo>
                  <a:lnTo>
                    <a:pt x="140" y="140"/>
                  </a:lnTo>
                  <a:lnTo>
                    <a:pt x="140" y="146"/>
                  </a:lnTo>
                  <a:lnTo>
                    <a:pt x="166" y="162"/>
                  </a:lnTo>
                  <a:lnTo>
                    <a:pt x="201" y="169"/>
                  </a:lnTo>
                  <a:lnTo>
                    <a:pt x="217" y="169"/>
                  </a:lnTo>
                  <a:lnTo>
                    <a:pt x="229" y="175"/>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216" name="Freeform 55"/>
            <p:cNvSpPr>
              <a:spLocks/>
            </p:cNvSpPr>
            <p:nvPr/>
          </p:nvSpPr>
          <p:spPr bwMode="gray">
            <a:xfrm>
              <a:off x="2949" y="1314"/>
              <a:ext cx="508" cy="429"/>
            </a:xfrm>
            <a:custGeom>
              <a:avLst/>
              <a:gdLst>
                <a:gd name="T0" fmla="*/ 308 w 506"/>
                <a:gd name="T1" fmla="*/ 429 h 429"/>
                <a:gd name="T2" fmla="*/ 324 w 506"/>
                <a:gd name="T3" fmla="*/ 417 h 429"/>
                <a:gd name="T4" fmla="*/ 340 w 506"/>
                <a:gd name="T5" fmla="*/ 417 h 429"/>
                <a:gd name="T6" fmla="*/ 363 w 506"/>
                <a:gd name="T7" fmla="*/ 420 h 429"/>
                <a:gd name="T8" fmla="*/ 378 w 506"/>
                <a:gd name="T9" fmla="*/ 407 h 429"/>
                <a:gd name="T10" fmla="*/ 394 w 506"/>
                <a:gd name="T11" fmla="*/ 407 h 429"/>
                <a:gd name="T12" fmla="*/ 436 w 506"/>
                <a:gd name="T13" fmla="*/ 429 h 429"/>
                <a:gd name="T14" fmla="*/ 449 w 506"/>
                <a:gd name="T15" fmla="*/ 407 h 429"/>
                <a:gd name="T16" fmla="*/ 480 w 506"/>
                <a:gd name="T17" fmla="*/ 359 h 429"/>
                <a:gd name="T18" fmla="*/ 493 w 506"/>
                <a:gd name="T19" fmla="*/ 334 h 429"/>
                <a:gd name="T20" fmla="*/ 506 w 506"/>
                <a:gd name="T21" fmla="*/ 318 h 429"/>
                <a:gd name="T22" fmla="*/ 499 w 506"/>
                <a:gd name="T23" fmla="*/ 302 h 429"/>
                <a:gd name="T24" fmla="*/ 493 w 506"/>
                <a:gd name="T25" fmla="*/ 289 h 429"/>
                <a:gd name="T26" fmla="*/ 477 w 506"/>
                <a:gd name="T27" fmla="*/ 264 h 429"/>
                <a:gd name="T28" fmla="*/ 477 w 506"/>
                <a:gd name="T29" fmla="*/ 223 h 429"/>
                <a:gd name="T30" fmla="*/ 464 w 506"/>
                <a:gd name="T31" fmla="*/ 191 h 429"/>
                <a:gd name="T32" fmla="*/ 480 w 506"/>
                <a:gd name="T33" fmla="*/ 172 h 429"/>
                <a:gd name="T34" fmla="*/ 477 w 506"/>
                <a:gd name="T35" fmla="*/ 133 h 429"/>
                <a:gd name="T36" fmla="*/ 464 w 506"/>
                <a:gd name="T37" fmla="*/ 108 h 429"/>
                <a:gd name="T38" fmla="*/ 449 w 506"/>
                <a:gd name="T39" fmla="*/ 67 h 429"/>
                <a:gd name="T40" fmla="*/ 442 w 506"/>
                <a:gd name="T41" fmla="*/ 32 h 429"/>
                <a:gd name="T42" fmla="*/ 423 w 506"/>
                <a:gd name="T43" fmla="*/ 22 h 429"/>
                <a:gd name="T44" fmla="*/ 280 w 506"/>
                <a:gd name="T45" fmla="*/ 28 h 429"/>
                <a:gd name="T46" fmla="*/ 254 w 506"/>
                <a:gd name="T47" fmla="*/ 44 h 429"/>
                <a:gd name="T48" fmla="*/ 238 w 506"/>
                <a:gd name="T49" fmla="*/ 44 h 429"/>
                <a:gd name="T50" fmla="*/ 267 w 506"/>
                <a:gd name="T51" fmla="*/ 22 h 429"/>
                <a:gd name="T52" fmla="*/ 251 w 506"/>
                <a:gd name="T53" fmla="*/ 32 h 429"/>
                <a:gd name="T54" fmla="*/ 207 w 506"/>
                <a:gd name="T55" fmla="*/ 32 h 429"/>
                <a:gd name="T56" fmla="*/ 207 w 506"/>
                <a:gd name="T57" fmla="*/ 16 h 429"/>
                <a:gd name="T58" fmla="*/ 222 w 506"/>
                <a:gd name="T59" fmla="*/ 22 h 429"/>
                <a:gd name="T60" fmla="*/ 210 w 506"/>
                <a:gd name="T61" fmla="*/ 9 h 429"/>
                <a:gd name="T62" fmla="*/ 156 w 506"/>
                <a:gd name="T63" fmla="*/ 9 h 429"/>
                <a:gd name="T64" fmla="*/ 127 w 506"/>
                <a:gd name="T65" fmla="*/ 16 h 429"/>
                <a:gd name="T66" fmla="*/ 98 w 506"/>
                <a:gd name="T67" fmla="*/ 32 h 429"/>
                <a:gd name="T68" fmla="*/ 95 w 506"/>
                <a:gd name="T69" fmla="*/ 51 h 429"/>
                <a:gd name="T70" fmla="*/ 47 w 506"/>
                <a:gd name="T71" fmla="*/ 67 h 429"/>
                <a:gd name="T72" fmla="*/ 25 w 506"/>
                <a:gd name="T73" fmla="*/ 79 h 429"/>
                <a:gd name="T74" fmla="*/ 19 w 506"/>
                <a:gd name="T75" fmla="*/ 95 h 429"/>
                <a:gd name="T76" fmla="*/ 12 w 506"/>
                <a:gd name="T77" fmla="*/ 102 h 429"/>
                <a:gd name="T78" fmla="*/ 19 w 506"/>
                <a:gd name="T79" fmla="*/ 143 h 429"/>
                <a:gd name="T80" fmla="*/ 0 w 506"/>
                <a:gd name="T81" fmla="*/ 162 h 429"/>
                <a:gd name="T82" fmla="*/ 19 w 506"/>
                <a:gd name="T83" fmla="*/ 191 h 429"/>
                <a:gd name="T84" fmla="*/ 25 w 506"/>
                <a:gd name="T85" fmla="*/ 207 h 429"/>
                <a:gd name="T86" fmla="*/ 25 w 506"/>
                <a:gd name="T87" fmla="*/ 232 h 429"/>
                <a:gd name="T88" fmla="*/ 41 w 506"/>
                <a:gd name="T89" fmla="*/ 251 h 429"/>
                <a:gd name="T90" fmla="*/ 47 w 506"/>
                <a:gd name="T91" fmla="*/ 293 h 429"/>
                <a:gd name="T92" fmla="*/ 47 w 506"/>
                <a:gd name="T93" fmla="*/ 305 h 429"/>
                <a:gd name="T94" fmla="*/ 67 w 506"/>
                <a:gd name="T95" fmla="*/ 302 h 429"/>
                <a:gd name="T96" fmla="*/ 95 w 506"/>
                <a:gd name="T97" fmla="*/ 302 h 429"/>
                <a:gd name="T98" fmla="*/ 98 w 506"/>
                <a:gd name="T99" fmla="*/ 318 h 429"/>
                <a:gd name="T100" fmla="*/ 117 w 506"/>
                <a:gd name="T101" fmla="*/ 321 h 429"/>
                <a:gd name="T102" fmla="*/ 117 w 506"/>
                <a:gd name="T103" fmla="*/ 340 h 429"/>
                <a:gd name="T104" fmla="*/ 124 w 506"/>
                <a:gd name="T105" fmla="*/ 359 h 429"/>
                <a:gd name="T106" fmla="*/ 137 w 506"/>
                <a:gd name="T107" fmla="*/ 350 h 429"/>
                <a:gd name="T108" fmla="*/ 127 w 506"/>
                <a:gd name="T109" fmla="*/ 334 h 429"/>
                <a:gd name="T110" fmla="*/ 156 w 506"/>
                <a:gd name="T111" fmla="*/ 347 h 429"/>
                <a:gd name="T112" fmla="*/ 168 w 506"/>
                <a:gd name="T113" fmla="*/ 350 h 429"/>
                <a:gd name="T114" fmla="*/ 207 w 506"/>
                <a:gd name="T115" fmla="*/ 359 h 429"/>
                <a:gd name="T116" fmla="*/ 254 w 506"/>
                <a:gd name="T117" fmla="*/ 388 h 429"/>
                <a:gd name="T118" fmla="*/ 277 w 506"/>
                <a:gd name="T119" fmla="*/ 404 h 429"/>
                <a:gd name="T120" fmla="*/ 293 w 506"/>
                <a:gd name="T121" fmla="*/ 404 h 429"/>
                <a:gd name="T122" fmla="*/ 305 w 506"/>
                <a:gd name="T123" fmla="*/ 420 h 429"/>
                <a:gd name="T124" fmla="*/ 305 w 506"/>
                <a:gd name="T125" fmla="*/ 42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 h="429">
                  <a:moveTo>
                    <a:pt x="305" y="420"/>
                  </a:moveTo>
                  <a:lnTo>
                    <a:pt x="308" y="429"/>
                  </a:lnTo>
                  <a:lnTo>
                    <a:pt x="312" y="429"/>
                  </a:lnTo>
                  <a:lnTo>
                    <a:pt x="324" y="417"/>
                  </a:lnTo>
                  <a:lnTo>
                    <a:pt x="334" y="407"/>
                  </a:lnTo>
                  <a:lnTo>
                    <a:pt x="340" y="417"/>
                  </a:lnTo>
                  <a:lnTo>
                    <a:pt x="353" y="417"/>
                  </a:lnTo>
                  <a:lnTo>
                    <a:pt x="363" y="420"/>
                  </a:lnTo>
                  <a:lnTo>
                    <a:pt x="366" y="407"/>
                  </a:lnTo>
                  <a:lnTo>
                    <a:pt x="378" y="407"/>
                  </a:lnTo>
                  <a:lnTo>
                    <a:pt x="382" y="417"/>
                  </a:lnTo>
                  <a:lnTo>
                    <a:pt x="394" y="407"/>
                  </a:lnTo>
                  <a:lnTo>
                    <a:pt x="410" y="407"/>
                  </a:lnTo>
                  <a:lnTo>
                    <a:pt x="436" y="429"/>
                  </a:lnTo>
                  <a:lnTo>
                    <a:pt x="449" y="429"/>
                  </a:lnTo>
                  <a:lnTo>
                    <a:pt x="449" y="407"/>
                  </a:lnTo>
                  <a:lnTo>
                    <a:pt x="449" y="391"/>
                  </a:lnTo>
                  <a:lnTo>
                    <a:pt x="480" y="359"/>
                  </a:lnTo>
                  <a:lnTo>
                    <a:pt x="480" y="340"/>
                  </a:lnTo>
                  <a:lnTo>
                    <a:pt x="493" y="334"/>
                  </a:lnTo>
                  <a:lnTo>
                    <a:pt x="499" y="331"/>
                  </a:lnTo>
                  <a:lnTo>
                    <a:pt x="506" y="318"/>
                  </a:lnTo>
                  <a:lnTo>
                    <a:pt x="499" y="305"/>
                  </a:lnTo>
                  <a:lnTo>
                    <a:pt x="499" y="302"/>
                  </a:lnTo>
                  <a:lnTo>
                    <a:pt x="506" y="293"/>
                  </a:lnTo>
                  <a:lnTo>
                    <a:pt x="493" y="289"/>
                  </a:lnTo>
                  <a:lnTo>
                    <a:pt x="480" y="270"/>
                  </a:lnTo>
                  <a:lnTo>
                    <a:pt x="477" y="264"/>
                  </a:lnTo>
                  <a:lnTo>
                    <a:pt x="477" y="235"/>
                  </a:lnTo>
                  <a:lnTo>
                    <a:pt x="477" y="223"/>
                  </a:lnTo>
                  <a:lnTo>
                    <a:pt x="464" y="207"/>
                  </a:lnTo>
                  <a:lnTo>
                    <a:pt x="464" y="191"/>
                  </a:lnTo>
                  <a:lnTo>
                    <a:pt x="471" y="172"/>
                  </a:lnTo>
                  <a:lnTo>
                    <a:pt x="480" y="172"/>
                  </a:lnTo>
                  <a:lnTo>
                    <a:pt x="480" y="137"/>
                  </a:lnTo>
                  <a:lnTo>
                    <a:pt x="477" y="133"/>
                  </a:lnTo>
                  <a:lnTo>
                    <a:pt x="471" y="121"/>
                  </a:lnTo>
                  <a:lnTo>
                    <a:pt x="464" y="108"/>
                  </a:lnTo>
                  <a:lnTo>
                    <a:pt x="461" y="79"/>
                  </a:lnTo>
                  <a:lnTo>
                    <a:pt x="449" y="67"/>
                  </a:lnTo>
                  <a:lnTo>
                    <a:pt x="449" y="51"/>
                  </a:lnTo>
                  <a:lnTo>
                    <a:pt x="442" y="32"/>
                  </a:lnTo>
                  <a:lnTo>
                    <a:pt x="436" y="32"/>
                  </a:lnTo>
                  <a:lnTo>
                    <a:pt x="423" y="22"/>
                  </a:lnTo>
                  <a:lnTo>
                    <a:pt x="350" y="28"/>
                  </a:lnTo>
                  <a:lnTo>
                    <a:pt x="280" y="28"/>
                  </a:lnTo>
                  <a:lnTo>
                    <a:pt x="277" y="28"/>
                  </a:lnTo>
                  <a:lnTo>
                    <a:pt x="254" y="44"/>
                  </a:lnTo>
                  <a:lnTo>
                    <a:pt x="238" y="51"/>
                  </a:lnTo>
                  <a:lnTo>
                    <a:pt x="238" y="44"/>
                  </a:lnTo>
                  <a:lnTo>
                    <a:pt x="251" y="32"/>
                  </a:lnTo>
                  <a:lnTo>
                    <a:pt x="267" y="22"/>
                  </a:lnTo>
                  <a:lnTo>
                    <a:pt x="264" y="22"/>
                  </a:lnTo>
                  <a:lnTo>
                    <a:pt x="251" y="32"/>
                  </a:lnTo>
                  <a:lnTo>
                    <a:pt x="226" y="44"/>
                  </a:lnTo>
                  <a:lnTo>
                    <a:pt x="207" y="32"/>
                  </a:lnTo>
                  <a:lnTo>
                    <a:pt x="207" y="22"/>
                  </a:lnTo>
                  <a:lnTo>
                    <a:pt x="207" y="16"/>
                  </a:lnTo>
                  <a:lnTo>
                    <a:pt x="213" y="16"/>
                  </a:lnTo>
                  <a:lnTo>
                    <a:pt x="222" y="22"/>
                  </a:lnTo>
                  <a:lnTo>
                    <a:pt x="222" y="16"/>
                  </a:lnTo>
                  <a:lnTo>
                    <a:pt x="210" y="9"/>
                  </a:lnTo>
                  <a:lnTo>
                    <a:pt x="181" y="0"/>
                  </a:lnTo>
                  <a:lnTo>
                    <a:pt x="156" y="9"/>
                  </a:lnTo>
                  <a:lnTo>
                    <a:pt x="146" y="9"/>
                  </a:lnTo>
                  <a:lnTo>
                    <a:pt x="127" y="16"/>
                  </a:lnTo>
                  <a:lnTo>
                    <a:pt x="117" y="32"/>
                  </a:lnTo>
                  <a:lnTo>
                    <a:pt x="98" y="32"/>
                  </a:lnTo>
                  <a:lnTo>
                    <a:pt x="95" y="44"/>
                  </a:lnTo>
                  <a:lnTo>
                    <a:pt x="95" y="51"/>
                  </a:lnTo>
                  <a:lnTo>
                    <a:pt x="76" y="51"/>
                  </a:lnTo>
                  <a:lnTo>
                    <a:pt x="47" y="67"/>
                  </a:lnTo>
                  <a:lnTo>
                    <a:pt x="31" y="67"/>
                  </a:lnTo>
                  <a:lnTo>
                    <a:pt x="25" y="79"/>
                  </a:lnTo>
                  <a:lnTo>
                    <a:pt x="19" y="92"/>
                  </a:lnTo>
                  <a:lnTo>
                    <a:pt x="19" y="95"/>
                  </a:lnTo>
                  <a:lnTo>
                    <a:pt x="19" y="102"/>
                  </a:lnTo>
                  <a:lnTo>
                    <a:pt x="12" y="102"/>
                  </a:lnTo>
                  <a:lnTo>
                    <a:pt x="19" y="124"/>
                  </a:lnTo>
                  <a:lnTo>
                    <a:pt x="19" y="143"/>
                  </a:lnTo>
                  <a:lnTo>
                    <a:pt x="0" y="149"/>
                  </a:lnTo>
                  <a:lnTo>
                    <a:pt x="0" y="162"/>
                  </a:lnTo>
                  <a:lnTo>
                    <a:pt x="19" y="178"/>
                  </a:lnTo>
                  <a:lnTo>
                    <a:pt x="19" y="191"/>
                  </a:lnTo>
                  <a:lnTo>
                    <a:pt x="25" y="200"/>
                  </a:lnTo>
                  <a:lnTo>
                    <a:pt x="25" y="207"/>
                  </a:lnTo>
                  <a:lnTo>
                    <a:pt x="31" y="219"/>
                  </a:lnTo>
                  <a:lnTo>
                    <a:pt x="25" y="232"/>
                  </a:lnTo>
                  <a:lnTo>
                    <a:pt x="35" y="248"/>
                  </a:lnTo>
                  <a:lnTo>
                    <a:pt x="41" y="251"/>
                  </a:lnTo>
                  <a:lnTo>
                    <a:pt x="47" y="264"/>
                  </a:lnTo>
                  <a:lnTo>
                    <a:pt x="47" y="293"/>
                  </a:lnTo>
                  <a:lnTo>
                    <a:pt x="47" y="293"/>
                  </a:lnTo>
                  <a:lnTo>
                    <a:pt x="47" y="305"/>
                  </a:lnTo>
                  <a:lnTo>
                    <a:pt x="54" y="302"/>
                  </a:lnTo>
                  <a:lnTo>
                    <a:pt x="67" y="302"/>
                  </a:lnTo>
                  <a:lnTo>
                    <a:pt x="70" y="302"/>
                  </a:lnTo>
                  <a:lnTo>
                    <a:pt x="95" y="302"/>
                  </a:lnTo>
                  <a:lnTo>
                    <a:pt x="95" y="305"/>
                  </a:lnTo>
                  <a:lnTo>
                    <a:pt x="98" y="318"/>
                  </a:lnTo>
                  <a:lnTo>
                    <a:pt x="111" y="318"/>
                  </a:lnTo>
                  <a:lnTo>
                    <a:pt x="117" y="321"/>
                  </a:lnTo>
                  <a:lnTo>
                    <a:pt x="111" y="334"/>
                  </a:lnTo>
                  <a:lnTo>
                    <a:pt x="117" y="340"/>
                  </a:lnTo>
                  <a:lnTo>
                    <a:pt x="124" y="347"/>
                  </a:lnTo>
                  <a:lnTo>
                    <a:pt x="124" y="359"/>
                  </a:lnTo>
                  <a:lnTo>
                    <a:pt x="127" y="359"/>
                  </a:lnTo>
                  <a:lnTo>
                    <a:pt x="137" y="350"/>
                  </a:lnTo>
                  <a:lnTo>
                    <a:pt x="140" y="350"/>
                  </a:lnTo>
                  <a:lnTo>
                    <a:pt x="127" y="334"/>
                  </a:lnTo>
                  <a:lnTo>
                    <a:pt x="137" y="334"/>
                  </a:lnTo>
                  <a:lnTo>
                    <a:pt x="156" y="347"/>
                  </a:lnTo>
                  <a:lnTo>
                    <a:pt x="178" y="347"/>
                  </a:lnTo>
                  <a:lnTo>
                    <a:pt x="168" y="350"/>
                  </a:lnTo>
                  <a:lnTo>
                    <a:pt x="181" y="363"/>
                  </a:lnTo>
                  <a:lnTo>
                    <a:pt x="207" y="359"/>
                  </a:lnTo>
                  <a:lnTo>
                    <a:pt x="222" y="363"/>
                  </a:lnTo>
                  <a:lnTo>
                    <a:pt x="254" y="388"/>
                  </a:lnTo>
                  <a:lnTo>
                    <a:pt x="264" y="404"/>
                  </a:lnTo>
                  <a:lnTo>
                    <a:pt x="277" y="404"/>
                  </a:lnTo>
                  <a:lnTo>
                    <a:pt x="280" y="401"/>
                  </a:lnTo>
                  <a:lnTo>
                    <a:pt x="293" y="404"/>
                  </a:lnTo>
                  <a:lnTo>
                    <a:pt x="305" y="407"/>
                  </a:lnTo>
                  <a:lnTo>
                    <a:pt x="305" y="420"/>
                  </a:lnTo>
                  <a:lnTo>
                    <a:pt x="305" y="420"/>
                  </a:lnTo>
                  <a:lnTo>
                    <a:pt x="305" y="420"/>
                  </a:lnTo>
                  <a:close/>
                </a:path>
              </a:pathLst>
            </a:custGeom>
            <a:pattFill prst="dkDnDiag">
              <a:fgClr>
                <a:schemeClr val="accent3"/>
              </a:fgClr>
              <a:bgClr>
                <a:schemeClr val="bg1"/>
              </a:bgClr>
            </a:pattFill>
            <a:ln w="6350">
              <a:solidFill>
                <a:schemeClr val="accent2"/>
              </a:solidFill>
              <a:round/>
              <a:headEnd/>
              <a:tailEnd/>
            </a:ln>
          </p:spPr>
          <p:txBody>
            <a:bodyPr/>
            <a:lstStyle/>
            <a:p>
              <a:endParaRPr lang="de-DE" dirty="0"/>
            </a:p>
          </p:txBody>
        </p:sp>
        <p:sp>
          <p:nvSpPr>
            <p:cNvPr id="217" name="Freeform 56"/>
            <p:cNvSpPr>
              <a:spLocks/>
            </p:cNvSpPr>
            <p:nvPr/>
          </p:nvSpPr>
          <p:spPr bwMode="gray">
            <a:xfrm>
              <a:off x="2949" y="1314"/>
              <a:ext cx="506" cy="429"/>
            </a:xfrm>
            <a:custGeom>
              <a:avLst/>
              <a:gdLst>
                <a:gd name="T0" fmla="*/ 308 w 506"/>
                <a:gd name="T1" fmla="*/ 429 h 429"/>
                <a:gd name="T2" fmla="*/ 324 w 506"/>
                <a:gd name="T3" fmla="*/ 417 h 429"/>
                <a:gd name="T4" fmla="*/ 340 w 506"/>
                <a:gd name="T5" fmla="*/ 417 h 429"/>
                <a:gd name="T6" fmla="*/ 363 w 506"/>
                <a:gd name="T7" fmla="*/ 420 h 429"/>
                <a:gd name="T8" fmla="*/ 378 w 506"/>
                <a:gd name="T9" fmla="*/ 407 h 429"/>
                <a:gd name="T10" fmla="*/ 394 w 506"/>
                <a:gd name="T11" fmla="*/ 407 h 429"/>
                <a:gd name="T12" fmla="*/ 436 w 506"/>
                <a:gd name="T13" fmla="*/ 429 h 429"/>
                <a:gd name="T14" fmla="*/ 449 w 506"/>
                <a:gd name="T15" fmla="*/ 407 h 429"/>
                <a:gd name="T16" fmla="*/ 480 w 506"/>
                <a:gd name="T17" fmla="*/ 359 h 429"/>
                <a:gd name="T18" fmla="*/ 493 w 506"/>
                <a:gd name="T19" fmla="*/ 334 h 429"/>
                <a:gd name="T20" fmla="*/ 506 w 506"/>
                <a:gd name="T21" fmla="*/ 318 h 429"/>
                <a:gd name="T22" fmla="*/ 499 w 506"/>
                <a:gd name="T23" fmla="*/ 302 h 429"/>
                <a:gd name="T24" fmla="*/ 493 w 506"/>
                <a:gd name="T25" fmla="*/ 289 h 429"/>
                <a:gd name="T26" fmla="*/ 477 w 506"/>
                <a:gd name="T27" fmla="*/ 264 h 429"/>
                <a:gd name="T28" fmla="*/ 477 w 506"/>
                <a:gd name="T29" fmla="*/ 223 h 429"/>
                <a:gd name="T30" fmla="*/ 464 w 506"/>
                <a:gd name="T31" fmla="*/ 191 h 429"/>
                <a:gd name="T32" fmla="*/ 480 w 506"/>
                <a:gd name="T33" fmla="*/ 172 h 429"/>
                <a:gd name="T34" fmla="*/ 477 w 506"/>
                <a:gd name="T35" fmla="*/ 133 h 429"/>
                <a:gd name="T36" fmla="*/ 464 w 506"/>
                <a:gd name="T37" fmla="*/ 108 h 429"/>
                <a:gd name="T38" fmla="*/ 449 w 506"/>
                <a:gd name="T39" fmla="*/ 67 h 429"/>
                <a:gd name="T40" fmla="*/ 442 w 506"/>
                <a:gd name="T41" fmla="*/ 32 h 429"/>
                <a:gd name="T42" fmla="*/ 423 w 506"/>
                <a:gd name="T43" fmla="*/ 22 h 429"/>
                <a:gd name="T44" fmla="*/ 280 w 506"/>
                <a:gd name="T45" fmla="*/ 28 h 429"/>
                <a:gd name="T46" fmla="*/ 254 w 506"/>
                <a:gd name="T47" fmla="*/ 44 h 429"/>
                <a:gd name="T48" fmla="*/ 238 w 506"/>
                <a:gd name="T49" fmla="*/ 44 h 429"/>
                <a:gd name="T50" fmla="*/ 267 w 506"/>
                <a:gd name="T51" fmla="*/ 22 h 429"/>
                <a:gd name="T52" fmla="*/ 251 w 506"/>
                <a:gd name="T53" fmla="*/ 32 h 429"/>
                <a:gd name="T54" fmla="*/ 207 w 506"/>
                <a:gd name="T55" fmla="*/ 32 h 429"/>
                <a:gd name="T56" fmla="*/ 207 w 506"/>
                <a:gd name="T57" fmla="*/ 16 h 429"/>
                <a:gd name="T58" fmla="*/ 222 w 506"/>
                <a:gd name="T59" fmla="*/ 22 h 429"/>
                <a:gd name="T60" fmla="*/ 210 w 506"/>
                <a:gd name="T61" fmla="*/ 9 h 429"/>
                <a:gd name="T62" fmla="*/ 156 w 506"/>
                <a:gd name="T63" fmla="*/ 9 h 429"/>
                <a:gd name="T64" fmla="*/ 127 w 506"/>
                <a:gd name="T65" fmla="*/ 16 h 429"/>
                <a:gd name="T66" fmla="*/ 98 w 506"/>
                <a:gd name="T67" fmla="*/ 32 h 429"/>
                <a:gd name="T68" fmla="*/ 95 w 506"/>
                <a:gd name="T69" fmla="*/ 51 h 429"/>
                <a:gd name="T70" fmla="*/ 47 w 506"/>
                <a:gd name="T71" fmla="*/ 67 h 429"/>
                <a:gd name="T72" fmla="*/ 25 w 506"/>
                <a:gd name="T73" fmla="*/ 79 h 429"/>
                <a:gd name="T74" fmla="*/ 19 w 506"/>
                <a:gd name="T75" fmla="*/ 95 h 429"/>
                <a:gd name="T76" fmla="*/ 12 w 506"/>
                <a:gd name="T77" fmla="*/ 102 h 429"/>
                <a:gd name="T78" fmla="*/ 19 w 506"/>
                <a:gd name="T79" fmla="*/ 143 h 429"/>
                <a:gd name="T80" fmla="*/ 0 w 506"/>
                <a:gd name="T81" fmla="*/ 162 h 429"/>
                <a:gd name="T82" fmla="*/ 19 w 506"/>
                <a:gd name="T83" fmla="*/ 191 h 429"/>
                <a:gd name="T84" fmla="*/ 25 w 506"/>
                <a:gd name="T85" fmla="*/ 207 h 429"/>
                <a:gd name="T86" fmla="*/ 25 w 506"/>
                <a:gd name="T87" fmla="*/ 232 h 429"/>
                <a:gd name="T88" fmla="*/ 41 w 506"/>
                <a:gd name="T89" fmla="*/ 251 h 429"/>
                <a:gd name="T90" fmla="*/ 47 w 506"/>
                <a:gd name="T91" fmla="*/ 293 h 429"/>
                <a:gd name="T92" fmla="*/ 47 w 506"/>
                <a:gd name="T93" fmla="*/ 305 h 429"/>
                <a:gd name="T94" fmla="*/ 67 w 506"/>
                <a:gd name="T95" fmla="*/ 302 h 429"/>
                <a:gd name="T96" fmla="*/ 95 w 506"/>
                <a:gd name="T97" fmla="*/ 302 h 429"/>
                <a:gd name="T98" fmla="*/ 98 w 506"/>
                <a:gd name="T99" fmla="*/ 318 h 429"/>
                <a:gd name="T100" fmla="*/ 117 w 506"/>
                <a:gd name="T101" fmla="*/ 321 h 429"/>
                <a:gd name="T102" fmla="*/ 117 w 506"/>
                <a:gd name="T103" fmla="*/ 340 h 429"/>
                <a:gd name="T104" fmla="*/ 124 w 506"/>
                <a:gd name="T105" fmla="*/ 359 h 429"/>
                <a:gd name="T106" fmla="*/ 137 w 506"/>
                <a:gd name="T107" fmla="*/ 350 h 429"/>
                <a:gd name="T108" fmla="*/ 127 w 506"/>
                <a:gd name="T109" fmla="*/ 334 h 429"/>
                <a:gd name="T110" fmla="*/ 156 w 506"/>
                <a:gd name="T111" fmla="*/ 347 h 429"/>
                <a:gd name="T112" fmla="*/ 168 w 506"/>
                <a:gd name="T113" fmla="*/ 350 h 429"/>
                <a:gd name="T114" fmla="*/ 207 w 506"/>
                <a:gd name="T115" fmla="*/ 359 h 429"/>
                <a:gd name="T116" fmla="*/ 254 w 506"/>
                <a:gd name="T117" fmla="*/ 388 h 429"/>
                <a:gd name="T118" fmla="*/ 277 w 506"/>
                <a:gd name="T119" fmla="*/ 404 h 429"/>
                <a:gd name="T120" fmla="*/ 293 w 506"/>
                <a:gd name="T121" fmla="*/ 404 h 429"/>
                <a:gd name="T122" fmla="*/ 305 w 506"/>
                <a:gd name="T123" fmla="*/ 420 h 429"/>
                <a:gd name="T124" fmla="*/ 305 w 506"/>
                <a:gd name="T125" fmla="*/ 420 h 42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06" h="429">
                  <a:moveTo>
                    <a:pt x="305" y="420"/>
                  </a:moveTo>
                  <a:lnTo>
                    <a:pt x="308" y="429"/>
                  </a:lnTo>
                  <a:lnTo>
                    <a:pt x="312" y="429"/>
                  </a:lnTo>
                  <a:lnTo>
                    <a:pt x="324" y="417"/>
                  </a:lnTo>
                  <a:lnTo>
                    <a:pt x="334" y="407"/>
                  </a:lnTo>
                  <a:lnTo>
                    <a:pt x="340" y="417"/>
                  </a:lnTo>
                  <a:lnTo>
                    <a:pt x="353" y="417"/>
                  </a:lnTo>
                  <a:lnTo>
                    <a:pt x="363" y="420"/>
                  </a:lnTo>
                  <a:lnTo>
                    <a:pt x="366" y="407"/>
                  </a:lnTo>
                  <a:lnTo>
                    <a:pt x="378" y="407"/>
                  </a:lnTo>
                  <a:lnTo>
                    <a:pt x="382" y="417"/>
                  </a:lnTo>
                  <a:lnTo>
                    <a:pt x="394" y="407"/>
                  </a:lnTo>
                  <a:lnTo>
                    <a:pt x="410" y="407"/>
                  </a:lnTo>
                  <a:lnTo>
                    <a:pt x="436" y="429"/>
                  </a:lnTo>
                  <a:lnTo>
                    <a:pt x="449" y="429"/>
                  </a:lnTo>
                  <a:lnTo>
                    <a:pt x="449" y="407"/>
                  </a:lnTo>
                  <a:lnTo>
                    <a:pt x="449" y="391"/>
                  </a:lnTo>
                  <a:lnTo>
                    <a:pt x="480" y="359"/>
                  </a:lnTo>
                  <a:lnTo>
                    <a:pt x="480" y="340"/>
                  </a:lnTo>
                  <a:lnTo>
                    <a:pt x="493" y="334"/>
                  </a:lnTo>
                  <a:lnTo>
                    <a:pt x="499" y="331"/>
                  </a:lnTo>
                  <a:lnTo>
                    <a:pt x="506" y="318"/>
                  </a:lnTo>
                  <a:lnTo>
                    <a:pt x="499" y="305"/>
                  </a:lnTo>
                  <a:lnTo>
                    <a:pt x="499" y="302"/>
                  </a:lnTo>
                  <a:lnTo>
                    <a:pt x="506" y="293"/>
                  </a:lnTo>
                  <a:lnTo>
                    <a:pt x="493" y="289"/>
                  </a:lnTo>
                  <a:lnTo>
                    <a:pt x="480" y="270"/>
                  </a:lnTo>
                  <a:lnTo>
                    <a:pt x="477" y="264"/>
                  </a:lnTo>
                  <a:lnTo>
                    <a:pt x="477" y="235"/>
                  </a:lnTo>
                  <a:lnTo>
                    <a:pt x="477" y="223"/>
                  </a:lnTo>
                  <a:lnTo>
                    <a:pt x="464" y="207"/>
                  </a:lnTo>
                  <a:lnTo>
                    <a:pt x="464" y="191"/>
                  </a:lnTo>
                  <a:lnTo>
                    <a:pt x="471" y="172"/>
                  </a:lnTo>
                  <a:lnTo>
                    <a:pt x="480" y="172"/>
                  </a:lnTo>
                  <a:lnTo>
                    <a:pt x="480" y="137"/>
                  </a:lnTo>
                  <a:lnTo>
                    <a:pt x="477" y="133"/>
                  </a:lnTo>
                  <a:lnTo>
                    <a:pt x="471" y="121"/>
                  </a:lnTo>
                  <a:lnTo>
                    <a:pt x="464" y="108"/>
                  </a:lnTo>
                  <a:lnTo>
                    <a:pt x="461" y="79"/>
                  </a:lnTo>
                  <a:lnTo>
                    <a:pt x="449" y="67"/>
                  </a:lnTo>
                  <a:lnTo>
                    <a:pt x="449" y="51"/>
                  </a:lnTo>
                  <a:lnTo>
                    <a:pt x="442" y="32"/>
                  </a:lnTo>
                  <a:lnTo>
                    <a:pt x="436" y="32"/>
                  </a:lnTo>
                  <a:lnTo>
                    <a:pt x="423" y="22"/>
                  </a:lnTo>
                  <a:lnTo>
                    <a:pt x="350" y="28"/>
                  </a:lnTo>
                  <a:lnTo>
                    <a:pt x="280" y="28"/>
                  </a:lnTo>
                  <a:lnTo>
                    <a:pt x="277" y="28"/>
                  </a:lnTo>
                  <a:lnTo>
                    <a:pt x="254" y="44"/>
                  </a:lnTo>
                  <a:lnTo>
                    <a:pt x="238" y="51"/>
                  </a:lnTo>
                  <a:lnTo>
                    <a:pt x="238" y="44"/>
                  </a:lnTo>
                  <a:lnTo>
                    <a:pt x="251" y="32"/>
                  </a:lnTo>
                  <a:lnTo>
                    <a:pt x="267" y="22"/>
                  </a:lnTo>
                  <a:lnTo>
                    <a:pt x="264" y="22"/>
                  </a:lnTo>
                  <a:lnTo>
                    <a:pt x="251" y="32"/>
                  </a:lnTo>
                  <a:lnTo>
                    <a:pt x="226" y="44"/>
                  </a:lnTo>
                  <a:lnTo>
                    <a:pt x="207" y="32"/>
                  </a:lnTo>
                  <a:lnTo>
                    <a:pt x="207" y="22"/>
                  </a:lnTo>
                  <a:lnTo>
                    <a:pt x="207" y="16"/>
                  </a:lnTo>
                  <a:lnTo>
                    <a:pt x="213" y="16"/>
                  </a:lnTo>
                  <a:lnTo>
                    <a:pt x="222" y="22"/>
                  </a:lnTo>
                  <a:lnTo>
                    <a:pt x="222" y="16"/>
                  </a:lnTo>
                  <a:lnTo>
                    <a:pt x="210" y="9"/>
                  </a:lnTo>
                  <a:lnTo>
                    <a:pt x="181" y="0"/>
                  </a:lnTo>
                  <a:lnTo>
                    <a:pt x="156" y="9"/>
                  </a:lnTo>
                  <a:lnTo>
                    <a:pt x="146" y="9"/>
                  </a:lnTo>
                  <a:lnTo>
                    <a:pt x="127" y="16"/>
                  </a:lnTo>
                  <a:lnTo>
                    <a:pt x="117" y="32"/>
                  </a:lnTo>
                  <a:lnTo>
                    <a:pt x="98" y="32"/>
                  </a:lnTo>
                  <a:lnTo>
                    <a:pt x="95" y="44"/>
                  </a:lnTo>
                  <a:lnTo>
                    <a:pt x="95" y="51"/>
                  </a:lnTo>
                  <a:lnTo>
                    <a:pt x="76" y="51"/>
                  </a:lnTo>
                  <a:lnTo>
                    <a:pt x="47" y="67"/>
                  </a:lnTo>
                  <a:lnTo>
                    <a:pt x="31" y="67"/>
                  </a:lnTo>
                  <a:lnTo>
                    <a:pt x="25" y="79"/>
                  </a:lnTo>
                  <a:lnTo>
                    <a:pt x="19" y="92"/>
                  </a:lnTo>
                  <a:lnTo>
                    <a:pt x="19" y="95"/>
                  </a:lnTo>
                  <a:lnTo>
                    <a:pt x="19" y="102"/>
                  </a:lnTo>
                  <a:lnTo>
                    <a:pt x="12" y="102"/>
                  </a:lnTo>
                  <a:lnTo>
                    <a:pt x="19" y="124"/>
                  </a:lnTo>
                  <a:lnTo>
                    <a:pt x="19" y="143"/>
                  </a:lnTo>
                  <a:lnTo>
                    <a:pt x="0" y="149"/>
                  </a:lnTo>
                  <a:lnTo>
                    <a:pt x="0" y="162"/>
                  </a:lnTo>
                  <a:lnTo>
                    <a:pt x="19" y="178"/>
                  </a:lnTo>
                  <a:lnTo>
                    <a:pt x="19" y="191"/>
                  </a:lnTo>
                  <a:lnTo>
                    <a:pt x="25" y="200"/>
                  </a:lnTo>
                  <a:lnTo>
                    <a:pt x="25" y="207"/>
                  </a:lnTo>
                  <a:lnTo>
                    <a:pt x="31" y="219"/>
                  </a:lnTo>
                  <a:lnTo>
                    <a:pt x="25" y="232"/>
                  </a:lnTo>
                  <a:lnTo>
                    <a:pt x="35" y="248"/>
                  </a:lnTo>
                  <a:lnTo>
                    <a:pt x="41" y="251"/>
                  </a:lnTo>
                  <a:lnTo>
                    <a:pt x="47" y="264"/>
                  </a:lnTo>
                  <a:lnTo>
                    <a:pt x="47" y="293"/>
                  </a:lnTo>
                  <a:lnTo>
                    <a:pt x="47" y="305"/>
                  </a:lnTo>
                  <a:lnTo>
                    <a:pt x="54" y="302"/>
                  </a:lnTo>
                  <a:lnTo>
                    <a:pt x="67" y="302"/>
                  </a:lnTo>
                  <a:lnTo>
                    <a:pt x="70" y="302"/>
                  </a:lnTo>
                  <a:lnTo>
                    <a:pt x="95" y="302"/>
                  </a:lnTo>
                  <a:lnTo>
                    <a:pt x="95" y="305"/>
                  </a:lnTo>
                  <a:lnTo>
                    <a:pt x="98" y="318"/>
                  </a:lnTo>
                  <a:lnTo>
                    <a:pt x="111" y="318"/>
                  </a:lnTo>
                  <a:lnTo>
                    <a:pt x="117" y="321"/>
                  </a:lnTo>
                  <a:lnTo>
                    <a:pt x="111" y="334"/>
                  </a:lnTo>
                  <a:lnTo>
                    <a:pt x="117" y="340"/>
                  </a:lnTo>
                  <a:lnTo>
                    <a:pt x="124" y="347"/>
                  </a:lnTo>
                  <a:lnTo>
                    <a:pt x="124" y="359"/>
                  </a:lnTo>
                  <a:lnTo>
                    <a:pt x="127" y="359"/>
                  </a:lnTo>
                  <a:lnTo>
                    <a:pt x="137" y="350"/>
                  </a:lnTo>
                  <a:lnTo>
                    <a:pt x="140" y="350"/>
                  </a:lnTo>
                  <a:lnTo>
                    <a:pt x="127" y="334"/>
                  </a:lnTo>
                  <a:lnTo>
                    <a:pt x="137" y="334"/>
                  </a:lnTo>
                  <a:lnTo>
                    <a:pt x="156" y="347"/>
                  </a:lnTo>
                  <a:lnTo>
                    <a:pt x="178" y="347"/>
                  </a:lnTo>
                  <a:lnTo>
                    <a:pt x="168" y="350"/>
                  </a:lnTo>
                  <a:lnTo>
                    <a:pt x="181" y="363"/>
                  </a:lnTo>
                  <a:lnTo>
                    <a:pt x="207" y="359"/>
                  </a:lnTo>
                  <a:lnTo>
                    <a:pt x="222" y="363"/>
                  </a:lnTo>
                  <a:lnTo>
                    <a:pt x="254" y="388"/>
                  </a:lnTo>
                  <a:lnTo>
                    <a:pt x="264" y="404"/>
                  </a:lnTo>
                  <a:lnTo>
                    <a:pt x="277" y="404"/>
                  </a:lnTo>
                  <a:lnTo>
                    <a:pt x="280" y="401"/>
                  </a:lnTo>
                  <a:lnTo>
                    <a:pt x="293" y="404"/>
                  </a:lnTo>
                  <a:lnTo>
                    <a:pt x="305" y="407"/>
                  </a:lnTo>
                  <a:lnTo>
                    <a:pt x="305" y="420"/>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218" name="Freeform 57"/>
            <p:cNvSpPr>
              <a:spLocks/>
            </p:cNvSpPr>
            <p:nvPr/>
          </p:nvSpPr>
          <p:spPr bwMode="gray">
            <a:xfrm>
              <a:off x="2853" y="1607"/>
              <a:ext cx="398" cy="175"/>
            </a:xfrm>
            <a:custGeom>
              <a:avLst/>
              <a:gdLst>
                <a:gd name="T0" fmla="*/ 143 w 398"/>
                <a:gd name="T1" fmla="*/ 12 h 175"/>
                <a:gd name="T2" fmla="*/ 159 w 398"/>
                <a:gd name="T3" fmla="*/ 9 h 175"/>
                <a:gd name="T4" fmla="*/ 188 w 398"/>
                <a:gd name="T5" fmla="*/ 9 h 175"/>
                <a:gd name="T6" fmla="*/ 194 w 398"/>
                <a:gd name="T7" fmla="*/ 25 h 175"/>
                <a:gd name="T8" fmla="*/ 213 w 398"/>
                <a:gd name="T9" fmla="*/ 28 h 175"/>
                <a:gd name="T10" fmla="*/ 213 w 398"/>
                <a:gd name="T11" fmla="*/ 51 h 175"/>
                <a:gd name="T12" fmla="*/ 217 w 398"/>
                <a:gd name="T13" fmla="*/ 66 h 175"/>
                <a:gd name="T14" fmla="*/ 229 w 398"/>
                <a:gd name="T15" fmla="*/ 57 h 175"/>
                <a:gd name="T16" fmla="*/ 223 w 398"/>
                <a:gd name="T17" fmla="*/ 41 h 175"/>
                <a:gd name="T18" fmla="*/ 252 w 398"/>
                <a:gd name="T19" fmla="*/ 54 h 175"/>
                <a:gd name="T20" fmla="*/ 264 w 398"/>
                <a:gd name="T21" fmla="*/ 57 h 175"/>
                <a:gd name="T22" fmla="*/ 299 w 398"/>
                <a:gd name="T23" fmla="*/ 66 h 175"/>
                <a:gd name="T24" fmla="*/ 350 w 398"/>
                <a:gd name="T25" fmla="*/ 95 h 175"/>
                <a:gd name="T26" fmla="*/ 369 w 398"/>
                <a:gd name="T27" fmla="*/ 111 h 175"/>
                <a:gd name="T28" fmla="*/ 389 w 398"/>
                <a:gd name="T29" fmla="*/ 111 h 175"/>
                <a:gd name="T30" fmla="*/ 398 w 398"/>
                <a:gd name="T31" fmla="*/ 136 h 175"/>
                <a:gd name="T32" fmla="*/ 363 w 398"/>
                <a:gd name="T33" fmla="*/ 140 h 175"/>
                <a:gd name="T34" fmla="*/ 334 w 398"/>
                <a:gd name="T35" fmla="*/ 156 h 175"/>
                <a:gd name="T36" fmla="*/ 293 w 398"/>
                <a:gd name="T37" fmla="*/ 168 h 175"/>
                <a:gd name="T38" fmla="*/ 277 w 398"/>
                <a:gd name="T39" fmla="*/ 165 h 175"/>
                <a:gd name="T40" fmla="*/ 236 w 398"/>
                <a:gd name="T41" fmla="*/ 165 h 175"/>
                <a:gd name="T42" fmla="*/ 213 w 398"/>
                <a:gd name="T43" fmla="*/ 165 h 175"/>
                <a:gd name="T44" fmla="*/ 185 w 398"/>
                <a:gd name="T45" fmla="*/ 152 h 175"/>
                <a:gd name="T46" fmla="*/ 156 w 398"/>
                <a:gd name="T47" fmla="*/ 143 h 175"/>
                <a:gd name="T48" fmla="*/ 143 w 398"/>
                <a:gd name="T49" fmla="*/ 165 h 175"/>
                <a:gd name="T50" fmla="*/ 127 w 398"/>
                <a:gd name="T51" fmla="*/ 168 h 175"/>
                <a:gd name="T52" fmla="*/ 96 w 398"/>
                <a:gd name="T53" fmla="*/ 165 h 175"/>
                <a:gd name="T54" fmla="*/ 86 w 398"/>
                <a:gd name="T55" fmla="*/ 156 h 175"/>
                <a:gd name="T56" fmla="*/ 57 w 398"/>
                <a:gd name="T57" fmla="*/ 127 h 175"/>
                <a:gd name="T58" fmla="*/ 29 w 398"/>
                <a:gd name="T59" fmla="*/ 111 h 175"/>
                <a:gd name="T60" fmla="*/ 19 w 398"/>
                <a:gd name="T61" fmla="*/ 86 h 175"/>
                <a:gd name="T62" fmla="*/ 0 w 398"/>
                <a:gd name="T63" fmla="*/ 57 h 175"/>
                <a:gd name="T64" fmla="*/ 0 w 398"/>
                <a:gd name="T65" fmla="*/ 51 h 175"/>
                <a:gd name="T66" fmla="*/ 16 w 398"/>
                <a:gd name="T67" fmla="*/ 57 h 175"/>
                <a:gd name="T68" fmla="*/ 45 w 398"/>
                <a:gd name="T69" fmla="*/ 41 h 175"/>
                <a:gd name="T70" fmla="*/ 64 w 398"/>
                <a:gd name="T71" fmla="*/ 25 h 175"/>
                <a:gd name="T72" fmla="*/ 89 w 398"/>
                <a:gd name="T73" fmla="*/ 15 h 175"/>
                <a:gd name="T74" fmla="*/ 105 w 398"/>
                <a:gd name="T75" fmla="*/ 12 h 175"/>
                <a:gd name="T76" fmla="*/ 127 w 398"/>
                <a:gd name="T77" fmla="*/ 9 h 175"/>
                <a:gd name="T78" fmla="*/ 137 w 398"/>
                <a:gd name="T79" fmla="*/ 9 h 175"/>
                <a:gd name="T80" fmla="*/ 143 w 398"/>
                <a:gd name="T81"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8" h="175">
                  <a:moveTo>
                    <a:pt x="143" y="0"/>
                  </a:moveTo>
                  <a:lnTo>
                    <a:pt x="143" y="12"/>
                  </a:lnTo>
                  <a:lnTo>
                    <a:pt x="147" y="9"/>
                  </a:lnTo>
                  <a:lnTo>
                    <a:pt x="159" y="9"/>
                  </a:lnTo>
                  <a:lnTo>
                    <a:pt x="166" y="9"/>
                  </a:lnTo>
                  <a:lnTo>
                    <a:pt x="188" y="9"/>
                  </a:lnTo>
                  <a:lnTo>
                    <a:pt x="188" y="12"/>
                  </a:lnTo>
                  <a:lnTo>
                    <a:pt x="194" y="25"/>
                  </a:lnTo>
                  <a:lnTo>
                    <a:pt x="207" y="25"/>
                  </a:lnTo>
                  <a:lnTo>
                    <a:pt x="213" y="28"/>
                  </a:lnTo>
                  <a:lnTo>
                    <a:pt x="207" y="41"/>
                  </a:lnTo>
                  <a:lnTo>
                    <a:pt x="213" y="51"/>
                  </a:lnTo>
                  <a:lnTo>
                    <a:pt x="217" y="54"/>
                  </a:lnTo>
                  <a:lnTo>
                    <a:pt x="217" y="66"/>
                  </a:lnTo>
                  <a:lnTo>
                    <a:pt x="223" y="66"/>
                  </a:lnTo>
                  <a:lnTo>
                    <a:pt x="229" y="57"/>
                  </a:lnTo>
                  <a:lnTo>
                    <a:pt x="236" y="57"/>
                  </a:lnTo>
                  <a:lnTo>
                    <a:pt x="223" y="41"/>
                  </a:lnTo>
                  <a:lnTo>
                    <a:pt x="229" y="41"/>
                  </a:lnTo>
                  <a:lnTo>
                    <a:pt x="252" y="54"/>
                  </a:lnTo>
                  <a:lnTo>
                    <a:pt x="271" y="54"/>
                  </a:lnTo>
                  <a:lnTo>
                    <a:pt x="264" y="57"/>
                  </a:lnTo>
                  <a:lnTo>
                    <a:pt x="277" y="70"/>
                  </a:lnTo>
                  <a:lnTo>
                    <a:pt x="299" y="66"/>
                  </a:lnTo>
                  <a:lnTo>
                    <a:pt x="318" y="70"/>
                  </a:lnTo>
                  <a:lnTo>
                    <a:pt x="350" y="95"/>
                  </a:lnTo>
                  <a:lnTo>
                    <a:pt x="357" y="111"/>
                  </a:lnTo>
                  <a:lnTo>
                    <a:pt x="369" y="111"/>
                  </a:lnTo>
                  <a:lnTo>
                    <a:pt x="376" y="108"/>
                  </a:lnTo>
                  <a:lnTo>
                    <a:pt x="389" y="111"/>
                  </a:lnTo>
                  <a:lnTo>
                    <a:pt x="398" y="114"/>
                  </a:lnTo>
                  <a:lnTo>
                    <a:pt x="398" y="136"/>
                  </a:lnTo>
                  <a:lnTo>
                    <a:pt x="376" y="127"/>
                  </a:lnTo>
                  <a:lnTo>
                    <a:pt x="363" y="140"/>
                  </a:lnTo>
                  <a:lnTo>
                    <a:pt x="347" y="140"/>
                  </a:lnTo>
                  <a:lnTo>
                    <a:pt x="334" y="156"/>
                  </a:lnTo>
                  <a:lnTo>
                    <a:pt x="309" y="156"/>
                  </a:lnTo>
                  <a:lnTo>
                    <a:pt x="293" y="168"/>
                  </a:lnTo>
                  <a:lnTo>
                    <a:pt x="287" y="165"/>
                  </a:lnTo>
                  <a:lnTo>
                    <a:pt x="277" y="165"/>
                  </a:lnTo>
                  <a:lnTo>
                    <a:pt x="258" y="168"/>
                  </a:lnTo>
                  <a:lnTo>
                    <a:pt x="236" y="165"/>
                  </a:lnTo>
                  <a:lnTo>
                    <a:pt x="229" y="156"/>
                  </a:lnTo>
                  <a:lnTo>
                    <a:pt x="213" y="165"/>
                  </a:lnTo>
                  <a:lnTo>
                    <a:pt x="194" y="165"/>
                  </a:lnTo>
                  <a:lnTo>
                    <a:pt x="185" y="152"/>
                  </a:lnTo>
                  <a:lnTo>
                    <a:pt x="166" y="152"/>
                  </a:lnTo>
                  <a:lnTo>
                    <a:pt x="156" y="143"/>
                  </a:lnTo>
                  <a:lnTo>
                    <a:pt x="147" y="156"/>
                  </a:lnTo>
                  <a:lnTo>
                    <a:pt x="143" y="165"/>
                  </a:lnTo>
                  <a:lnTo>
                    <a:pt x="143" y="168"/>
                  </a:lnTo>
                  <a:lnTo>
                    <a:pt x="127" y="168"/>
                  </a:lnTo>
                  <a:lnTo>
                    <a:pt x="118" y="175"/>
                  </a:lnTo>
                  <a:lnTo>
                    <a:pt x="96" y="165"/>
                  </a:lnTo>
                  <a:lnTo>
                    <a:pt x="86" y="165"/>
                  </a:lnTo>
                  <a:lnTo>
                    <a:pt x="86" y="156"/>
                  </a:lnTo>
                  <a:lnTo>
                    <a:pt x="64" y="136"/>
                  </a:lnTo>
                  <a:lnTo>
                    <a:pt x="57" y="127"/>
                  </a:lnTo>
                  <a:lnTo>
                    <a:pt x="32" y="114"/>
                  </a:lnTo>
                  <a:lnTo>
                    <a:pt x="29" y="111"/>
                  </a:lnTo>
                  <a:lnTo>
                    <a:pt x="19" y="98"/>
                  </a:lnTo>
                  <a:lnTo>
                    <a:pt x="19" y="86"/>
                  </a:lnTo>
                  <a:lnTo>
                    <a:pt x="7" y="70"/>
                  </a:lnTo>
                  <a:lnTo>
                    <a:pt x="0" y="57"/>
                  </a:lnTo>
                  <a:lnTo>
                    <a:pt x="0" y="54"/>
                  </a:lnTo>
                  <a:lnTo>
                    <a:pt x="0" y="51"/>
                  </a:lnTo>
                  <a:lnTo>
                    <a:pt x="3" y="54"/>
                  </a:lnTo>
                  <a:lnTo>
                    <a:pt x="16" y="57"/>
                  </a:lnTo>
                  <a:lnTo>
                    <a:pt x="32" y="41"/>
                  </a:lnTo>
                  <a:lnTo>
                    <a:pt x="45" y="41"/>
                  </a:lnTo>
                  <a:lnTo>
                    <a:pt x="57" y="25"/>
                  </a:lnTo>
                  <a:lnTo>
                    <a:pt x="64" y="25"/>
                  </a:lnTo>
                  <a:lnTo>
                    <a:pt x="73" y="15"/>
                  </a:lnTo>
                  <a:lnTo>
                    <a:pt x="89" y="15"/>
                  </a:lnTo>
                  <a:lnTo>
                    <a:pt x="96" y="15"/>
                  </a:lnTo>
                  <a:lnTo>
                    <a:pt x="105" y="12"/>
                  </a:lnTo>
                  <a:lnTo>
                    <a:pt x="105" y="0"/>
                  </a:lnTo>
                  <a:lnTo>
                    <a:pt x="127" y="9"/>
                  </a:lnTo>
                  <a:lnTo>
                    <a:pt x="131" y="0"/>
                  </a:lnTo>
                  <a:lnTo>
                    <a:pt x="137" y="9"/>
                  </a:lnTo>
                  <a:lnTo>
                    <a:pt x="143" y="0"/>
                  </a:lnTo>
                  <a:lnTo>
                    <a:pt x="143" y="0"/>
                  </a:lnTo>
                  <a:lnTo>
                    <a:pt x="143" y="0"/>
                  </a:lnTo>
                  <a:close/>
                </a:path>
              </a:pathLst>
            </a:custGeom>
            <a:pattFill prst="dkDnDiag">
              <a:fgClr>
                <a:schemeClr val="accent3"/>
              </a:fgClr>
              <a:bgClr>
                <a:schemeClr val="bg1"/>
              </a:bgClr>
            </a:pattFill>
            <a:ln w="6350">
              <a:solidFill>
                <a:schemeClr val="accent2"/>
              </a:solidFill>
              <a:round/>
              <a:headEnd/>
              <a:tailEnd/>
            </a:ln>
          </p:spPr>
          <p:txBody>
            <a:bodyPr/>
            <a:lstStyle/>
            <a:p>
              <a:endParaRPr lang="de-DE" dirty="0"/>
            </a:p>
          </p:txBody>
        </p:sp>
        <p:sp>
          <p:nvSpPr>
            <p:cNvPr id="219" name="Freeform 58"/>
            <p:cNvSpPr>
              <a:spLocks/>
            </p:cNvSpPr>
            <p:nvPr/>
          </p:nvSpPr>
          <p:spPr bwMode="gray">
            <a:xfrm>
              <a:off x="2853" y="1607"/>
              <a:ext cx="398" cy="175"/>
            </a:xfrm>
            <a:custGeom>
              <a:avLst/>
              <a:gdLst>
                <a:gd name="T0" fmla="*/ 143 w 398"/>
                <a:gd name="T1" fmla="*/ 12 h 175"/>
                <a:gd name="T2" fmla="*/ 159 w 398"/>
                <a:gd name="T3" fmla="*/ 9 h 175"/>
                <a:gd name="T4" fmla="*/ 188 w 398"/>
                <a:gd name="T5" fmla="*/ 9 h 175"/>
                <a:gd name="T6" fmla="*/ 194 w 398"/>
                <a:gd name="T7" fmla="*/ 25 h 175"/>
                <a:gd name="T8" fmla="*/ 213 w 398"/>
                <a:gd name="T9" fmla="*/ 28 h 175"/>
                <a:gd name="T10" fmla="*/ 213 w 398"/>
                <a:gd name="T11" fmla="*/ 51 h 175"/>
                <a:gd name="T12" fmla="*/ 217 w 398"/>
                <a:gd name="T13" fmla="*/ 66 h 175"/>
                <a:gd name="T14" fmla="*/ 229 w 398"/>
                <a:gd name="T15" fmla="*/ 57 h 175"/>
                <a:gd name="T16" fmla="*/ 223 w 398"/>
                <a:gd name="T17" fmla="*/ 41 h 175"/>
                <a:gd name="T18" fmla="*/ 252 w 398"/>
                <a:gd name="T19" fmla="*/ 54 h 175"/>
                <a:gd name="T20" fmla="*/ 264 w 398"/>
                <a:gd name="T21" fmla="*/ 57 h 175"/>
                <a:gd name="T22" fmla="*/ 299 w 398"/>
                <a:gd name="T23" fmla="*/ 66 h 175"/>
                <a:gd name="T24" fmla="*/ 350 w 398"/>
                <a:gd name="T25" fmla="*/ 95 h 175"/>
                <a:gd name="T26" fmla="*/ 369 w 398"/>
                <a:gd name="T27" fmla="*/ 111 h 175"/>
                <a:gd name="T28" fmla="*/ 389 w 398"/>
                <a:gd name="T29" fmla="*/ 111 h 175"/>
                <a:gd name="T30" fmla="*/ 398 w 398"/>
                <a:gd name="T31" fmla="*/ 136 h 175"/>
                <a:gd name="T32" fmla="*/ 363 w 398"/>
                <a:gd name="T33" fmla="*/ 140 h 175"/>
                <a:gd name="T34" fmla="*/ 334 w 398"/>
                <a:gd name="T35" fmla="*/ 156 h 175"/>
                <a:gd name="T36" fmla="*/ 293 w 398"/>
                <a:gd name="T37" fmla="*/ 168 h 175"/>
                <a:gd name="T38" fmla="*/ 277 w 398"/>
                <a:gd name="T39" fmla="*/ 165 h 175"/>
                <a:gd name="T40" fmla="*/ 236 w 398"/>
                <a:gd name="T41" fmla="*/ 165 h 175"/>
                <a:gd name="T42" fmla="*/ 213 w 398"/>
                <a:gd name="T43" fmla="*/ 165 h 175"/>
                <a:gd name="T44" fmla="*/ 185 w 398"/>
                <a:gd name="T45" fmla="*/ 152 h 175"/>
                <a:gd name="T46" fmla="*/ 156 w 398"/>
                <a:gd name="T47" fmla="*/ 143 h 175"/>
                <a:gd name="T48" fmla="*/ 143 w 398"/>
                <a:gd name="T49" fmla="*/ 165 h 175"/>
                <a:gd name="T50" fmla="*/ 127 w 398"/>
                <a:gd name="T51" fmla="*/ 168 h 175"/>
                <a:gd name="T52" fmla="*/ 96 w 398"/>
                <a:gd name="T53" fmla="*/ 165 h 175"/>
                <a:gd name="T54" fmla="*/ 86 w 398"/>
                <a:gd name="T55" fmla="*/ 156 h 175"/>
                <a:gd name="T56" fmla="*/ 57 w 398"/>
                <a:gd name="T57" fmla="*/ 127 h 175"/>
                <a:gd name="T58" fmla="*/ 29 w 398"/>
                <a:gd name="T59" fmla="*/ 111 h 175"/>
                <a:gd name="T60" fmla="*/ 19 w 398"/>
                <a:gd name="T61" fmla="*/ 86 h 175"/>
                <a:gd name="T62" fmla="*/ 0 w 398"/>
                <a:gd name="T63" fmla="*/ 57 h 175"/>
                <a:gd name="T64" fmla="*/ 0 w 398"/>
                <a:gd name="T65" fmla="*/ 51 h 175"/>
                <a:gd name="T66" fmla="*/ 16 w 398"/>
                <a:gd name="T67" fmla="*/ 57 h 175"/>
                <a:gd name="T68" fmla="*/ 45 w 398"/>
                <a:gd name="T69" fmla="*/ 41 h 175"/>
                <a:gd name="T70" fmla="*/ 64 w 398"/>
                <a:gd name="T71" fmla="*/ 25 h 175"/>
                <a:gd name="T72" fmla="*/ 89 w 398"/>
                <a:gd name="T73" fmla="*/ 15 h 175"/>
                <a:gd name="T74" fmla="*/ 105 w 398"/>
                <a:gd name="T75" fmla="*/ 12 h 175"/>
                <a:gd name="T76" fmla="*/ 127 w 398"/>
                <a:gd name="T77" fmla="*/ 9 h 175"/>
                <a:gd name="T78" fmla="*/ 137 w 398"/>
                <a:gd name="T79" fmla="*/ 9 h 175"/>
                <a:gd name="T80" fmla="*/ 143 w 398"/>
                <a:gd name="T81" fmla="*/ 0 h 17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98" h="175">
                  <a:moveTo>
                    <a:pt x="143" y="0"/>
                  </a:moveTo>
                  <a:lnTo>
                    <a:pt x="143" y="12"/>
                  </a:lnTo>
                  <a:lnTo>
                    <a:pt x="147" y="9"/>
                  </a:lnTo>
                  <a:lnTo>
                    <a:pt x="159" y="9"/>
                  </a:lnTo>
                  <a:lnTo>
                    <a:pt x="166" y="9"/>
                  </a:lnTo>
                  <a:lnTo>
                    <a:pt x="188" y="9"/>
                  </a:lnTo>
                  <a:lnTo>
                    <a:pt x="188" y="12"/>
                  </a:lnTo>
                  <a:lnTo>
                    <a:pt x="194" y="25"/>
                  </a:lnTo>
                  <a:lnTo>
                    <a:pt x="207" y="25"/>
                  </a:lnTo>
                  <a:lnTo>
                    <a:pt x="213" y="28"/>
                  </a:lnTo>
                  <a:lnTo>
                    <a:pt x="207" y="41"/>
                  </a:lnTo>
                  <a:lnTo>
                    <a:pt x="213" y="51"/>
                  </a:lnTo>
                  <a:lnTo>
                    <a:pt x="217" y="54"/>
                  </a:lnTo>
                  <a:lnTo>
                    <a:pt x="217" y="66"/>
                  </a:lnTo>
                  <a:lnTo>
                    <a:pt x="223" y="66"/>
                  </a:lnTo>
                  <a:lnTo>
                    <a:pt x="229" y="57"/>
                  </a:lnTo>
                  <a:lnTo>
                    <a:pt x="236" y="57"/>
                  </a:lnTo>
                  <a:lnTo>
                    <a:pt x="223" y="41"/>
                  </a:lnTo>
                  <a:lnTo>
                    <a:pt x="229" y="41"/>
                  </a:lnTo>
                  <a:lnTo>
                    <a:pt x="252" y="54"/>
                  </a:lnTo>
                  <a:lnTo>
                    <a:pt x="271" y="54"/>
                  </a:lnTo>
                  <a:lnTo>
                    <a:pt x="264" y="57"/>
                  </a:lnTo>
                  <a:lnTo>
                    <a:pt x="277" y="70"/>
                  </a:lnTo>
                  <a:lnTo>
                    <a:pt x="299" y="66"/>
                  </a:lnTo>
                  <a:lnTo>
                    <a:pt x="318" y="70"/>
                  </a:lnTo>
                  <a:lnTo>
                    <a:pt x="350" y="95"/>
                  </a:lnTo>
                  <a:lnTo>
                    <a:pt x="357" y="111"/>
                  </a:lnTo>
                  <a:lnTo>
                    <a:pt x="369" y="111"/>
                  </a:lnTo>
                  <a:lnTo>
                    <a:pt x="376" y="108"/>
                  </a:lnTo>
                  <a:lnTo>
                    <a:pt x="389" y="111"/>
                  </a:lnTo>
                  <a:lnTo>
                    <a:pt x="398" y="114"/>
                  </a:lnTo>
                  <a:lnTo>
                    <a:pt x="398" y="136"/>
                  </a:lnTo>
                  <a:lnTo>
                    <a:pt x="376" y="127"/>
                  </a:lnTo>
                  <a:lnTo>
                    <a:pt x="363" y="140"/>
                  </a:lnTo>
                  <a:lnTo>
                    <a:pt x="347" y="140"/>
                  </a:lnTo>
                  <a:lnTo>
                    <a:pt x="334" y="156"/>
                  </a:lnTo>
                  <a:lnTo>
                    <a:pt x="309" y="156"/>
                  </a:lnTo>
                  <a:lnTo>
                    <a:pt x="293" y="168"/>
                  </a:lnTo>
                  <a:lnTo>
                    <a:pt x="287" y="165"/>
                  </a:lnTo>
                  <a:lnTo>
                    <a:pt x="277" y="165"/>
                  </a:lnTo>
                  <a:lnTo>
                    <a:pt x="258" y="168"/>
                  </a:lnTo>
                  <a:lnTo>
                    <a:pt x="236" y="165"/>
                  </a:lnTo>
                  <a:lnTo>
                    <a:pt x="229" y="156"/>
                  </a:lnTo>
                  <a:lnTo>
                    <a:pt x="213" y="165"/>
                  </a:lnTo>
                  <a:lnTo>
                    <a:pt x="194" y="165"/>
                  </a:lnTo>
                  <a:lnTo>
                    <a:pt x="185" y="152"/>
                  </a:lnTo>
                  <a:lnTo>
                    <a:pt x="166" y="152"/>
                  </a:lnTo>
                  <a:lnTo>
                    <a:pt x="156" y="143"/>
                  </a:lnTo>
                  <a:lnTo>
                    <a:pt x="147" y="156"/>
                  </a:lnTo>
                  <a:lnTo>
                    <a:pt x="143" y="165"/>
                  </a:lnTo>
                  <a:lnTo>
                    <a:pt x="143" y="168"/>
                  </a:lnTo>
                  <a:lnTo>
                    <a:pt x="127" y="168"/>
                  </a:lnTo>
                  <a:lnTo>
                    <a:pt x="118" y="175"/>
                  </a:lnTo>
                  <a:lnTo>
                    <a:pt x="96" y="165"/>
                  </a:lnTo>
                  <a:lnTo>
                    <a:pt x="86" y="165"/>
                  </a:lnTo>
                  <a:lnTo>
                    <a:pt x="86" y="156"/>
                  </a:lnTo>
                  <a:lnTo>
                    <a:pt x="64" y="136"/>
                  </a:lnTo>
                  <a:lnTo>
                    <a:pt x="57" y="127"/>
                  </a:lnTo>
                  <a:lnTo>
                    <a:pt x="32" y="114"/>
                  </a:lnTo>
                  <a:lnTo>
                    <a:pt x="29" y="111"/>
                  </a:lnTo>
                  <a:lnTo>
                    <a:pt x="19" y="98"/>
                  </a:lnTo>
                  <a:lnTo>
                    <a:pt x="19" y="86"/>
                  </a:lnTo>
                  <a:lnTo>
                    <a:pt x="7" y="70"/>
                  </a:lnTo>
                  <a:lnTo>
                    <a:pt x="0" y="57"/>
                  </a:lnTo>
                  <a:lnTo>
                    <a:pt x="0" y="54"/>
                  </a:lnTo>
                  <a:lnTo>
                    <a:pt x="0" y="51"/>
                  </a:lnTo>
                  <a:lnTo>
                    <a:pt x="3" y="54"/>
                  </a:lnTo>
                  <a:lnTo>
                    <a:pt x="16" y="57"/>
                  </a:lnTo>
                  <a:lnTo>
                    <a:pt x="32" y="41"/>
                  </a:lnTo>
                  <a:lnTo>
                    <a:pt x="45" y="41"/>
                  </a:lnTo>
                  <a:lnTo>
                    <a:pt x="57" y="25"/>
                  </a:lnTo>
                  <a:lnTo>
                    <a:pt x="64" y="25"/>
                  </a:lnTo>
                  <a:lnTo>
                    <a:pt x="73" y="15"/>
                  </a:lnTo>
                  <a:lnTo>
                    <a:pt x="89" y="15"/>
                  </a:lnTo>
                  <a:lnTo>
                    <a:pt x="96" y="15"/>
                  </a:lnTo>
                  <a:lnTo>
                    <a:pt x="105" y="12"/>
                  </a:lnTo>
                  <a:lnTo>
                    <a:pt x="105" y="0"/>
                  </a:lnTo>
                  <a:lnTo>
                    <a:pt x="127" y="9"/>
                  </a:lnTo>
                  <a:lnTo>
                    <a:pt x="131" y="0"/>
                  </a:lnTo>
                  <a:lnTo>
                    <a:pt x="137" y="9"/>
                  </a:lnTo>
                  <a:lnTo>
                    <a:pt x="143" y="0"/>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220" name="Freeform 59"/>
            <p:cNvSpPr>
              <a:spLocks/>
            </p:cNvSpPr>
            <p:nvPr/>
          </p:nvSpPr>
          <p:spPr bwMode="gray">
            <a:xfrm>
              <a:off x="2541" y="1317"/>
              <a:ext cx="455" cy="547"/>
            </a:xfrm>
            <a:custGeom>
              <a:avLst/>
              <a:gdLst>
                <a:gd name="T0" fmla="*/ 163 w 455"/>
                <a:gd name="T1" fmla="*/ 6 h 547"/>
                <a:gd name="T2" fmla="*/ 191 w 455"/>
                <a:gd name="T3" fmla="*/ 29 h 547"/>
                <a:gd name="T4" fmla="*/ 201 w 455"/>
                <a:gd name="T5" fmla="*/ 54 h 547"/>
                <a:gd name="T6" fmla="*/ 223 w 455"/>
                <a:gd name="T7" fmla="*/ 48 h 547"/>
                <a:gd name="T8" fmla="*/ 255 w 455"/>
                <a:gd name="T9" fmla="*/ 48 h 547"/>
                <a:gd name="T10" fmla="*/ 229 w 455"/>
                <a:gd name="T11" fmla="*/ 70 h 547"/>
                <a:gd name="T12" fmla="*/ 258 w 455"/>
                <a:gd name="T13" fmla="*/ 83 h 547"/>
                <a:gd name="T14" fmla="*/ 299 w 455"/>
                <a:gd name="T15" fmla="*/ 60 h 547"/>
                <a:gd name="T16" fmla="*/ 315 w 455"/>
                <a:gd name="T17" fmla="*/ 41 h 547"/>
                <a:gd name="T18" fmla="*/ 315 w 455"/>
                <a:gd name="T19" fmla="*/ 48 h 547"/>
                <a:gd name="T20" fmla="*/ 341 w 455"/>
                <a:gd name="T21" fmla="*/ 48 h 547"/>
                <a:gd name="T22" fmla="*/ 369 w 455"/>
                <a:gd name="T23" fmla="*/ 70 h 547"/>
                <a:gd name="T24" fmla="*/ 398 w 455"/>
                <a:gd name="T25" fmla="*/ 92 h 547"/>
                <a:gd name="T26" fmla="*/ 427 w 455"/>
                <a:gd name="T27" fmla="*/ 121 h 547"/>
                <a:gd name="T28" fmla="*/ 427 w 455"/>
                <a:gd name="T29" fmla="*/ 175 h 547"/>
                <a:gd name="T30" fmla="*/ 439 w 455"/>
                <a:gd name="T31" fmla="*/ 216 h 547"/>
                <a:gd name="T32" fmla="*/ 455 w 455"/>
                <a:gd name="T33" fmla="*/ 261 h 547"/>
                <a:gd name="T34" fmla="*/ 439 w 455"/>
                <a:gd name="T35" fmla="*/ 299 h 547"/>
                <a:gd name="T36" fmla="*/ 404 w 455"/>
                <a:gd name="T37" fmla="*/ 305 h 547"/>
                <a:gd name="T38" fmla="*/ 357 w 455"/>
                <a:gd name="T39" fmla="*/ 331 h 547"/>
                <a:gd name="T40" fmla="*/ 312 w 455"/>
                <a:gd name="T41" fmla="*/ 341 h 547"/>
                <a:gd name="T42" fmla="*/ 334 w 455"/>
                <a:gd name="T43" fmla="*/ 379 h 547"/>
                <a:gd name="T44" fmla="*/ 369 w 455"/>
                <a:gd name="T45" fmla="*/ 420 h 547"/>
                <a:gd name="T46" fmla="*/ 398 w 455"/>
                <a:gd name="T47" fmla="*/ 471 h 547"/>
                <a:gd name="T48" fmla="*/ 357 w 455"/>
                <a:gd name="T49" fmla="*/ 506 h 547"/>
                <a:gd name="T50" fmla="*/ 363 w 455"/>
                <a:gd name="T51" fmla="*/ 535 h 547"/>
                <a:gd name="T52" fmla="*/ 322 w 455"/>
                <a:gd name="T53" fmla="*/ 531 h 547"/>
                <a:gd name="T54" fmla="*/ 274 w 455"/>
                <a:gd name="T55" fmla="*/ 541 h 547"/>
                <a:gd name="T56" fmla="*/ 233 w 455"/>
                <a:gd name="T57" fmla="*/ 547 h 547"/>
                <a:gd name="T58" fmla="*/ 204 w 455"/>
                <a:gd name="T59" fmla="*/ 541 h 547"/>
                <a:gd name="T60" fmla="*/ 172 w 455"/>
                <a:gd name="T61" fmla="*/ 531 h 547"/>
                <a:gd name="T62" fmla="*/ 147 w 455"/>
                <a:gd name="T63" fmla="*/ 525 h 547"/>
                <a:gd name="T64" fmla="*/ 127 w 455"/>
                <a:gd name="T65" fmla="*/ 535 h 547"/>
                <a:gd name="T66" fmla="*/ 102 w 455"/>
                <a:gd name="T67" fmla="*/ 525 h 547"/>
                <a:gd name="T68" fmla="*/ 102 w 455"/>
                <a:gd name="T69" fmla="*/ 477 h 547"/>
                <a:gd name="T70" fmla="*/ 105 w 455"/>
                <a:gd name="T71" fmla="*/ 436 h 547"/>
                <a:gd name="T72" fmla="*/ 70 w 455"/>
                <a:gd name="T73" fmla="*/ 430 h 547"/>
                <a:gd name="T74" fmla="*/ 45 w 455"/>
                <a:gd name="T75" fmla="*/ 420 h 547"/>
                <a:gd name="T76" fmla="*/ 29 w 455"/>
                <a:gd name="T77" fmla="*/ 385 h 547"/>
                <a:gd name="T78" fmla="*/ 16 w 455"/>
                <a:gd name="T79" fmla="*/ 344 h 547"/>
                <a:gd name="T80" fmla="*/ 3 w 455"/>
                <a:gd name="T81" fmla="*/ 302 h 547"/>
                <a:gd name="T82" fmla="*/ 3 w 455"/>
                <a:gd name="T83" fmla="*/ 258 h 547"/>
                <a:gd name="T84" fmla="*/ 48 w 455"/>
                <a:gd name="T85" fmla="*/ 232 h 547"/>
                <a:gd name="T86" fmla="*/ 61 w 455"/>
                <a:gd name="T87" fmla="*/ 204 h 547"/>
                <a:gd name="T88" fmla="*/ 45 w 455"/>
                <a:gd name="T89" fmla="*/ 188 h 547"/>
                <a:gd name="T90" fmla="*/ 70 w 455"/>
                <a:gd name="T91" fmla="*/ 162 h 547"/>
                <a:gd name="T92" fmla="*/ 73 w 455"/>
                <a:gd name="T93" fmla="*/ 143 h 547"/>
                <a:gd name="T94" fmla="*/ 57 w 455"/>
                <a:gd name="T95" fmla="*/ 118 h 547"/>
                <a:gd name="T96" fmla="*/ 102 w 455"/>
                <a:gd name="T97" fmla="*/ 105 h 547"/>
                <a:gd name="T98" fmla="*/ 105 w 455"/>
                <a:gd name="T99" fmla="*/ 111 h 547"/>
                <a:gd name="T100" fmla="*/ 118 w 455"/>
                <a:gd name="T101" fmla="*/ 121 h 547"/>
                <a:gd name="T102" fmla="*/ 127 w 455"/>
                <a:gd name="T103" fmla="*/ 102 h 547"/>
                <a:gd name="T104" fmla="*/ 159 w 455"/>
                <a:gd name="T105" fmla="*/ 89 h 547"/>
                <a:gd name="T106" fmla="*/ 163 w 455"/>
                <a:gd name="T107" fmla="*/ 89 h 547"/>
                <a:gd name="T108" fmla="*/ 156 w 455"/>
                <a:gd name="T109" fmla="*/ 64 h 547"/>
                <a:gd name="T110" fmla="*/ 131 w 455"/>
                <a:gd name="T111" fmla="*/ 41 h 547"/>
                <a:gd name="T112" fmla="*/ 134 w 455"/>
                <a:gd name="T113" fmla="*/ 19 h 547"/>
                <a:gd name="T114" fmla="*/ 127 w 455"/>
                <a:gd name="T115" fmla="*/ 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5" h="547">
                  <a:moveTo>
                    <a:pt x="127" y="0"/>
                  </a:moveTo>
                  <a:lnTo>
                    <a:pt x="143" y="0"/>
                  </a:lnTo>
                  <a:lnTo>
                    <a:pt x="159" y="6"/>
                  </a:lnTo>
                  <a:lnTo>
                    <a:pt x="163" y="6"/>
                  </a:lnTo>
                  <a:lnTo>
                    <a:pt x="175" y="6"/>
                  </a:lnTo>
                  <a:lnTo>
                    <a:pt x="188" y="19"/>
                  </a:lnTo>
                  <a:lnTo>
                    <a:pt x="201" y="19"/>
                  </a:lnTo>
                  <a:lnTo>
                    <a:pt x="191" y="29"/>
                  </a:lnTo>
                  <a:lnTo>
                    <a:pt x="188" y="35"/>
                  </a:lnTo>
                  <a:lnTo>
                    <a:pt x="188" y="41"/>
                  </a:lnTo>
                  <a:lnTo>
                    <a:pt x="201" y="48"/>
                  </a:lnTo>
                  <a:lnTo>
                    <a:pt x="201" y="54"/>
                  </a:lnTo>
                  <a:lnTo>
                    <a:pt x="213" y="48"/>
                  </a:lnTo>
                  <a:lnTo>
                    <a:pt x="213" y="41"/>
                  </a:lnTo>
                  <a:lnTo>
                    <a:pt x="217" y="41"/>
                  </a:lnTo>
                  <a:lnTo>
                    <a:pt x="223" y="48"/>
                  </a:lnTo>
                  <a:lnTo>
                    <a:pt x="233" y="60"/>
                  </a:lnTo>
                  <a:lnTo>
                    <a:pt x="242" y="54"/>
                  </a:lnTo>
                  <a:lnTo>
                    <a:pt x="245" y="48"/>
                  </a:lnTo>
                  <a:lnTo>
                    <a:pt x="255" y="48"/>
                  </a:lnTo>
                  <a:lnTo>
                    <a:pt x="255" y="60"/>
                  </a:lnTo>
                  <a:lnTo>
                    <a:pt x="245" y="64"/>
                  </a:lnTo>
                  <a:lnTo>
                    <a:pt x="242" y="64"/>
                  </a:lnTo>
                  <a:lnTo>
                    <a:pt x="229" y="70"/>
                  </a:lnTo>
                  <a:lnTo>
                    <a:pt x="242" y="76"/>
                  </a:lnTo>
                  <a:lnTo>
                    <a:pt x="245" y="76"/>
                  </a:lnTo>
                  <a:lnTo>
                    <a:pt x="258" y="76"/>
                  </a:lnTo>
                  <a:lnTo>
                    <a:pt x="258" y="83"/>
                  </a:lnTo>
                  <a:lnTo>
                    <a:pt x="271" y="83"/>
                  </a:lnTo>
                  <a:lnTo>
                    <a:pt x="274" y="70"/>
                  </a:lnTo>
                  <a:lnTo>
                    <a:pt x="283" y="60"/>
                  </a:lnTo>
                  <a:lnTo>
                    <a:pt x="299" y="60"/>
                  </a:lnTo>
                  <a:lnTo>
                    <a:pt x="303" y="54"/>
                  </a:lnTo>
                  <a:lnTo>
                    <a:pt x="312" y="48"/>
                  </a:lnTo>
                  <a:lnTo>
                    <a:pt x="315" y="41"/>
                  </a:lnTo>
                  <a:lnTo>
                    <a:pt x="315" y="41"/>
                  </a:lnTo>
                  <a:lnTo>
                    <a:pt x="334" y="41"/>
                  </a:lnTo>
                  <a:lnTo>
                    <a:pt x="322" y="48"/>
                  </a:lnTo>
                  <a:lnTo>
                    <a:pt x="315" y="48"/>
                  </a:lnTo>
                  <a:lnTo>
                    <a:pt x="315" y="48"/>
                  </a:lnTo>
                  <a:lnTo>
                    <a:pt x="312" y="54"/>
                  </a:lnTo>
                  <a:lnTo>
                    <a:pt x="315" y="60"/>
                  </a:lnTo>
                  <a:lnTo>
                    <a:pt x="328" y="54"/>
                  </a:lnTo>
                  <a:lnTo>
                    <a:pt x="341" y="48"/>
                  </a:lnTo>
                  <a:lnTo>
                    <a:pt x="344" y="48"/>
                  </a:lnTo>
                  <a:lnTo>
                    <a:pt x="344" y="54"/>
                  </a:lnTo>
                  <a:lnTo>
                    <a:pt x="357" y="54"/>
                  </a:lnTo>
                  <a:lnTo>
                    <a:pt x="369" y="70"/>
                  </a:lnTo>
                  <a:lnTo>
                    <a:pt x="379" y="64"/>
                  </a:lnTo>
                  <a:lnTo>
                    <a:pt x="385" y="76"/>
                  </a:lnTo>
                  <a:lnTo>
                    <a:pt x="385" y="89"/>
                  </a:lnTo>
                  <a:lnTo>
                    <a:pt x="398" y="92"/>
                  </a:lnTo>
                  <a:lnTo>
                    <a:pt x="404" y="92"/>
                  </a:lnTo>
                  <a:lnTo>
                    <a:pt x="408" y="102"/>
                  </a:lnTo>
                  <a:lnTo>
                    <a:pt x="420" y="102"/>
                  </a:lnTo>
                  <a:lnTo>
                    <a:pt x="427" y="121"/>
                  </a:lnTo>
                  <a:lnTo>
                    <a:pt x="427" y="143"/>
                  </a:lnTo>
                  <a:lnTo>
                    <a:pt x="408" y="146"/>
                  </a:lnTo>
                  <a:lnTo>
                    <a:pt x="408" y="159"/>
                  </a:lnTo>
                  <a:lnTo>
                    <a:pt x="427" y="175"/>
                  </a:lnTo>
                  <a:lnTo>
                    <a:pt x="427" y="188"/>
                  </a:lnTo>
                  <a:lnTo>
                    <a:pt x="433" y="200"/>
                  </a:lnTo>
                  <a:lnTo>
                    <a:pt x="433" y="204"/>
                  </a:lnTo>
                  <a:lnTo>
                    <a:pt x="439" y="216"/>
                  </a:lnTo>
                  <a:lnTo>
                    <a:pt x="433" y="229"/>
                  </a:lnTo>
                  <a:lnTo>
                    <a:pt x="446" y="245"/>
                  </a:lnTo>
                  <a:lnTo>
                    <a:pt x="449" y="248"/>
                  </a:lnTo>
                  <a:lnTo>
                    <a:pt x="455" y="261"/>
                  </a:lnTo>
                  <a:lnTo>
                    <a:pt x="455" y="290"/>
                  </a:lnTo>
                  <a:lnTo>
                    <a:pt x="449" y="299"/>
                  </a:lnTo>
                  <a:lnTo>
                    <a:pt x="446" y="290"/>
                  </a:lnTo>
                  <a:lnTo>
                    <a:pt x="439" y="299"/>
                  </a:lnTo>
                  <a:lnTo>
                    <a:pt x="420" y="290"/>
                  </a:lnTo>
                  <a:lnTo>
                    <a:pt x="420" y="302"/>
                  </a:lnTo>
                  <a:lnTo>
                    <a:pt x="408" y="305"/>
                  </a:lnTo>
                  <a:lnTo>
                    <a:pt x="404" y="305"/>
                  </a:lnTo>
                  <a:lnTo>
                    <a:pt x="385" y="305"/>
                  </a:lnTo>
                  <a:lnTo>
                    <a:pt x="379" y="315"/>
                  </a:lnTo>
                  <a:lnTo>
                    <a:pt x="369" y="315"/>
                  </a:lnTo>
                  <a:lnTo>
                    <a:pt x="357" y="331"/>
                  </a:lnTo>
                  <a:lnTo>
                    <a:pt x="344" y="331"/>
                  </a:lnTo>
                  <a:lnTo>
                    <a:pt x="328" y="347"/>
                  </a:lnTo>
                  <a:lnTo>
                    <a:pt x="315" y="344"/>
                  </a:lnTo>
                  <a:lnTo>
                    <a:pt x="312" y="341"/>
                  </a:lnTo>
                  <a:lnTo>
                    <a:pt x="312" y="344"/>
                  </a:lnTo>
                  <a:lnTo>
                    <a:pt x="312" y="347"/>
                  </a:lnTo>
                  <a:lnTo>
                    <a:pt x="322" y="360"/>
                  </a:lnTo>
                  <a:lnTo>
                    <a:pt x="334" y="379"/>
                  </a:lnTo>
                  <a:lnTo>
                    <a:pt x="334" y="388"/>
                  </a:lnTo>
                  <a:lnTo>
                    <a:pt x="341" y="401"/>
                  </a:lnTo>
                  <a:lnTo>
                    <a:pt x="344" y="407"/>
                  </a:lnTo>
                  <a:lnTo>
                    <a:pt x="369" y="420"/>
                  </a:lnTo>
                  <a:lnTo>
                    <a:pt x="379" y="426"/>
                  </a:lnTo>
                  <a:lnTo>
                    <a:pt x="398" y="449"/>
                  </a:lnTo>
                  <a:lnTo>
                    <a:pt x="398" y="461"/>
                  </a:lnTo>
                  <a:lnTo>
                    <a:pt x="398" y="471"/>
                  </a:lnTo>
                  <a:lnTo>
                    <a:pt x="392" y="471"/>
                  </a:lnTo>
                  <a:lnTo>
                    <a:pt x="385" y="484"/>
                  </a:lnTo>
                  <a:lnTo>
                    <a:pt x="369" y="490"/>
                  </a:lnTo>
                  <a:lnTo>
                    <a:pt x="357" y="506"/>
                  </a:lnTo>
                  <a:lnTo>
                    <a:pt x="357" y="512"/>
                  </a:lnTo>
                  <a:lnTo>
                    <a:pt x="369" y="525"/>
                  </a:lnTo>
                  <a:lnTo>
                    <a:pt x="369" y="531"/>
                  </a:lnTo>
                  <a:lnTo>
                    <a:pt x="363" y="535"/>
                  </a:lnTo>
                  <a:lnTo>
                    <a:pt x="350" y="531"/>
                  </a:lnTo>
                  <a:lnTo>
                    <a:pt x="341" y="531"/>
                  </a:lnTo>
                  <a:lnTo>
                    <a:pt x="328" y="531"/>
                  </a:lnTo>
                  <a:lnTo>
                    <a:pt x="322" y="531"/>
                  </a:lnTo>
                  <a:lnTo>
                    <a:pt x="303" y="541"/>
                  </a:lnTo>
                  <a:lnTo>
                    <a:pt x="293" y="541"/>
                  </a:lnTo>
                  <a:lnTo>
                    <a:pt x="283" y="541"/>
                  </a:lnTo>
                  <a:lnTo>
                    <a:pt x="274" y="541"/>
                  </a:lnTo>
                  <a:lnTo>
                    <a:pt x="261" y="535"/>
                  </a:lnTo>
                  <a:lnTo>
                    <a:pt x="255" y="535"/>
                  </a:lnTo>
                  <a:lnTo>
                    <a:pt x="233" y="535"/>
                  </a:lnTo>
                  <a:lnTo>
                    <a:pt x="233" y="547"/>
                  </a:lnTo>
                  <a:lnTo>
                    <a:pt x="233" y="547"/>
                  </a:lnTo>
                  <a:lnTo>
                    <a:pt x="223" y="547"/>
                  </a:lnTo>
                  <a:lnTo>
                    <a:pt x="213" y="535"/>
                  </a:lnTo>
                  <a:lnTo>
                    <a:pt x="204" y="541"/>
                  </a:lnTo>
                  <a:lnTo>
                    <a:pt x="191" y="547"/>
                  </a:lnTo>
                  <a:lnTo>
                    <a:pt x="191" y="547"/>
                  </a:lnTo>
                  <a:lnTo>
                    <a:pt x="188" y="541"/>
                  </a:lnTo>
                  <a:lnTo>
                    <a:pt x="172" y="531"/>
                  </a:lnTo>
                  <a:lnTo>
                    <a:pt x="163" y="531"/>
                  </a:lnTo>
                  <a:lnTo>
                    <a:pt x="159" y="535"/>
                  </a:lnTo>
                  <a:lnTo>
                    <a:pt x="156" y="531"/>
                  </a:lnTo>
                  <a:lnTo>
                    <a:pt x="147" y="525"/>
                  </a:lnTo>
                  <a:lnTo>
                    <a:pt x="134" y="525"/>
                  </a:lnTo>
                  <a:lnTo>
                    <a:pt x="143" y="531"/>
                  </a:lnTo>
                  <a:lnTo>
                    <a:pt x="134" y="541"/>
                  </a:lnTo>
                  <a:lnTo>
                    <a:pt x="127" y="535"/>
                  </a:lnTo>
                  <a:lnTo>
                    <a:pt x="115" y="541"/>
                  </a:lnTo>
                  <a:lnTo>
                    <a:pt x="102" y="535"/>
                  </a:lnTo>
                  <a:lnTo>
                    <a:pt x="102" y="535"/>
                  </a:lnTo>
                  <a:lnTo>
                    <a:pt x="102" y="525"/>
                  </a:lnTo>
                  <a:lnTo>
                    <a:pt x="89" y="519"/>
                  </a:lnTo>
                  <a:lnTo>
                    <a:pt x="89" y="506"/>
                  </a:lnTo>
                  <a:lnTo>
                    <a:pt x="99" y="484"/>
                  </a:lnTo>
                  <a:lnTo>
                    <a:pt x="102" y="477"/>
                  </a:lnTo>
                  <a:lnTo>
                    <a:pt x="102" y="471"/>
                  </a:lnTo>
                  <a:lnTo>
                    <a:pt x="105" y="455"/>
                  </a:lnTo>
                  <a:lnTo>
                    <a:pt x="118" y="442"/>
                  </a:lnTo>
                  <a:lnTo>
                    <a:pt x="105" y="436"/>
                  </a:lnTo>
                  <a:lnTo>
                    <a:pt x="102" y="436"/>
                  </a:lnTo>
                  <a:lnTo>
                    <a:pt x="86" y="426"/>
                  </a:lnTo>
                  <a:lnTo>
                    <a:pt x="77" y="430"/>
                  </a:lnTo>
                  <a:lnTo>
                    <a:pt x="70" y="430"/>
                  </a:lnTo>
                  <a:lnTo>
                    <a:pt x="61" y="430"/>
                  </a:lnTo>
                  <a:lnTo>
                    <a:pt x="48" y="430"/>
                  </a:lnTo>
                  <a:lnTo>
                    <a:pt x="45" y="426"/>
                  </a:lnTo>
                  <a:lnTo>
                    <a:pt x="45" y="420"/>
                  </a:lnTo>
                  <a:lnTo>
                    <a:pt x="32" y="407"/>
                  </a:lnTo>
                  <a:lnTo>
                    <a:pt x="32" y="407"/>
                  </a:lnTo>
                  <a:lnTo>
                    <a:pt x="32" y="388"/>
                  </a:lnTo>
                  <a:lnTo>
                    <a:pt x="29" y="385"/>
                  </a:lnTo>
                  <a:lnTo>
                    <a:pt x="19" y="372"/>
                  </a:lnTo>
                  <a:lnTo>
                    <a:pt x="7" y="360"/>
                  </a:lnTo>
                  <a:lnTo>
                    <a:pt x="7" y="360"/>
                  </a:lnTo>
                  <a:lnTo>
                    <a:pt x="16" y="344"/>
                  </a:lnTo>
                  <a:lnTo>
                    <a:pt x="7" y="331"/>
                  </a:lnTo>
                  <a:lnTo>
                    <a:pt x="7" y="328"/>
                  </a:lnTo>
                  <a:lnTo>
                    <a:pt x="0" y="305"/>
                  </a:lnTo>
                  <a:lnTo>
                    <a:pt x="3" y="302"/>
                  </a:lnTo>
                  <a:lnTo>
                    <a:pt x="3" y="302"/>
                  </a:lnTo>
                  <a:lnTo>
                    <a:pt x="3" y="290"/>
                  </a:lnTo>
                  <a:lnTo>
                    <a:pt x="7" y="270"/>
                  </a:lnTo>
                  <a:lnTo>
                    <a:pt x="3" y="258"/>
                  </a:lnTo>
                  <a:lnTo>
                    <a:pt x="16" y="245"/>
                  </a:lnTo>
                  <a:lnTo>
                    <a:pt x="19" y="232"/>
                  </a:lnTo>
                  <a:lnTo>
                    <a:pt x="32" y="232"/>
                  </a:lnTo>
                  <a:lnTo>
                    <a:pt x="48" y="232"/>
                  </a:lnTo>
                  <a:lnTo>
                    <a:pt x="57" y="229"/>
                  </a:lnTo>
                  <a:lnTo>
                    <a:pt x="48" y="220"/>
                  </a:lnTo>
                  <a:lnTo>
                    <a:pt x="57" y="216"/>
                  </a:lnTo>
                  <a:lnTo>
                    <a:pt x="61" y="204"/>
                  </a:lnTo>
                  <a:lnTo>
                    <a:pt x="61" y="200"/>
                  </a:lnTo>
                  <a:lnTo>
                    <a:pt x="57" y="191"/>
                  </a:lnTo>
                  <a:lnTo>
                    <a:pt x="45" y="191"/>
                  </a:lnTo>
                  <a:lnTo>
                    <a:pt x="45" y="188"/>
                  </a:lnTo>
                  <a:lnTo>
                    <a:pt x="45" y="175"/>
                  </a:lnTo>
                  <a:lnTo>
                    <a:pt x="57" y="185"/>
                  </a:lnTo>
                  <a:lnTo>
                    <a:pt x="70" y="175"/>
                  </a:lnTo>
                  <a:lnTo>
                    <a:pt x="70" y="162"/>
                  </a:lnTo>
                  <a:lnTo>
                    <a:pt x="70" y="153"/>
                  </a:lnTo>
                  <a:lnTo>
                    <a:pt x="70" y="146"/>
                  </a:lnTo>
                  <a:lnTo>
                    <a:pt x="73" y="143"/>
                  </a:lnTo>
                  <a:lnTo>
                    <a:pt x="73" y="143"/>
                  </a:lnTo>
                  <a:lnTo>
                    <a:pt x="73" y="143"/>
                  </a:lnTo>
                  <a:lnTo>
                    <a:pt x="73" y="130"/>
                  </a:lnTo>
                  <a:lnTo>
                    <a:pt x="61" y="130"/>
                  </a:lnTo>
                  <a:lnTo>
                    <a:pt x="57" y="118"/>
                  </a:lnTo>
                  <a:lnTo>
                    <a:pt x="57" y="105"/>
                  </a:lnTo>
                  <a:lnTo>
                    <a:pt x="77" y="102"/>
                  </a:lnTo>
                  <a:lnTo>
                    <a:pt x="89" y="102"/>
                  </a:lnTo>
                  <a:lnTo>
                    <a:pt x="102" y="105"/>
                  </a:lnTo>
                  <a:lnTo>
                    <a:pt x="102" y="118"/>
                  </a:lnTo>
                  <a:lnTo>
                    <a:pt x="105" y="130"/>
                  </a:lnTo>
                  <a:lnTo>
                    <a:pt x="115" y="121"/>
                  </a:lnTo>
                  <a:lnTo>
                    <a:pt x="105" y="111"/>
                  </a:lnTo>
                  <a:lnTo>
                    <a:pt x="105" y="105"/>
                  </a:lnTo>
                  <a:lnTo>
                    <a:pt x="115" y="105"/>
                  </a:lnTo>
                  <a:lnTo>
                    <a:pt x="127" y="111"/>
                  </a:lnTo>
                  <a:lnTo>
                    <a:pt x="118" y="121"/>
                  </a:lnTo>
                  <a:lnTo>
                    <a:pt x="134" y="134"/>
                  </a:lnTo>
                  <a:lnTo>
                    <a:pt x="131" y="130"/>
                  </a:lnTo>
                  <a:lnTo>
                    <a:pt x="131" y="111"/>
                  </a:lnTo>
                  <a:lnTo>
                    <a:pt x="127" y="102"/>
                  </a:lnTo>
                  <a:lnTo>
                    <a:pt x="131" y="92"/>
                  </a:lnTo>
                  <a:lnTo>
                    <a:pt x="143" y="89"/>
                  </a:lnTo>
                  <a:lnTo>
                    <a:pt x="147" y="92"/>
                  </a:lnTo>
                  <a:lnTo>
                    <a:pt x="159" y="89"/>
                  </a:lnTo>
                  <a:lnTo>
                    <a:pt x="175" y="111"/>
                  </a:lnTo>
                  <a:lnTo>
                    <a:pt x="201" y="111"/>
                  </a:lnTo>
                  <a:lnTo>
                    <a:pt x="185" y="105"/>
                  </a:lnTo>
                  <a:lnTo>
                    <a:pt x="163" y="89"/>
                  </a:lnTo>
                  <a:lnTo>
                    <a:pt x="147" y="83"/>
                  </a:lnTo>
                  <a:lnTo>
                    <a:pt x="143" y="83"/>
                  </a:lnTo>
                  <a:lnTo>
                    <a:pt x="143" y="70"/>
                  </a:lnTo>
                  <a:lnTo>
                    <a:pt x="156" y="64"/>
                  </a:lnTo>
                  <a:lnTo>
                    <a:pt x="143" y="60"/>
                  </a:lnTo>
                  <a:lnTo>
                    <a:pt x="143" y="48"/>
                  </a:lnTo>
                  <a:lnTo>
                    <a:pt x="131" y="54"/>
                  </a:lnTo>
                  <a:lnTo>
                    <a:pt x="131" y="41"/>
                  </a:lnTo>
                  <a:lnTo>
                    <a:pt x="143" y="41"/>
                  </a:lnTo>
                  <a:lnTo>
                    <a:pt x="147" y="35"/>
                  </a:lnTo>
                  <a:lnTo>
                    <a:pt x="134" y="25"/>
                  </a:lnTo>
                  <a:lnTo>
                    <a:pt x="134" y="19"/>
                  </a:lnTo>
                  <a:lnTo>
                    <a:pt x="131" y="19"/>
                  </a:lnTo>
                  <a:lnTo>
                    <a:pt x="127" y="13"/>
                  </a:lnTo>
                  <a:lnTo>
                    <a:pt x="127" y="6"/>
                  </a:lnTo>
                  <a:lnTo>
                    <a:pt x="127" y="0"/>
                  </a:lnTo>
                  <a:lnTo>
                    <a:pt x="127" y="0"/>
                  </a:lnTo>
                  <a:lnTo>
                    <a:pt x="127" y="0"/>
                  </a:lnTo>
                  <a:close/>
                </a:path>
              </a:pathLst>
            </a:custGeom>
            <a:pattFill prst="dkDnDiag">
              <a:fgClr>
                <a:schemeClr val="accent2"/>
              </a:fgClr>
              <a:bgClr>
                <a:schemeClr val="bg1">
                  <a:lumMod val="95000"/>
                </a:schemeClr>
              </a:bgClr>
            </a:pattFill>
            <a:ln w="6350">
              <a:solidFill>
                <a:schemeClr val="accent2"/>
              </a:solidFill>
              <a:round/>
              <a:headEnd/>
              <a:tailEnd/>
            </a:ln>
          </p:spPr>
          <p:txBody>
            <a:bodyPr/>
            <a:lstStyle/>
            <a:p>
              <a:endParaRPr lang="de-DE" dirty="0"/>
            </a:p>
          </p:txBody>
        </p:sp>
        <p:sp>
          <p:nvSpPr>
            <p:cNvPr id="221" name="Freeform 60"/>
            <p:cNvSpPr>
              <a:spLocks/>
            </p:cNvSpPr>
            <p:nvPr/>
          </p:nvSpPr>
          <p:spPr bwMode="gray">
            <a:xfrm>
              <a:off x="2541" y="1317"/>
              <a:ext cx="455" cy="547"/>
            </a:xfrm>
            <a:custGeom>
              <a:avLst/>
              <a:gdLst>
                <a:gd name="T0" fmla="*/ 163 w 455"/>
                <a:gd name="T1" fmla="*/ 6 h 547"/>
                <a:gd name="T2" fmla="*/ 191 w 455"/>
                <a:gd name="T3" fmla="*/ 29 h 547"/>
                <a:gd name="T4" fmla="*/ 201 w 455"/>
                <a:gd name="T5" fmla="*/ 54 h 547"/>
                <a:gd name="T6" fmla="*/ 223 w 455"/>
                <a:gd name="T7" fmla="*/ 48 h 547"/>
                <a:gd name="T8" fmla="*/ 255 w 455"/>
                <a:gd name="T9" fmla="*/ 48 h 547"/>
                <a:gd name="T10" fmla="*/ 229 w 455"/>
                <a:gd name="T11" fmla="*/ 70 h 547"/>
                <a:gd name="T12" fmla="*/ 258 w 455"/>
                <a:gd name="T13" fmla="*/ 83 h 547"/>
                <a:gd name="T14" fmla="*/ 299 w 455"/>
                <a:gd name="T15" fmla="*/ 60 h 547"/>
                <a:gd name="T16" fmla="*/ 315 w 455"/>
                <a:gd name="T17" fmla="*/ 41 h 547"/>
                <a:gd name="T18" fmla="*/ 315 w 455"/>
                <a:gd name="T19" fmla="*/ 48 h 547"/>
                <a:gd name="T20" fmla="*/ 341 w 455"/>
                <a:gd name="T21" fmla="*/ 48 h 547"/>
                <a:gd name="T22" fmla="*/ 369 w 455"/>
                <a:gd name="T23" fmla="*/ 70 h 547"/>
                <a:gd name="T24" fmla="*/ 398 w 455"/>
                <a:gd name="T25" fmla="*/ 92 h 547"/>
                <a:gd name="T26" fmla="*/ 427 w 455"/>
                <a:gd name="T27" fmla="*/ 121 h 547"/>
                <a:gd name="T28" fmla="*/ 427 w 455"/>
                <a:gd name="T29" fmla="*/ 175 h 547"/>
                <a:gd name="T30" fmla="*/ 439 w 455"/>
                <a:gd name="T31" fmla="*/ 216 h 547"/>
                <a:gd name="T32" fmla="*/ 455 w 455"/>
                <a:gd name="T33" fmla="*/ 261 h 547"/>
                <a:gd name="T34" fmla="*/ 439 w 455"/>
                <a:gd name="T35" fmla="*/ 299 h 547"/>
                <a:gd name="T36" fmla="*/ 404 w 455"/>
                <a:gd name="T37" fmla="*/ 305 h 547"/>
                <a:gd name="T38" fmla="*/ 357 w 455"/>
                <a:gd name="T39" fmla="*/ 331 h 547"/>
                <a:gd name="T40" fmla="*/ 312 w 455"/>
                <a:gd name="T41" fmla="*/ 341 h 547"/>
                <a:gd name="T42" fmla="*/ 334 w 455"/>
                <a:gd name="T43" fmla="*/ 379 h 547"/>
                <a:gd name="T44" fmla="*/ 369 w 455"/>
                <a:gd name="T45" fmla="*/ 420 h 547"/>
                <a:gd name="T46" fmla="*/ 398 w 455"/>
                <a:gd name="T47" fmla="*/ 471 h 547"/>
                <a:gd name="T48" fmla="*/ 357 w 455"/>
                <a:gd name="T49" fmla="*/ 506 h 547"/>
                <a:gd name="T50" fmla="*/ 363 w 455"/>
                <a:gd name="T51" fmla="*/ 535 h 547"/>
                <a:gd name="T52" fmla="*/ 322 w 455"/>
                <a:gd name="T53" fmla="*/ 531 h 547"/>
                <a:gd name="T54" fmla="*/ 274 w 455"/>
                <a:gd name="T55" fmla="*/ 541 h 547"/>
                <a:gd name="T56" fmla="*/ 233 w 455"/>
                <a:gd name="T57" fmla="*/ 547 h 547"/>
                <a:gd name="T58" fmla="*/ 204 w 455"/>
                <a:gd name="T59" fmla="*/ 541 h 547"/>
                <a:gd name="T60" fmla="*/ 172 w 455"/>
                <a:gd name="T61" fmla="*/ 531 h 547"/>
                <a:gd name="T62" fmla="*/ 147 w 455"/>
                <a:gd name="T63" fmla="*/ 525 h 547"/>
                <a:gd name="T64" fmla="*/ 127 w 455"/>
                <a:gd name="T65" fmla="*/ 535 h 547"/>
                <a:gd name="T66" fmla="*/ 102 w 455"/>
                <a:gd name="T67" fmla="*/ 525 h 547"/>
                <a:gd name="T68" fmla="*/ 102 w 455"/>
                <a:gd name="T69" fmla="*/ 477 h 547"/>
                <a:gd name="T70" fmla="*/ 105 w 455"/>
                <a:gd name="T71" fmla="*/ 436 h 547"/>
                <a:gd name="T72" fmla="*/ 70 w 455"/>
                <a:gd name="T73" fmla="*/ 430 h 547"/>
                <a:gd name="T74" fmla="*/ 45 w 455"/>
                <a:gd name="T75" fmla="*/ 420 h 547"/>
                <a:gd name="T76" fmla="*/ 29 w 455"/>
                <a:gd name="T77" fmla="*/ 385 h 547"/>
                <a:gd name="T78" fmla="*/ 16 w 455"/>
                <a:gd name="T79" fmla="*/ 344 h 547"/>
                <a:gd name="T80" fmla="*/ 3 w 455"/>
                <a:gd name="T81" fmla="*/ 302 h 547"/>
                <a:gd name="T82" fmla="*/ 3 w 455"/>
                <a:gd name="T83" fmla="*/ 258 h 547"/>
                <a:gd name="T84" fmla="*/ 48 w 455"/>
                <a:gd name="T85" fmla="*/ 232 h 547"/>
                <a:gd name="T86" fmla="*/ 61 w 455"/>
                <a:gd name="T87" fmla="*/ 204 h 547"/>
                <a:gd name="T88" fmla="*/ 45 w 455"/>
                <a:gd name="T89" fmla="*/ 188 h 547"/>
                <a:gd name="T90" fmla="*/ 70 w 455"/>
                <a:gd name="T91" fmla="*/ 162 h 547"/>
                <a:gd name="T92" fmla="*/ 73 w 455"/>
                <a:gd name="T93" fmla="*/ 143 h 547"/>
                <a:gd name="T94" fmla="*/ 57 w 455"/>
                <a:gd name="T95" fmla="*/ 118 h 547"/>
                <a:gd name="T96" fmla="*/ 102 w 455"/>
                <a:gd name="T97" fmla="*/ 105 h 547"/>
                <a:gd name="T98" fmla="*/ 105 w 455"/>
                <a:gd name="T99" fmla="*/ 111 h 547"/>
                <a:gd name="T100" fmla="*/ 118 w 455"/>
                <a:gd name="T101" fmla="*/ 121 h 547"/>
                <a:gd name="T102" fmla="*/ 127 w 455"/>
                <a:gd name="T103" fmla="*/ 102 h 547"/>
                <a:gd name="T104" fmla="*/ 159 w 455"/>
                <a:gd name="T105" fmla="*/ 89 h 547"/>
                <a:gd name="T106" fmla="*/ 163 w 455"/>
                <a:gd name="T107" fmla="*/ 89 h 547"/>
                <a:gd name="T108" fmla="*/ 156 w 455"/>
                <a:gd name="T109" fmla="*/ 64 h 547"/>
                <a:gd name="T110" fmla="*/ 131 w 455"/>
                <a:gd name="T111" fmla="*/ 41 h 547"/>
                <a:gd name="T112" fmla="*/ 134 w 455"/>
                <a:gd name="T113" fmla="*/ 19 h 547"/>
                <a:gd name="T114" fmla="*/ 127 w 455"/>
                <a:gd name="T115" fmla="*/ 0 h 5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55" h="547">
                  <a:moveTo>
                    <a:pt x="127" y="0"/>
                  </a:moveTo>
                  <a:lnTo>
                    <a:pt x="143" y="0"/>
                  </a:lnTo>
                  <a:lnTo>
                    <a:pt x="159" y="6"/>
                  </a:lnTo>
                  <a:lnTo>
                    <a:pt x="163" y="6"/>
                  </a:lnTo>
                  <a:lnTo>
                    <a:pt x="175" y="6"/>
                  </a:lnTo>
                  <a:lnTo>
                    <a:pt x="188" y="19"/>
                  </a:lnTo>
                  <a:lnTo>
                    <a:pt x="201" y="19"/>
                  </a:lnTo>
                  <a:lnTo>
                    <a:pt x="191" y="29"/>
                  </a:lnTo>
                  <a:lnTo>
                    <a:pt x="188" y="35"/>
                  </a:lnTo>
                  <a:lnTo>
                    <a:pt x="188" y="41"/>
                  </a:lnTo>
                  <a:lnTo>
                    <a:pt x="201" y="48"/>
                  </a:lnTo>
                  <a:lnTo>
                    <a:pt x="201" y="54"/>
                  </a:lnTo>
                  <a:lnTo>
                    <a:pt x="213" y="48"/>
                  </a:lnTo>
                  <a:lnTo>
                    <a:pt x="213" y="41"/>
                  </a:lnTo>
                  <a:lnTo>
                    <a:pt x="217" y="41"/>
                  </a:lnTo>
                  <a:lnTo>
                    <a:pt x="223" y="48"/>
                  </a:lnTo>
                  <a:lnTo>
                    <a:pt x="233" y="60"/>
                  </a:lnTo>
                  <a:lnTo>
                    <a:pt x="242" y="54"/>
                  </a:lnTo>
                  <a:lnTo>
                    <a:pt x="245" y="48"/>
                  </a:lnTo>
                  <a:lnTo>
                    <a:pt x="255" y="48"/>
                  </a:lnTo>
                  <a:lnTo>
                    <a:pt x="255" y="60"/>
                  </a:lnTo>
                  <a:lnTo>
                    <a:pt x="245" y="64"/>
                  </a:lnTo>
                  <a:lnTo>
                    <a:pt x="242" y="64"/>
                  </a:lnTo>
                  <a:lnTo>
                    <a:pt x="229" y="70"/>
                  </a:lnTo>
                  <a:lnTo>
                    <a:pt x="242" y="76"/>
                  </a:lnTo>
                  <a:lnTo>
                    <a:pt x="245" y="76"/>
                  </a:lnTo>
                  <a:lnTo>
                    <a:pt x="258" y="76"/>
                  </a:lnTo>
                  <a:lnTo>
                    <a:pt x="258" y="83"/>
                  </a:lnTo>
                  <a:lnTo>
                    <a:pt x="271" y="83"/>
                  </a:lnTo>
                  <a:lnTo>
                    <a:pt x="274" y="70"/>
                  </a:lnTo>
                  <a:lnTo>
                    <a:pt x="283" y="60"/>
                  </a:lnTo>
                  <a:lnTo>
                    <a:pt x="299" y="60"/>
                  </a:lnTo>
                  <a:lnTo>
                    <a:pt x="303" y="54"/>
                  </a:lnTo>
                  <a:lnTo>
                    <a:pt x="312" y="48"/>
                  </a:lnTo>
                  <a:lnTo>
                    <a:pt x="315" y="41"/>
                  </a:lnTo>
                  <a:lnTo>
                    <a:pt x="334" y="41"/>
                  </a:lnTo>
                  <a:lnTo>
                    <a:pt x="322" y="48"/>
                  </a:lnTo>
                  <a:lnTo>
                    <a:pt x="315" y="48"/>
                  </a:lnTo>
                  <a:lnTo>
                    <a:pt x="312" y="54"/>
                  </a:lnTo>
                  <a:lnTo>
                    <a:pt x="315" y="60"/>
                  </a:lnTo>
                  <a:lnTo>
                    <a:pt x="328" y="54"/>
                  </a:lnTo>
                  <a:lnTo>
                    <a:pt x="341" y="48"/>
                  </a:lnTo>
                  <a:lnTo>
                    <a:pt x="344" y="48"/>
                  </a:lnTo>
                  <a:lnTo>
                    <a:pt x="344" y="54"/>
                  </a:lnTo>
                  <a:lnTo>
                    <a:pt x="357" y="54"/>
                  </a:lnTo>
                  <a:lnTo>
                    <a:pt x="369" y="70"/>
                  </a:lnTo>
                  <a:lnTo>
                    <a:pt x="379" y="64"/>
                  </a:lnTo>
                  <a:lnTo>
                    <a:pt x="385" y="76"/>
                  </a:lnTo>
                  <a:lnTo>
                    <a:pt x="385" y="89"/>
                  </a:lnTo>
                  <a:lnTo>
                    <a:pt x="398" y="92"/>
                  </a:lnTo>
                  <a:lnTo>
                    <a:pt x="404" y="92"/>
                  </a:lnTo>
                  <a:lnTo>
                    <a:pt x="408" y="102"/>
                  </a:lnTo>
                  <a:lnTo>
                    <a:pt x="420" y="102"/>
                  </a:lnTo>
                  <a:lnTo>
                    <a:pt x="427" y="121"/>
                  </a:lnTo>
                  <a:lnTo>
                    <a:pt x="427" y="143"/>
                  </a:lnTo>
                  <a:lnTo>
                    <a:pt x="408" y="146"/>
                  </a:lnTo>
                  <a:lnTo>
                    <a:pt x="408" y="159"/>
                  </a:lnTo>
                  <a:lnTo>
                    <a:pt x="427" y="175"/>
                  </a:lnTo>
                  <a:lnTo>
                    <a:pt x="427" y="188"/>
                  </a:lnTo>
                  <a:lnTo>
                    <a:pt x="433" y="200"/>
                  </a:lnTo>
                  <a:lnTo>
                    <a:pt x="433" y="204"/>
                  </a:lnTo>
                  <a:lnTo>
                    <a:pt x="439" y="216"/>
                  </a:lnTo>
                  <a:lnTo>
                    <a:pt x="433" y="229"/>
                  </a:lnTo>
                  <a:lnTo>
                    <a:pt x="446" y="245"/>
                  </a:lnTo>
                  <a:lnTo>
                    <a:pt x="449" y="248"/>
                  </a:lnTo>
                  <a:lnTo>
                    <a:pt x="455" y="261"/>
                  </a:lnTo>
                  <a:lnTo>
                    <a:pt x="455" y="290"/>
                  </a:lnTo>
                  <a:lnTo>
                    <a:pt x="449" y="299"/>
                  </a:lnTo>
                  <a:lnTo>
                    <a:pt x="446" y="290"/>
                  </a:lnTo>
                  <a:lnTo>
                    <a:pt x="439" y="299"/>
                  </a:lnTo>
                  <a:lnTo>
                    <a:pt x="420" y="290"/>
                  </a:lnTo>
                  <a:lnTo>
                    <a:pt x="420" y="302"/>
                  </a:lnTo>
                  <a:lnTo>
                    <a:pt x="408" y="305"/>
                  </a:lnTo>
                  <a:lnTo>
                    <a:pt x="404" y="305"/>
                  </a:lnTo>
                  <a:lnTo>
                    <a:pt x="385" y="305"/>
                  </a:lnTo>
                  <a:lnTo>
                    <a:pt x="379" y="315"/>
                  </a:lnTo>
                  <a:lnTo>
                    <a:pt x="369" y="315"/>
                  </a:lnTo>
                  <a:lnTo>
                    <a:pt x="357" y="331"/>
                  </a:lnTo>
                  <a:lnTo>
                    <a:pt x="344" y="331"/>
                  </a:lnTo>
                  <a:lnTo>
                    <a:pt x="328" y="347"/>
                  </a:lnTo>
                  <a:lnTo>
                    <a:pt x="315" y="344"/>
                  </a:lnTo>
                  <a:lnTo>
                    <a:pt x="312" y="341"/>
                  </a:lnTo>
                  <a:lnTo>
                    <a:pt x="312" y="344"/>
                  </a:lnTo>
                  <a:lnTo>
                    <a:pt x="312" y="347"/>
                  </a:lnTo>
                  <a:lnTo>
                    <a:pt x="322" y="360"/>
                  </a:lnTo>
                  <a:lnTo>
                    <a:pt x="334" y="379"/>
                  </a:lnTo>
                  <a:lnTo>
                    <a:pt x="334" y="388"/>
                  </a:lnTo>
                  <a:lnTo>
                    <a:pt x="341" y="401"/>
                  </a:lnTo>
                  <a:lnTo>
                    <a:pt x="344" y="407"/>
                  </a:lnTo>
                  <a:lnTo>
                    <a:pt x="369" y="420"/>
                  </a:lnTo>
                  <a:lnTo>
                    <a:pt x="379" y="426"/>
                  </a:lnTo>
                  <a:lnTo>
                    <a:pt x="398" y="449"/>
                  </a:lnTo>
                  <a:lnTo>
                    <a:pt x="398" y="461"/>
                  </a:lnTo>
                  <a:lnTo>
                    <a:pt x="398" y="471"/>
                  </a:lnTo>
                  <a:lnTo>
                    <a:pt x="392" y="471"/>
                  </a:lnTo>
                  <a:lnTo>
                    <a:pt x="385" y="484"/>
                  </a:lnTo>
                  <a:lnTo>
                    <a:pt x="369" y="490"/>
                  </a:lnTo>
                  <a:lnTo>
                    <a:pt x="357" y="506"/>
                  </a:lnTo>
                  <a:lnTo>
                    <a:pt x="357" y="512"/>
                  </a:lnTo>
                  <a:lnTo>
                    <a:pt x="369" y="525"/>
                  </a:lnTo>
                  <a:lnTo>
                    <a:pt x="369" y="531"/>
                  </a:lnTo>
                  <a:lnTo>
                    <a:pt x="363" y="535"/>
                  </a:lnTo>
                  <a:lnTo>
                    <a:pt x="350" y="531"/>
                  </a:lnTo>
                  <a:lnTo>
                    <a:pt x="341" y="531"/>
                  </a:lnTo>
                  <a:lnTo>
                    <a:pt x="328" y="531"/>
                  </a:lnTo>
                  <a:lnTo>
                    <a:pt x="322" y="531"/>
                  </a:lnTo>
                  <a:lnTo>
                    <a:pt x="303" y="541"/>
                  </a:lnTo>
                  <a:lnTo>
                    <a:pt x="293" y="541"/>
                  </a:lnTo>
                  <a:lnTo>
                    <a:pt x="283" y="541"/>
                  </a:lnTo>
                  <a:lnTo>
                    <a:pt x="274" y="541"/>
                  </a:lnTo>
                  <a:lnTo>
                    <a:pt x="261" y="535"/>
                  </a:lnTo>
                  <a:lnTo>
                    <a:pt x="255" y="535"/>
                  </a:lnTo>
                  <a:lnTo>
                    <a:pt x="233" y="535"/>
                  </a:lnTo>
                  <a:lnTo>
                    <a:pt x="233" y="547"/>
                  </a:lnTo>
                  <a:lnTo>
                    <a:pt x="223" y="547"/>
                  </a:lnTo>
                  <a:lnTo>
                    <a:pt x="213" y="535"/>
                  </a:lnTo>
                  <a:lnTo>
                    <a:pt x="204" y="541"/>
                  </a:lnTo>
                  <a:lnTo>
                    <a:pt x="191" y="547"/>
                  </a:lnTo>
                  <a:lnTo>
                    <a:pt x="188" y="541"/>
                  </a:lnTo>
                  <a:lnTo>
                    <a:pt x="172" y="531"/>
                  </a:lnTo>
                  <a:lnTo>
                    <a:pt x="163" y="531"/>
                  </a:lnTo>
                  <a:lnTo>
                    <a:pt x="159" y="535"/>
                  </a:lnTo>
                  <a:lnTo>
                    <a:pt x="156" y="531"/>
                  </a:lnTo>
                  <a:lnTo>
                    <a:pt x="147" y="525"/>
                  </a:lnTo>
                  <a:lnTo>
                    <a:pt x="134" y="525"/>
                  </a:lnTo>
                  <a:lnTo>
                    <a:pt x="143" y="531"/>
                  </a:lnTo>
                  <a:lnTo>
                    <a:pt x="134" y="541"/>
                  </a:lnTo>
                  <a:lnTo>
                    <a:pt x="127" y="535"/>
                  </a:lnTo>
                  <a:lnTo>
                    <a:pt x="115" y="541"/>
                  </a:lnTo>
                  <a:lnTo>
                    <a:pt x="102" y="535"/>
                  </a:lnTo>
                  <a:lnTo>
                    <a:pt x="102" y="525"/>
                  </a:lnTo>
                  <a:lnTo>
                    <a:pt x="89" y="519"/>
                  </a:lnTo>
                  <a:lnTo>
                    <a:pt x="89" y="506"/>
                  </a:lnTo>
                  <a:lnTo>
                    <a:pt x="99" y="484"/>
                  </a:lnTo>
                  <a:lnTo>
                    <a:pt x="102" y="477"/>
                  </a:lnTo>
                  <a:lnTo>
                    <a:pt x="102" y="471"/>
                  </a:lnTo>
                  <a:lnTo>
                    <a:pt x="105" y="455"/>
                  </a:lnTo>
                  <a:lnTo>
                    <a:pt x="118" y="442"/>
                  </a:lnTo>
                  <a:lnTo>
                    <a:pt x="105" y="436"/>
                  </a:lnTo>
                  <a:lnTo>
                    <a:pt x="102" y="436"/>
                  </a:lnTo>
                  <a:lnTo>
                    <a:pt x="86" y="426"/>
                  </a:lnTo>
                  <a:lnTo>
                    <a:pt x="77" y="430"/>
                  </a:lnTo>
                  <a:lnTo>
                    <a:pt x="70" y="430"/>
                  </a:lnTo>
                  <a:lnTo>
                    <a:pt x="61" y="430"/>
                  </a:lnTo>
                  <a:lnTo>
                    <a:pt x="48" y="430"/>
                  </a:lnTo>
                  <a:lnTo>
                    <a:pt x="45" y="426"/>
                  </a:lnTo>
                  <a:lnTo>
                    <a:pt x="45" y="420"/>
                  </a:lnTo>
                  <a:lnTo>
                    <a:pt x="32" y="407"/>
                  </a:lnTo>
                  <a:lnTo>
                    <a:pt x="32" y="388"/>
                  </a:lnTo>
                  <a:lnTo>
                    <a:pt x="29" y="385"/>
                  </a:lnTo>
                  <a:lnTo>
                    <a:pt x="19" y="372"/>
                  </a:lnTo>
                  <a:lnTo>
                    <a:pt x="7" y="360"/>
                  </a:lnTo>
                  <a:lnTo>
                    <a:pt x="16" y="344"/>
                  </a:lnTo>
                  <a:lnTo>
                    <a:pt x="7" y="331"/>
                  </a:lnTo>
                  <a:lnTo>
                    <a:pt x="7" y="328"/>
                  </a:lnTo>
                  <a:lnTo>
                    <a:pt x="0" y="305"/>
                  </a:lnTo>
                  <a:lnTo>
                    <a:pt x="3" y="302"/>
                  </a:lnTo>
                  <a:lnTo>
                    <a:pt x="3" y="290"/>
                  </a:lnTo>
                  <a:lnTo>
                    <a:pt x="7" y="270"/>
                  </a:lnTo>
                  <a:lnTo>
                    <a:pt x="3" y="258"/>
                  </a:lnTo>
                  <a:lnTo>
                    <a:pt x="16" y="245"/>
                  </a:lnTo>
                  <a:lnTo>
                    <a:pt x="19" y="232"/>
                  </a:lnTo>
                  <a:lnTo>
                    <a:pt x="32" y="232"/>
                  </a:lnTo>
                  <a:lnTo>
                    <a:pt x="48" y="232"/>
                  </a:lnTo>
                  <a:lnTo>
                    <a:pt x="57" y="229"/>
                  </a:lnTo>
                  <a:lnTo>
                    <a:pt x="48" y="220"/>
                  </a:lnTo>
                  <a:lnTo>
                    <a:pt x="57" y="216"/>
                  </a:lnTo>
                  <a:lnTo>
                    <a:pt x="61" y="204"/>
                  </a:lnTo>
                  <a:lnTo>
                    <a:pt x="61" y="200"/>
                  </a:lnTo>
                  <a:lnTo>
                    <a:pt x="57" y="191"/>
                  </a:lnTo>
                  <a:lnTo>
                    <a:pt x="45" y="191"/>
                  </a:lnTo>
                  <a:lnTo>
                    <a:pt x="45" y="188"/>
                  </a:lnTo>
                  <a:lnTo>
                    <a:pt x="45" y="175"/>
                  </a:lnTo>
                  <a:lnTo>
                    <a:pt x="57" y="185"/>
                  </a:lnTo>
                  <a:lnTo>
                    <a:pt x="70" y="175"/>
                  </a:lnTo>
                  <a:lnTo>
                    <a:pt x="70" y="162"/>
                  </a:lnTo>
                  <a:lnTo>
                    <a:pt x="70" y="153"/>
                  </a:lnTo>
                  <a:lnTo>
                    <a:pt x="70" y="146"/>
                  </a:lnTo>
                  <a:lnTo>
                    <a:pt x="73" y="143"/>
                  </a:lnTo>
                  <a:lnTo>
                    <a:pt x="73" y="130"/>
                  </a:lnTo>
                  <a:lnTo>
                    <a:pt x="61" y="130"/>
                  </a:lnTo>
                  <a:lnTo>
                    <a:pt x="57" y="118"/>
                  </a:lnTo>
                  <a:lnTo>
                    <a:pt x="57" y="105"/>
                  </a:lnTo>
                  <a:lnTo>
                    <a:pt x="77" y="102"/>
                  </a:lnTo>
                  <a:lnTo>
                    <a:pt x="89" y="102"/>
                  </a:lnTo>
                  <a:lnTo>
                    <a:pt x="102" y="105"/>
                  </a:lnTo>
                  <a:lnTo>
                    <a:pt x="102" y="118"/>
                  </a:lnTo>
                  <a:lnTo>
                    <a:pt x="105" y="130"/>
                  </a:lnTo>
                  <a:lnTo>
                    <a:pt x="115" y="121"/>
                  </a:lnTo>
                  <a:lnTo>
                    <a:pt x="105" y="111"/>
                  </a:lnTo>
                  <a:lnTo>
                    <a:pt x="105" y="105"/>
                  </a:lnTo>
                  <a:lnTo>
                    <a:pt x="115" y="105"/>
                  </a:lnTo>
                  <a:lnTo>
                    <a:pt x="127" y="111"/>
                  </a:lnTo>
                  <a:lnTo>
                    <a:pt x="118" y="121"/>
                  </a:lnTo>
                  <a:lnTo>
                    <a:pt x="134" y="134"/>
                  </a:lnTo>
                  <a:lnTo>
                    <a:pt x="131" y="130"/>
                  </a:lnTo>
                  <a:lnTo>
                    <a:pt x="131" y="111"/>
                  </a:lnTo>
                  <a:lnTo>
                    <a:pt x="127" y="102"/>
                  </a:lnTo>
                  <a:lnTo>
                    <a:pt x="131" y="92"/>
                  </a:lnTo>
                  <a:lnTo>
                    <a:pt x="143" y="89"/>
                  </a:lnTo>
                  <a:lnTo>
                    <a:pt x="147" y="92"/>
                  </a:lnTo>
                  <a:lnTo>
                    <a:pt x="159" y="89"/>
                  </a:lnTo>
                  <a:lnTo>
                    <a:pt x="175" y="111"/>
                  </a:lnTo>
                  <a:lnTo>
                    <a:pt x="201" y="111"/>
                  </a:lnTo>
                  <a:lnTo>
                    <a:pt x="185" y="105"/>
                  </a:lnTo>
                  <a:lnTo>
                    <a:pt x="163" y="89"/>
                  </a:lnTo>
                  <a:lnTo>
                    <a:pt x="147" y="83"/>
                  </a:lnTo>
                  <a:lnTo>
                    <a:pt x="143" y="83"/>
                  </a:lnTo>
                  <a:lnTo>
                    <a:pt x="143" y="70"/>
                  </a:lnTo>
                  <a:lnTo>
                    <a:pt x="156" y="64"/>
                  </a:lnTo>
                  <a:lnTo>
                    <a:pt x="143" y="60"/>
                  </a:lnTo>
                  <a:lnTo>
                    <a:pt x="143" y="48"/>
                  </a:lnTo>
                  <a:lnTo>
                    <a:pt x="131" y="54"/>
                  </a:lnTo>
                  <a:lnTo>
                    <a:pt x="131" y="41"/>
                  </a:lnTo>
                  <a:lnTo>
                    <a:pt x="143" y="41"/>
                  </a:lnTo>
                  <a:lnTo>
                    <a:pt x="147" y="35"/>
                  </a:lnTo>
                  <a:lnTo>
                    <a:pt x="134" y="25"/>
                  </a:lnTo>
                  <a:lnTo>
                    <a:pt x="134" y="19"/>
                  </a:lnTo>
                  <a:lnTo>
                    <a:pt x="131" y="19"/>
                  </a:lnTo>
                  <a:lnTo>
                    <a:pt x="127" y="13"/>
                  </a:lnTo>
                  <a:lnTo>
                    <a:pt x="127" y="6"/>
                  </a:lnTo>
                  <a:lnTo>
                    <a:pt x="127" y="0"/>
                  </a:lnTo>
                  <a:close/>
                </a:path>
              </a:pathLst>
            </a:custGeom>
            <a:pattFill prst="dkDnDiag">
              <a:fgClr>
                <a:schemeClr val="accent3"/>
              </a:fgClr>
              <a:bgClr>
                <a:schemeClr val="bg1"/>
              </a:bgClr>
            </a:pattFill>
            <a:ln w="6350">
              <a:solidFill>
                <a:schemeClr val="accent2"/>
              </a:solidFill>
              <a:round/>
              <a:headEnd/>
              <a:tailEnd/>
            </a:ln>
          </p:spPr>
          <p:txBody>
            <a:bodyPr/>
            <a:lstStyle/>
            <a:p>
              <a:endParaRPr lang="de-DE"/>
            </a:p>
          </p:txBody>
        </p:sp>
        <p:sp>
          <p:nvSpPr>
            <p:cNvPr id="222" name="Freeform 61"/>
            <p:cNvSpPr>
              <a:spLocks/>
            </p:cNvSpPr>
            <p:nvPr/>
          </p:nvSpPr>
          <p:spPr bwMode="gray">
            <a:xfrm>
              <a:off x="2732" y="1877"/>
              <a:ext cx="13" cy="10"/>
            </a:xfrm>
            <a:custGeom>
              <a:avLst/>
              <a:gdLst>
                <a:gd name="T0" fmla="*/ 10 w 13"/>
                <a:gd name="T1" fmla="*/ 0 h 10"/>
                <a:gd name="T2" fmla="*/ 13 w 13"/>
                <a:gd name="T3" fmla="*/ 3 h 10"/>
                <a:gd name="T4" fmla="*/ 13 w 13"/>
                <a:gd name="T5" fmla="*/ 10 h 10"/>
                <a:gd name="T6" fmla="*/ 10 w 13"/>
                <a:gd name="T7" fmla="*/ 10 h 10"/>
                <a:gd name="T8" fmla="*/ 0 w 13"/>
                <a:gd name="T9" fmla="*/ 3 h 10"/>
                <a:gd name="T10" fmla="*/ 10 w 13"/>
                <a:gd name="T11" fmla="*/ 0 h 10"/>
                <a:gd name="T12" fmla="*/ 10 w 13"/>
                <a:gd name="T13" fmla="*/ 0 h 10"/>
                <a:gd name="T14" fmla="*/ 10 w 13"/>
                <a:gd name="T15" fmla="*/ 0 h 10"/>
                <a:gd name="T16" fmla="*/ 10 w 13"/>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0">
                  <a:moveTo>
                    <a:pt x="10" y="0"/>
                  </a:moveTo>
                  <a:lnTo>
                    <a:pt x="13" y="3"/>
                  </a:lnTo>
                  <a:lnTo>
                    <a:pt x="13" y="10"/>
                  </a:lnTo>
                  <a:lnTo>
                    <a:pt x="10" y="10"/>
                  </a:lnTo>
                  <a:lnTo>
                    <a:pt x="0" y="3"/>
                  </a:lnTo>
                  <a:lnTo>
                    <a:pt x="10" y="0"/>
                  </a:lnTo>
                  <a:close/>
                </a:path>
              </a:pathLst>
            </a:custGeom>
            <a:solidFill>
              <a:srgbClr val="C8C9CD"/>
            </a:solidFill>
            <a:ln w="6350">
              <a:solidFill>
                <a:schemeClr val="accent2"/>
              </a:solidFill>
              <a:round/>
              <a:headEnd/>
              <a:tailEnd/>
            </a:ln>
          </p:spPr>
          <p:txBody>
            <a:bodyPr/>
            <a:lstStyle/>
            <a:p>
              <a:endParaRPr lang="de-DE"/>
            </a:p>
          </p:txBody>
        </p:sp>
        <p:sp>
          <p:nvSpPr>
            <p:cNvPr id="223" name="Freeform 62"/>
            <p:cNvSpPr>
              <a:spLocks/>
            </p:cNvSpPr>
            <p:nvPr/>
          </p:nvSpPr>
          <p:spPr bwMode="gray">
            <a:xfrm>
              <a:off x="2732" y="1877"/>
              <a:ext cx="13" cy="10"/>
            </a:xfrm>
            <a:custGeom>
              <a:avLst/>
              <a:gdLst>
                <a:gd name="T0" fmla="*/ 10 w 13"/>
                <a:gd name="T1" fmla="*/ 0 h 10"/>
                <a:gd name="T2" fmla="*/ 13 w 13"/>
                <a:gd name="T3" fmla="*/ 3 h 10"/>
                <a:gd name="T4" fmla="*/ 13 w 13"/>
                <a:gd name="T5" fmla="*/ 10 h 10"/>
                <a:gd name="T6" fmla="*/ 10 w 13"/>
                <a:gd name="T7" fmla="*/ 10 h 10"/>
                <a:gd name="T8" fmla="*/ 0 w 13"/>
                <a:gd name="T9" fmla="*/ 3 h 10"/>
                <a:gd name="T10" fmla="*/ 10 w 13"/>
                <a:gd name="T11" fmla="*/ 0 h 10"/>
                <a:gd name="T12" fmla="*/ 10 w 13"/>
                <a:gd name="T13" fmla="*/ 0 h 10"/>
                <a:gd name="T14" fmla="*/ 10 w 13"/>
                <a:gd name="T15" fmla="*/ 0 h 10"/>
                <a:gd name="T16" fmla="*/ 10 w 13"/>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0">
                  <a:moveTo>
                    <a:pt x="10" y="0"/>
                  </a:moveTo>
                  <a:lnTo>
                    <a:pt x="13" y="3"/>
                  </a:lnTo>
                  <a:lnTo>
                    <a:pt x="13" y="10"/>
                  </a:lnTo>
                  <a:lnTo>
                    <a:pt x="10" y="10"/>
                  </a:lnTo>
                  <a:lnTo>
                    <a:pt x="0" y="3"/>
                  </a:lnTo>
                  <a:lnTo>
                    <a:pt x="10" y="0"/>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224" name="Freeform 63"/>
            <p:cNvSpPr>
              <a:spLocks/>
            </p:cNvSpPr>
            <p:nvPr/>
          </p:nvSpPr>
          <p:spPr bwMode="gray">
            <a:xfrm>
              <a:off x="2548" y="1842"/>
              <a:ext cx="251" cy="137"/>
            </a:xfrm>
            <a:custGeom>
              <a:avLst/>
              <a:gdLst>
                <a:gd name="T0" fmla="*/ 108 w 251"/>
                <a:gd name="T1" fmla="*/ 16 h 137"/>
                <a:gd name="T2" fmla="*/ 127 w 251"/>
                <a:gd name="T3" fmla="*/ 16 h 137"/>
                <a:gd name="T4" fmla="*/ 127 w 251"/>
                <a:gd name="T5" fmla="*/ 0 h 137"/>
                <a:gd name="T6" fmla="*/ 149 w 251"/>
                <a:gd name="T7" fmla="*/ 3 h 137"/>
                <a:gd name="T8" fmla="*/ 156 w 251"/>
                <a:gd name="T9" fmla="*/ 3 h 137"/>
                <a:gd name="T10" fmla="*/ 181 w 251"/>
                <a:gd name="T11" fmla="*/ 16 h 137"/>
                <a:gd name="T12" fmla="*/ 194 w 251"/>
                <a:gd name="T13" fmla="*/ 32 h 137"/>
                <a:gd name="T14" fmla="*/ 194 w 251"/>
                <a:gd name="T15" fmla="*/ 45 h 137"/>
                <a:gd name="T16" fmla="*/ 213 w 251"/>
                <a:gd name="T17" fmla="*/ 45 h 137"/>
                <a:gd name="T18" fmla="*/ 235 w 251"/>
                <a:gd name="T19" fmla="*/ 45 h 137"/>
                <a:gd name="T20" fmla="*/ 251 w 251"/>
                <a:gd name="T21" fmla="*/ 57 h 137"/>
                <a:gd name="T22" fmla="*/ 248 w 251"/>
                <a:gd name="T23" fmla="*/ 86 h 137"/>
                <a:gd name="T24" fmla="*/ 222 w 251"/>
                <a:gd name="T25" fmla="*/ 108 h 137"/>
                <a:gd name="T26" fmla="*/ 197 w 251"/>
                <a:gd name="T27" fmla="*/ 105 h 137"/>
                <a:gd name="T28" fmla="*/ 178 w 251"/>
                <a:gd name="T29" fmla="*/ 118 h 137"/>
                <a:gd name="T30" fmla="*/ 156 w 251"/>
                <a:gd name="T31" fmla="*/ 121 h 137"/>
                <a:gd name="T32" fmla="*/ 149 w 251"/>
                <a:gd name="T33" fmla="*/ 105 h 137"/>
                <a:gd name="T34" fmla="*/ 111 w 251"/>
                <a:gd name="T35" fmla="*/ 124 h 137"/>
                <a:gd name="T36" fmla="*/ 79 w 251"/>
                <a:gd name="T37" fmla="*/ 137 h 137"/>
                <a:gd name="T38" fmla="*/ 60 w 251"/>
                <a:gd name="T39" fmla="*/ 121 h 137"/>
                <a:gd name="T40" fmla="*/ 54 w 251"/>
                <a:gd name="T41" fmla="*/ 105 h 137"/>
                <a:gd name="T42" fmla="*/ 28 w 251"/>
                <a:gd name="T43" fmla="*/ 92 h 137"/>
                <a:gd name="T44" fmla="*/ 28 w 251"/>
                <a:gd name="T45" fmla="*/ 118 h 137"/>
                <a:gd name="T46" fmla="*/ 0 w 251"/>
                <a:gd name="T47" fmla="*/ 118 h 137"/>
                <a:gd name="T48" fmla="*/ 9 w 251"/>
                <a:gd name="T49" fmla="*/ 105 h 137"/>
                <a:gd name="T50" fmla="*/ 12 w 251"/>
                <a:gd name="T51" fmla="*/ 96 h 137"/>
                <a:gd name="T52" fmla="*/ 28 w 251"/>
                <a:gd name="T53" fmla="*/ 57 h 137"/>
                <a:gd name="T54" fmla="*/ 50 w 251"/>
                <a:gd name="T55" fmla="*/ 38 h 137"/>
                <a:gd name="T56" fmla="*/ 60 w 251"/>
                <a:gd name="T57" fmla="*/ 19 h 137"/>
                <a:gd name="T58" fmla="*/ 54 w 251"/>
                <a:gd name="T59" fmla="*/ 10 h 137"/>
                <a:gd name="T60" fmla="*/ 70 w 251"/>
                <a:gd name="T61" fmla="*/ 16 h 137"/>
                <a:gd name="T62" fmla="*/ 95 w 251"/>
                <a:gd name="T63" fmla="*/ 10 h 137"/>
                <a:gd name="T64" fmla="*/ 95 w 251"/>
                <a:gd name="T65" fmla="*/ 10 h 13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51" h="137">
                  <a:moveTo>
                    <a:pt x="95" y="10"/>
                  </a:moveTo>
                  <a:lnTo>
                    <a:pt x="108" y="16"/>
                  </a:lnTo>
                  <a:lnTo>
                    <a:pt x="117" y="10"/>
                  </a:lnTo>
                  <a:lnTo>
                    <a:pt x="127" y="16"/>
                  </a:lnTo>
                  <a:lnTo>
                    <a:pt x="136" y="3"/>
                  </a:lnTo>
                  <a:lnTo>
                    <a:pt x="127" y="0"/>
                  </a:lnTo>
                  <a:lnTo>
                    <a:pt x="140" y="0"/>
                  </a:lnTo>
                  <a:lnTo>
                    <a:pt x="149" y="3"/>
                  </a:lnTo>
                  <a:lnTo>
                    <a:pt x="152" y="10"/>
                  </a:lnTo>
                  <a:lnTo>
                    <a:pt x="156" y="3"/>
                  </a:lnTo>
                  <a:lnTo>
                    <a:pt x="165" y="3"/>
                  </a:lnTo>
                  <a:lnTo>
                    <a:pt x="181" y="16"/>
                  </a:lnTo>
                  <a:lnTo>
                    <a:pt x="194" y="19"/>
                  </a:lnTo>
                  <a:lnTo>
                    <a:pt x="194" y="32"/>
                  </a:lnTo>
                  <a:lnTo>
                    <a:pt x="184" y="38"/>
                  </a:lnTo>
                  <a:lnTo>
                    <a:pt x="194" y="45"/>
                  </a:lnTo>
                  <a:lnTo>
                    <a:pt x="206" y="45"/>
                  </a:lnTo>
                  <a:lnTo>
                    <a:pt x="213" y="45"/>
                  </a:lnTo>
                  <a:lnTo>
                    <a:pt x="226" y="57"/>
                  </a:lnTo>
                  <a:lnTo>
                    <a:pt x="235" y="45"/>
                  </a:lnTo>
                  <a:lnTo>
                    <a:pt x="248" y="45"/>
                  </a:lnTo>
                  <a:lnTo>
                    <a:pt x="251" y="57"/>
                  </a:lnTo>
                  <a:lnTo>
                    <a:pt x="238" y="67"/>
                  </a:lnTo>
                  <a:lnTo>
                    <a:pt x="248" y="86"/>
                  </a:lnTo>
                  <a:lnTo>
                    <a:pt x="222" y="92"/>
                  </a:lnTo>
                  <a:lnTo>
                    <a:pt x="222" y="108"/>
                  </a:lnTo>
                  <a:lnTo>
                    <a:pt x="210" y="105"/>
                  </a:lnTo>
                  <a:lnTo>
                    <a:pt x="197" y="105"/>
                  </a:lnTo>
                  <a:lnTo>
                    <a:pt x="178" y="96"/>
                  </a:lnTo>
                  <a:lnTo>
                    <a:pt x="178" y="118"/>
                  </a:lnTo>
                  <a:lnTo>
                    <a:pt x="165" y="134"/>
                  </a:lnTo>
                  <a:lnTo>
                    <a:pt x="156" y="121"/>
                  </a:lnTo>
                  <a:lnTo>
                    <a:pt x="140" y="118"/>
                  </a:lnTo>
                  <a:lnTo>
                    <a:pt x="149" y="105"/>
                  </a:lnTo>
                  <a:lnTo>
                    <a:pt x="127" y="92"/>
                  </a:lnTo>
                  <a:lnTo>
                    <a:pt x="111" y="124"/>
                  </a:lnTo>
                  <a:lnTo>
                    <a:pt x="98" y="121"/>
                  </a:lnTo>
                  <a:lnTo>
                    <a:pt x="79" y="137"/>
                  </a:lnTo>
                  <a:lnTo>
                    <a:pt x="66" y="134"/>
                  </a:lnTo>
                  <a:lnTo>
                    <a:pt x="60" y="121"/>
                  </a:lnTo>
                  <a:lnTo>
                    <a:pt x="54" y="118"/>
                  </a:lnTo>
                  <a:lnTo>
                    <a:pt x="54" y="105"/>
                  </a:lnTo>
                  <a:lnTo>
                    <a:pt x="50" y="92"/>
                  </a:lnTo>
                  <a:lnTo>
                    <a:pt x="28" y="92"/>
                  </a:lnTo>
                  <a:lnTo>
                    <a:pt x="25" y="96"/>
                  </a:lnTo>
                  <a:lnTo>
                    <a:pt x="28" y="118"/>
                  </a:lnTo>
                  <a:lnTo>
                    <a:pt x="12" y="121"/>
                  </a:lnTo>
                  <a:lnTo>
                    <a:pt x="0" y="118"/>
                  </a:lnTo>
                  <a:lnTo>
                    <a:pt x="0" y="108"/>
                  </a:lnTo>
                  <a:lnTo>
                    <a:pt x="9" y="105"/>
                  </a:lnTo>
                  <a:lnTo>
                    <a:pt x="12" y="105"/>
                  </a:lnTo>
                  <a:lnTo>
                    <a:pt x="12" y="96"/>
                  </a:lnTo>
                  <a:lnTo>
                    <a:pt x="19" y="80"/>
                  </a:lnTo>
                  <a:lnTo>
                    <a:pt x="28" y="57"/>
                  </a:lnTo>
                  <a:lnTo>
                    <a:pt x="38" y="51"/>
                  </a:lnTo>
                  <a:lnTo>
                    <a:pt x="50" y="38"/>
                  </a:lnTo>
                  <a:lnTo>
                    <a:pt x="60" y="32"/>
                  </a:lnTo>
                  <a:lnTo>
                    <a:pt x="60" y="19"/>
                  </a:lnTo>
                  <a:lnTo>
                    <a:pt x="50" y="16"/>
                  </a:lnTo>
                  <a:lnTo>
                    <a:pt x="54" y="10"/>
                  </a:lnTo>
                  <a:lnTo>
                    <a:pt x="66" y="10"/>
                  </a:lnTo>
                  <a:lnTo>
                    <a:pt x="70" y="16"/>
                  </a:lnTo>
                  <a:lnTo>
                    <a:pt x="79" y="16"/>
                  </a:lnTo>
                  <a:lnTo>
                    <a:pt x="95" y="10"/>
                  </a:lnTo>
                  <a:close/>
                </a:path>
              </a:pathLst>
            </a:custGeom>
            <a:solidFill>
              <a:schemeClr val="bg1"/>
            </a:solidFill>
            <a:ln w="6350">
              <a:solidFill>
                <a:schemeClr val="accent2"/>
              </a:solidFill>
              <a:round/>
              <a:headEnd/>
              <a:tailEnd/>
            </a:ln>
          </p:spPr>
          <p:txBody>
            <a:bodyPr/>
            <a:lstStyle/>
            <a:p>
              <a:endParaRPr lang="de-DE"/>
            </a:p>
          </p:txBody>
        </p:sp>
        <p:sp>
          <p:nvSpPr>
            <p:cNvPr id="225" name="Freeform 64"/>
            <p:cNvSpPr>
              <a:spLocks/>
            </p:cNvSpPr>
            <p:nvPr/>
          </p:nvSpPr>
          <p:spPr bwMode="gray">
            <a:xfrm>
              <a:off x="2548" y="1842"/>
              <a:ext cx="251" cy="137"/>
            </a:xfrm>
            <a:custGeom>
              <a:avLst/>
              <a:gdLst>
                <a:gd name="T0" fmla="*/ 108 w 251"/>
                <a:gd name="T1" fmla="*/ 16 h 137"/>
                <a:gd name="T2" fmla="*/ 127 w 251"/>
                <a:gd name="T3" fmla="*/ 16 h 137"/>
                <a:gd name="T4" fmla="*/ 127 w 251"/>
                <a:gd name="T5" fmla="*/ 0 h 137"/>
                <a:gd name="T6" fmla="*/ 149 w 251"/>
                <a:gd name="T7" fmla="*/ 3 h 137"/>
                <a:gd name="T8" fmla="*/ 156 w 251"/>
                <a:gd name="T9" fmla="*/ 3 h 137"/>
                <a:gd name="T10" fmla="*/ 181 w 251"/>
                <a:gd name="T11" fmla="*/ 16 h 137"/>
                <a:gd name="T12" fmla="*/ 194 w 251"/>
                <a:gd name="T13" fmla="*/ 32 h 137"/>
                <a:gd name="T14" fmla="*/ 194 w 251"/>
                <a:gd name="T15" fmla="*/ 45 h 137"/>
                <a:gd name="T16" fmla="*/ 213 w 251"/>
                <a:gd name="T17" fmla="*/ 45 h 137"/>
                <a:gd name="T18" fmla="*/ 235 w 251"/>
                <a:gd name="T19" fmla="*/ 45 h 137"/>
                <a:gd name="T20" fmla="*/ 251 w 251"/>
                <a:gd name="T21" fmla="*/ 57 h 137"/>
                <a:gd name="T22" fmla="*/ 248 w 251"/>
                <a:gd name="T23" fmla="*/ 86 h 137"/>
                <a:gd name="T24" fmla="*/ 222 w 251"/>
                <a:gd name="T25" fmla="*/ 108 h 137"/>
                <a:gd name="T26" fmla="*/ 197 w 251"/>
                <a:gd name="T27" fmla="*/ 105 h 137"/>
                <a:gd name="T28" fmla="*/ 178 w 251"/>
                <a:gd name="T29" fmla="*/ 118 h 137"/>
                <a:gd name="T30" fmla="*/ 156 w 251"/>
                <a:gd name="T31" fmla="*/ 121 h 137"/>
                <a:gd name="T32" fmla="*/ 149 w 251"/>
                <a:gd name="T33" fmla="*/ 105 h 137"/>
                <a:gd name="T34" fmla="*/ 111 w 251"/>
                <a:gd name="T35" fmla="*/ 124 h 137"/>
                <a:gd name="T36" fmla="*/ 79 w 251"/>
                <a:gd name="T37" fmla="*/ 137 h 137"/>
                <a:gd name="T38" fmla="*/ 60 w 251"/>
                <a:gd name="T39" fmla="*/ 121 h 137"/>
                <a:gd name="T40" fmla="*/ 54 w 251"/>
                <a:gd name="T41" fmla="*/ 105 h 137"/>
                <a:gd name="T42" fmla="*/ 28 w 251"/>
                <a:gd name="T43" fmla="*/ 92 h 137"/>
                <a:gd name="T44" fmla="*/ 28 w 251"/>
                <a:gd name="T45" fmla="*/ 118 h 137"/>
                <a:gd name="T46" fmla="*/ 0 w 251"/>
                <a:gd name="T47" fmla="*/ 118 h 137"/>
                <a:gd name="T48" fmla="*/ 9 w 251"/>
                <a:gd name="T49" fmla="*/ 105 h 137"/>
                <a:gd name="T50" fmla="*/ 12 w 251"/>
                <a:gd name="T51" fmla="*/ 96 h 137"/>
                <a:gd name="T52" fmla="*/ 28 w 251"/>
                <a:gd name="T53" fmla="*/ 57 h 137"/>
                <a:gd name="T54" fmla="*/ 50 w 251"/>
                <a:gd name="T55" fmla="*/ 38 h 137"/>
                <a:gd name="T56" fmla="*/ 60 w 251"/>
                <a:gd name="T57" fmla="*/ 19 h 137"/>
                <a:gd name="T58" fmla="*/ 54 w 251"/>
                <a:gd name="T59" fmla="*/ 10 h 137"/>
                <a:gd name="T60" fmla="*/ 70 w 251"/>
                <a:gd name="T61" fmla="*/ 16 h 137"/>
                <a:gd name="T62" fmla="*/ 95 w 251"/>
                <a:gd name="T63" fmla="*/ 10 h 137"/>
                <a:gd name="T64" fmla="*/ 95 w 251"/>
                <a:gd name="T65" fmla="*/ 10 h 13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51" h="137">
                  <a:moveTo>
                    <a:pt x="95" y="10"/>
                  </a:moveTo>
                  <a:lnTo>
                    <a:pt x="108" y="16"/>
                  </a:lnTo>
                  <a:lnTo>
                    <a:pt x="117" y="10"/>
                  </a:lnTo>
                  <a:lnTo>
                    <a:pt x="127" y="16"/>
                  </a:lnTo>
                  <a:lnTo>
                    <a:pt x="136" y="3"/>
                  </a:lnTo>
                  <a:lnTo>
                    <a:pt x="127" y="0"/>
                  </a:lnTo>
                  <a:lnTo>
                    <a:pt x="140" y="0"/>
                  </a:lnTo>
                  <a:lnTo>
                    <a:pt x="149" y="3"/>
                  </a:lnTo>
                  <a:lnTo>
                    <a:pt x="152" y="10"/>
                  </a:lnTo>
                  <a:lnTo>
                    <a:pt x="156" y="3"/>
                  </a:lnTo>
                  <a:lnTo>
                    <a:pt x="165" y="3"/>
                  </a:lnTo>
                  <a:lnTo>
                    <a:pt x="181" y="16"/>
                  </a:lnTo>
                  <a:lnTo>
                    <a:pt x="194" y="19"/>
                  </a:lnTo>
                  <a:lnTo>
                    <a:pt x="194" y="32"/>
                  </a:lnTo>
                  <a:lnTo>
                    <a:pt x="184" y="38"/>
                  </a:lnTo>
                  <a:lnTo>
                    <a:pt x="194" y="45"/>
                  </a:lnTo>
                  <a:lnTo>
                    <a:pt x="206" y="45"/>
                  </a:lnTo>
                  <a:lnTo>
                    <a:pt x="213" y="45"/>
                  </a:lnTo>
                  <a:lnTo>
                    <a:pt x="226" y="57"/>
                  </a:lnTo>
                  <a:lnTo>
                    <a:pt x="235" y="45"/>
                  </a:lnTo>
                  <a:lnTo>
                    <a:pt x="248" y="45"/>
                  </a:lnTo>
                  <a:lnTo>
                    <a:pt x="251" y="57"/>
                  </a:lnTo>
                  <a:lnTo>
                    <a:pt x="238" y="67"/>
                  </a:lnTo>
                  <a:lnTo>
                    <a:pt x="248" y="86"/>
                  </a:lnTo>
                  <a:lnTo>
                    <a:pt x="222" y="92"/>
                  </a:lnTo>
                  <a:lnTo>
                    <a:pt x="222" y="108"/>
                  </a:lnTo>
                  <a:lnTo>
                    <a:pt x="210" y="105"/>
                  </a:lnTo>
                  <a:lnTo>
                    <a:pt x="197" y="105"/>
                  </a:lnTo>
                  <a:lnTo>
                    <a:pt x="178" y="96"/>
                  </a:lnTo>
                  <a:lnTo>
                    <a:pt x="178" y="118"/>
                  </a:lnTo>
                  <a:lnTo>
                    <a:pt x="165" y="134"/>
                  </a:lnTo>
                  <a:lnTo>
                    <a:pt x="156" y="121"/>
                  </a:lnTo>
                  <a:lnTo>
                    <a:pt x="140" y="118"/>
                  </a:lnTo>
                  <a:lnTo>
                    <a:pt x="149" y="105"/>
                  </a:lnTo>
                  <a:lnTo>
                    <a:pt x="127" y="92"/>
                  </a:lnTo>
                  <a:lnTo>
                    <a:pt x="111" y="124"/>
                  </a:lnTo>
                  <a:lnTo>
                    <a:pt x="98" y="121"/>
                  </a:lnTo>
                  <a:lnTo>
                    <a:pt x="79" y="137"/>
                  </a:lnTo>
                  <a:lnTo>
                    <a:pt x="66" y="134"/>
                  </a:lnTo>
                  <a:lnTo>
                    <a:pt x="60" y="121"/>
                  </a:lnTo>
                  <a:lnTo>
                    <a:pt x="54" y="118"/>
                  </a:lnTo>
                  <a:lnTo>
                    <a:pt x="54" y="105"/>
                  </a:lnTo>
                  <a:lnTo>
                    <a:pt x="50" y="92"/>
                  </a:lnTo>
                  <a:lnTo>
                    <a:pt x="28" y="92"/>
                  </a:lnTo>
                  <a:lnTo>
                    <a:pt x="25" y="96"/>
                  </a:lnTo>
                  <a:lnTo>
                    <a:pt x="28" y="118"/>
                  </a:lnTo>
                  <a:lnTo>
                    <a:pt x="12" y="121"/>
                  </a:lnTo>
                  <a:lnTo>
                    <a:pt x="0" y="118"/>
                  </a:lnTo>
                  <a:lnTo>
                    <a:pt x="0" y="108"/>
                  </a:lnTo>
                  <a:lnTo>
                    <a:pt x="9" y="105"/>
                  </a:lnTo>
                  <a:lnTo>
                    <a:pt x="12" y="105"/>
                  </a:lnTo>
                  <a:lnTo>
                    <a:pt x="12" y="96"/>
                  </a:lnTo>
                  <a:lnTo>
                    <a:pt x="19" y="80"/>
                  </a:lnTo>
                  <a:lnTo>
                    <a:pt x="28" y="57"/>
                  </a:lnTo>
                  <a:lnTo>
                    <a:pt x="38" y="51"/>
                  </a:lnTo>
                  <a:lnTo>
                    <a:pt x="50" y="38"/>
                  </a:lnTo>
                  <a:lnTo>
                    <a:pt x="60" y="32"/>
                  </a:lnTo>
                  <a:lnTo>
                    <a:pt x="60" y="19"/>
                  </a:lnTo>
                  <a:lnTo>
                    <a:pt x="50" y="16"/>
                  </a:lnTo>
                  <a:lnTo>
                    <a:pt x="54" y="10"/>
                  </a:lnTo>
                  <a:lnTo>
                    <a:pt x="66" y="10"/>
                  </a:lnTo>
                  <a:lnTo>
                    <a:pt x="70" y="16"/>
                  </a:lnTo>
                  <a:lnTo>
                    <a:pt x="79" y="16"/>
                  </a:lnTo>
                  <a:lnTo>
                    <a:pt x="95" y="10"/>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226" name="Freeform 65"/>
            <p:cNvSpPr>
              <a:spLocks noEditPoints="1"/>
            </p:cNvSpPr>
            <p:nvPr/>
          </p:nvSpPr>
          <p:spPr bwMode="gray">
            <a:xfrm>
              <a:off x="2417" y="1438"/>
              <a:ext cx="197" cy="181"/>
            </a:xfrm>
            <a:custGeom>
              <a:avLst/>
              <a:gdLst>
                <a:gd name="T0" fmla="*/ 127 w 197"/>
                <a:gd name="T1" fmla="*/ 169 h 181"/>
                <a:gd name="T2" fmla="*/ 127 w 197"/>
                <a:gd name="T3" fmla="*/ 137 h 181"/>
                <a:gd name="T4" fmla="*/ 143 w 197"/>
                <a:gd name="T5" fmla="*/ 111 h 181"/>
                <a:gd name="T6" fmla="*/ 172 w 197"/>
                <a:gd name="T7" fmla="*/ 111 h 181"/>
                <a:gd name="T8" fmla="*/ 172 w 197"/>
                <a:gd name="T9" fmla="*/ 99 h 181"/>
                <a:gd name="T10" fmla="*/ 185 w 197"/>
                <a:gd name="T11" fmla="*/ 83 h 181"/>
                <a:gd name="T12" fmla="*/ 181 w 197"/>
                <a:gd name="T13" fmla="*/ 70 h 181"/>
                <a:gd name="T14" fmla="*/ 169 w 197"/>
                <a:gd name="T15" fmla="*/ 67 h 181"/>
                <a:gd name="T16" fmla="*/ 181 w 197"/>
                <a:gd name="T17" fmla="*/ 60 h 181"/>
                <a:gd name="T18" fmla="*/ 191 w 197"/>
                <a:gd name="T19" fmla="*/ 41 h 181"/>
                <a:gd name="T20" fmla="*/ 191 w 197"/>
                <a:gd name="T21" fmla="*/ 25 h 181"/>
                <a:gd name="T22" fmla="*/ 197 w 197"/>
                <a:gd name="T23" fmla="*/ 19 h 181"/>
                <a:gd name="T24" fmla="*/ 181 w 197"/>
                <a:gd name="T25" fmla="*/ 9 h 181"/>
                <a:gd name="T26" fmla="*/ 143 w 197"/>
                <a:gd name="T27" fmla="*/ 0 h 181"/>
                <a:gd name="T28" fmla="*/ 127 w 197"/>
                <a:gd name="T29" fmla="*/ 9 h 181"/>
                <a:gd name="T30" fmla="*/ 111 w 197"/>
                <a:gd name="T31" fmla="*/ 13 h 181"/>
                <a:gd name="T32" fmla="*/ 73 w 197"/>
                <a:gd name="T33" fmla="*/ 38 h 181"/>
                <a:gd name="T34" fmla="*/ 64 w 197"/>
                <a:gd name="T35" fmla="*/ 38 h 181"/>
                <a:gd name="T36" fmla="*/ 54 w 197"/>
                <a:gd name="T37" fmla="*/ 60 h 181"/>
                <a:gd name="T38" fmla="*/ 54 w 197"/>
                <a:gd name="T39" fmla="*/ 83 h 181"/>
                <a:gd name="T40" fmla="*/ 41 w 197"/>
                <a:gd name="T41" fmla="*/ 99 h 181"/>
                <a:gd name="T42" fmla="*/ 35 w 197"/>
                <a:gd name="T43" fmla="*/ 111 h 181"/>
                <a:gd name="T44" fmla="*/ 57 w 197"/>
                <a:gd name="T45" fmla="*/ 127 h 181"/>
                <a:gd name="T46" fmla="*/ 41 w 197"/>
                <a:gd name="T47" fmla="*/ 137 h 181"/>
                <a:gd name="T48" fmla="*/ 41 w 197"/>
                <a:gd name="T49" fmla="*/ 140 h 181"/>
                <a:gd name="T50" fmla="*/ 45 w 197"/>
                <a:gd name="T51" fmla="*/ 146 h 181"/>
                <a:gd name="T52" fmla="*/ 29 w 197"/>
                <a:gd name="T53" fmla="*/ 140 h 181"/>
                <a:gd name="T54" fmla="*/ 13 w 197"/>
                <a:gd name="T55" fmla="*/ 140 h 181"/>
                <a:gd name="T56" fmla="*/ 22 w 197"/>
                <a:gd name="T57" fmla="*/ 146 h 181"/>
                <a:gd name="T58" fmla="*/ 35 w 197"/>
                <a:gd name="T59" fmla="*/ 153 h 181"/>
                <a:gd name="T60" fmla="*/ 35 w 197"/>
                <a:gd name="T61" fmla="*/ 153 h 181"/>
                <a:gd name="T62" fmla="*/ 13 w 197"/>
                <a:gd name="T63" fmla="*/ 153 h 181"/>
                <a:gd name="T64" fmla="*/ 0 w 197"/>
                <a:gd name="T65" fmla="*/ 153 h 181"/>
                <a:gd name="T66" fmla="*/ 13 w 197"/>
                <a:gd name="T67" fmla="*/ 165 h 181"/>
                <a:gd name="T68" fmla="*/ 29 w 197"/>
                <a:gd name="T69" fmla="*/ 169 h 181"/>
                <a:gd name="T70" fmla="*/ 45 w 197"/>
                <a:gd name="T71" fmla="*/ 156 h 181"/>
                <a:gd name="T72" fmla="*/ 54 w 197"/>
                <a:gd name="T73" fmla="*/ 153 h 181"/>
                <a:gd name="T74" fmla="*/ 73 w 197"/>
                <a:gd name="T75" fmla="*/ 146 h 181"/>
                <a:gd name="T76" fmla="*/ 92 w 197"/>
                <a:gd name="T77" fmla="*/ 153 h 181"/>
                <a:gd name="T78" fmla="*/ 111 w 197"/>
                <a:gd name="T79" fmla="*/ 156 h 181"/>
                <a:gd name="T80" fmla="*/ 115 w 197"/>
                <a:gd name="T81" fmla="*/ 178 h 181"/>
                <a:gd name="T82" fmla="*/ 127 w 197"/>
                <a:gd name="T83" fmla="*/ 181 h 181"/>
                <a:gd name="T84" fmla="*/ 127 w 197"/>
                <a:gd name="T85" fmla="*/ 181 h 181"/>
                <a:gd name="T86" fmla="*/ 29 w 197"/>
                <a:gd name="T87" fmla="*/ 127 h 181"/>
                <a:gd name="T88" fmla="*/ 29 w 197"/>
                <a:gd name="T89" fmla="*/ 137 h 181"/>
                <a:gd name="T90" fmla="*/ 16 w 197"/>
                <a:gd name="T91" fmla="*/ 127 h 181"/>
                <a:gd name="T92" fmla="*/ 16 w 197"/>
                <a:gd name="T93" fmla="*/ 127 h 181"/>
                <a:gd name="T94" fmla="*/ 22 w 197"/>
                <a:gd name="T95" fmla="*/ 124 h 181"/>
                <a:gd name="T96" fmla="*/ 41 w 197"/>
                <a:gd name="T97" fmla="*/ 124 h 181"/>
                <a:gd name="T98" fmla="*/ 35 w 197"/>
                <a:gd name="T99" fmla="*/ 127 h 181"/>
                <a:gd name="T100" fmla="*/ 29 w 197"/>
                <a:gd name="T101" fmla="*/ 124 h 181"/>
                <a:gd name="T102" fmla="*/ 22 w 197"/>
                <a:gd name="T103" fmla="*/ 124 h 18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7" h="181">
                  <a:moveTo>
                    <a:pt x="127" y="181"/>
                  </a:moveTo>
                  <a:lnTo>
                    <a:pt x="127" y="169"/>
                  </a:lnTo>
                  <a:lnTo>
                    <a:pt x="131" y="146"/>
                  </a:lnTo>
                  <a:lnTo>
                    <a:pt x="127" y="137"/>
                  </a:lnTo>
                  <a:lnTo>
                    <a:pt x="140" y="124"/>
                  </a:lnTo>
                  <a:lnTo>
                    <a:pt x="143" y="111"/>
                  </a:lnTo>
                  <a:lnTo>
                    <a:pt x="156" y="111"/>
                  </a:lnTo>
                  <a:lnTo>
                    <a:pt x="172" y="111"/>
                  </a:lnTo>
                  <a:lnTo>
                    <a:pt x="181" y="108"/>
                  </a:lnTo>
                  <a:lnTo>
                    <a:pt x="172" y="99"/>
                  </a:lnTo>
                  <a:lnTo>
                    <a:pt x="181" y="95"/>
                  </a:lnTo>
                  <a:lnTo>
                    <a:pt x="185" y="83"/>
                  </a:lnTo>
                  <a:lnTo>
                    <a:pt x="185" y="76"/>
                  </a:lnTo>
                  <a:lnTo>
                    <a:pt x="181" y="70"/>
                  </a:lnTo>
                  <a:lnTo>
                    <a:pt x="169" y="70"/>
                  </a:lnTo>
                  <a:lnTo>
                    <a:pt x="169" y="67"/>
                  </a:lnTo>
                  <a:lnTo>
                    <a:pt x="169" y="54"/>
                  </a:lnTo>
                  <a:lnTo>
                    <a:pt x="181" y="60"/>
                  </a:lnTo>
                  <a:lnTo>
                    <a:pt x="191" y="54"/>
                  </a:lnTo>
                  <a:lnTo>
                    <a:pt x="191" y="41"/>
                  </a:lnTo>
                  <a:lnTo>
                    <a:pt x="191" y="32"/>
                  </a:lnTo>
                  <a:lnTo>
                    <a:pt x="191" y="25"/>
                  </a:lnTo>
                  <a:lnTo>
                    <a:pt x="197" y="19"/>
                  </a:lnTo>
                  <a:lnTo>
                    <a:pt x="185" y="13"/>
                  </a:lnTo>
                  <a:lnTo>
                    <a:pt x="181" y="9"/>
                  </a:lnTo>
                  <a:lnTo>
                    <a:pt x="159" y="0"/>
                  </a:lnTo>
                  <a:lnTo>
                    <a:pt x="143" y="0"/>
                  </a:lnTo>
                  <a:lnTo>
                    <a:pt x="140" y="13"/>
                  </a:lnTo>
                  <a:lnTo>
                    <a:pt x="127" y="9"/>
                  </a:lnTo>
                  <a:lnTo>
                    <a:pt x="121" y="13"/>
                  </a:lnTo>
                  <a:lnTo>
                    <a:pt x="111" y="13"/>
                  </a:lnTo>
                  <a:lnTo>
                    <a:pt x="99" y="25"/>
                  </a:lnTo>
                  <a:lnTo>
                    <a:pt x="73" y="38"/>
                  </a:lnTo>
                  <a:lnTo>
                    <a:pt x="73" y="32"/>
                  </a:lnTo>
                  <a:lnTo>
                    <a:pt x="64" y="38"/>
                  </a:lnTo>
                  <a:lnTo>
                    <a:pt x="57" y="48"/>
                  </a:lnTo>
                  <a:lnTo>
                    <a:pt x="54" y="60"/>
                  </a:lnTo>
                  <a:lnTo>
                    <a:pt x="54" y="70"/>
                  </a:lnTo>
                  <a:lnTo>
                    <a:pt x="54" y="83"/>
                  </a:lnTo>
                  <a:lnTo>
                    <a:pt x="45" y="95"/>
                  </a:lnTo>
                  <a:lnTo>
                    <a:pt x="41" y="99"/>
                  </a:lnTo>
                  <a:lnTo>
                    <a:pt x="35" y="108"/>
                  </a:lnTo>
                  <a:lnTo>
                    <a:pt x="35" y="111"/>
                  </a:lnTo>
                  <a:lnTo>
                    <a:pt x="45" y="124"/>
                  </a:lnTo>
                  <a:lnTo>
                    <a:pt x="57" y="127"/>
                  </a:lnTo>
                  <a:lnTo>
                    <a:pt x="45" y="127"/>
                  </a:lnTo>
                  <a:lnTo>
                    <a:pt x="41" y="137"/>
                  </a:lnTo>
                  <a:lnTo>
                    <a:pt x="35" y="137"/>
                  </a:lnTo>
                  <a:lnTo>
                    <a:pt x="41" y="140"/>
                  </a:lnTo>
                  <a:lnTo>
                    <a:pt x="45" y="146"/>
                  </a:lnTo>
                  <a:lnTo>
                    <a:pt x="41" y="153"/>
                  </a:lnTo>
                  <a:lnTo>
                    <a:pt x="29" y="140"/>
                  </a:lnTo>
                  <a:lnTo>
                    <a:pt x="16" y="137"/>
                  </a:lnTo>
                  <a:lnTo>
                    <a:pt x="13" y="140"/>
                  </a:lnTo>
                  <a:lnTo>
                    <a:pt x="13" y="146"/>
                  </a:lnTo>
                  <a:lnTo>
                    <a:pt x="22" y="146"/>
                  </a:lnTo>
                  <a:lnTo>
                    <a:pt x="29" y="153"/>
                  </a:lnTo>
                  <a:lnTo>
                    <a:pt x="35" y="153"/>
                  </a:lnTo>
                  <a:lnTo>
                    <a:pt x="41" y="156"/>
                  </a:lnTo>
                  <a:lnTo>
                    <a:pt x="35" y="153"/>
                  </a:lnTo>
                  <a:lnTo>
                    <a:pt x="29" y="153"/>
                  </a:lnTo>
                  <a:lnTo>
                    <a:pt x="13" y="153"/>
                  </a:lnTo>
                  <a:lnTo>
                    <a:pt x="0" y="153"/>
                  </a:lnTo>
                  <a:lnTo>
                    <a:pt x="6" y="153"/>
                  </a:lnTo>
                  <a:lnTo>
                    <a:pt x="13" y="165"/>
                  </a:lnTo>
                  <a:lnTo>
                    <a:pt x="22" y="165"/>
                  </a:lnTo>
                  <a:lnTo>
                    <a:pt x="29" y="169"/>
                  </a:lnTo>
                  <a:lnTo>
                    <a:pt x="35" y="165"/>
                  </a:lnTo>
                  <a:lnTo>
                    <a:pt x="45" y="156"/>
                  </a:lnTo>
                  <a:lnTo>
                    <a:pt x="54" y="153"/>
                  </a:lnTo>
                  <a:lnTo>
                    <a:pt x="57" y="146"/>
                  </a:lnTo>
                  <a:lnTo>
                    <a:pt x="73" y="146"/>
                  </a:lnTo>
                  <a:lnTo>
                    <a:pt x="83" y="153"/>
                  </a:lnTo>
                  <a:lnTo>
                    <a:pt x="92" y="153"/>
                  </a:lnTo>
                  <a:lnTo>
                    <a:pt x="99" y="165"/>
                  </a:lnTo>
                  <a:lnTo>
                    <a:pt x="111" y="156"/>
                  </a:lnTo>
                  <a:lnTo>
                    <a:pt x="115" y="169"/>
                  </a:lnTo>
                  <a:lnTo>
                    <a:pt x="115" y="178"/>
                  </a:lnTo>
                  <a:lnTo>
                    <a:pt x="127" y="181"/>
                  </a:lnTo>
                  <a:close/>
                  <a:moveTo>
                    <a:pt x="16" y="127"/>
                  </a:moveTo>
                  <a:lnTo>
                    <a:pt x="29" y="127"/>
                  </a:lnTo>
                  <a:lnTo>
                    <a:pt x="35" y="137"/>
                  </a:lnTo>
                  <a:lnTo>
                    <a:pt x="29" y="137"/>
                  </a:lnTo>
                  <a:lnTo>
                    <a:pt x="16" y="127"/>
                  </a:lnTo>
                  <a:close/>
                  <a:moveTo>
                    <a:pt x="22" y="124"/>
                  </a:moveTo>
                  <a:lnTo>
                    <a:pt x="35" y="124"/>
                  </a:lnTo>
                  <a:lnTo>
                    <a:pt x="41" y="124"/>
                  </a:lnTo>
                  <a:lnTo>
                    <a:pt x="41" y="127"/>
                  </a:lnTo>
                  <a:lnTo>
                    <a:pt x="35" y="127"/>
                  </a:lnTo>
                  <a:lnTo>
                    <a:pt x="35" y="124"/>
                  </a:lnTo>
                  <a:lnTo>
                    <a:pt x="29" y="124"/>
                  </a:lnTo>
                  <a:lnTo>
                    <a:pt x="22" y="124"/>
                  </a:lnTo>
                  <a:close/>
                </a:path>
              </a:pathLst>
            </a:custGeom>
            <a:solidFill>
              <a:schemeClr val="accent1"/>
            </a:solidFill>
            <a:ln w="6350">
              <a:solidFill>
                <a:schemeClr val="accent2"/>
              </a:solidFill>
              <a:round/>
              <a:headEnd/>
              <a:tailEnd/>
            </a:ln>
          </p:spPr>
          <p:txBody>
            <a:bodyPr/>
            <a:lstStyle/>
            <a:p>
              <a:endParaRPr lang="de-DE"/>
            </a:p>
          </p:txBody>
        </p:sp>
        <p:sp>
          <p:nvSpPr>
            <p:cNvPr id="227" name="Freeform 66"/>
            <p:cNvSpPr>
              <a:spLocks noEditPoints="1"/>
            </p:cNvSpPr>
            <p:nvPr/>
          </p:nvSpPr>
          <p:spPr bwMode="gray">
            <a:xfrm>
              <a:off x="2417" y="1438"/>
              <a:ext cx="197" cy="181"/>
            </a:xfrm>
            <a:custGeom>
              <a:avLst/>
              <a:gdLst>
                <a:gd name="T0" fmla="*/ 127 w 197"/>
                <a:gd name="T1" fmla="*/ 169 h 181"/>
                <a:gd name="T2" fmla="*/ 127 w 197"/>
                <a:gd name="T3" fmla="*/ 137 h 181"/>
                <a:gd name="T4" fmla="*/ 143 w 197"/>
                <a:gd name="T5" fmla="*/ 111 h 181"/>
                <a:gd name="T6" fmla="*/ 172 w 197"/>
                <a:gd name="T7" fmla="*/ 111 h 181"/>
                <a:gd name="T8" fmla="*/ 172 w 197"/>
                <a:gd name="T9" fmla="*/ 99 h 181"/>
                <a:gd name="T10" fmla="*/ 185 w 197"/>
                <a:gd name="T11" fmla="*/ 83 h 181"/>
                <a:gd name="T12" fmla="*/ 181 w 197"/>
                <a:gd name="T13" fmla="*/ 70 h 181"/>
                <a:gd name="T14" fmla="*/ 169 w 197"/>
                <a:gd name="T15" fmla="*/ 67 h 181"/>
                <a:gd name="T16" fmla="*/ 181 w 197"/>
                <a:gd name="T17" fmla="*/ 60 h 181"/>
                <a:gd name="T18" fmla="*/ 191 w 197"/>
                <a:gd name="T19" fmla="*/ 41 h 181"/>
                <a:gd name="T20" fmla="*/ 191 w 197"/>
                <a:gd name="T21" fmla="*/ 25 h 181"/>
                <a:gd name="T22" fmla="*/ 197 w 197"/>
                <a:gd name="T23" fmla="*/ 19 h 181"/>
                <a:gd name="T24" fmla="*/ 181 w 197"/>
                <a:gd name="T25" fmla="*/ 9 h 181"/>
                <a:gd name="T26" fmla="*/ 143 w 197"/>
                <a:gd name="T27" fmla="*/ 0 h 181"/>
                <a:gd name="T28" fmla="*/ 127 w 197"/>
                <a:gd name="T29" fmla="*/ 9 h 181"/>
                <a:gd name="T30" fmla="*/ 111 w 197"/>
                <a:gd name="T31" fmla="*/ 13 h 181"/>
                <a:gd name="T32" fmla="*/ 73 w 197"/>
                <a:gd name="T33" fmla="*/ 38 h 181"/>
                <a:gd name="T34" fmla="*/ 64 w 197"/>
                <a:gd name="T35" fmla="*/ 38 h 181"/>
                <a:gd name="T36" fmla="*/ 54 w 197"/>
                <a:gd name="T37" fmla="*/ 60 h 181"/>
                <a:gd name="T38" fmla="*/ 54 w 197"/>
                <a:gd name="T39" fmla="*/ 83 h 181"/>
                <a:gd name="T40" fmla="*/ 41 w 197"/>
                <a:gd name="T41" fmla="*/ 99 h 181"/>
                <a:gd name="T42" fmla="*/ 35 w 197"/>
                <a:gd name="T43" fmla="*/ 111 h 181"/>
                <a:gd name="T44" fmla="*/ 57 w 197"/>
                <a:gd name="T45" fmla="*/ 127 h 181"/>
                <a:gd name="T46" fmla="*/ 41 w 197"/>
                <a:gd name="T47" fmla="*/ 137 h 181"/>
                <a:gd name="T48" fmla="*/ 41 w 197"/>
                <a:gd name="T49" fmla="*/ 140 h 181"/>
                <a:gd name="T50" fmla="*/ 45 w 197"/>
                <a:gd name="T51" fmla="*/ 146 h 181"/>
                <a:gd name="T52" fmla="*/ 29 w 197"/>
                <a:gd name="T53" fmla="*/ 140 h 181"/>
                <a:gd name="T54" fmla="*/ 13 w 197"/>
                <a:gd name="T55" fmla="*/ 140 h 181"/>
                <a:gd name="T56" fmla="*/ 22 w 197"/>
                <a:gd name="T57" fmla="*/ 146 h 181"/>
                <a:gd name="T58" fmla="*/ 35 w 197"/>
                <a:gd name="T59" fmla="*/ 153 h 181"/>
                <a:gd name="T60" fmla="*/ 35 w 197"/>
                <a:gd name="T61" fmla="*/ 153 h 181"/>
                <a:gd name="T62" fmla="*/ 13 w 197"/>
                <a:gd name="T63" fmla="*/ 153 h 181"/>
                <a:gd name="T64" fmla="*/ 0 w 197"/>
                <a:gd name="T65" fmla="*/ 153 h 181"/>
                <a:gd name="T66" fmla="*/ 13 w 197"/>
                <a:gd name="T67" fmla="*/ 165 h 181"/>
                <a:gd name="T68" fmla="*/ 29 w 197"/>
                <a:gd name="T69" fmla="*/ 169 h 181"/>
                <a:gd name="T70" fmla="*/ 45 w 197"/>
                <a:gd name="T71" fmla="*/ 156 h 181"/>
                <a:gd name="T72" fmla="*/ 54 w 197"/>
                <a:gd name="T73" fmla="*/ 153 h 181"/>
                <a:gd name="T74" fmla="*/ 73 w 197"/>
                <a:gd name="T75" fmla="*/ 146 h 181"/>
                <a:gd name="T76" fmla="*/ 92 w 197"/>
                <a:gd name="T77" fmla="*/ 153 h 181"/>
                <a:gd name="T78" fmla="*/ 111 w 197"/>
                <a:gd name="T79" fmla="*/ 156 h 181"/>
                <a:gd name="T80" fmla="*/ 115 w 197"/>
                <a:gd name="T81" fmla="*/ 178 h 181"/>
                <a:gd name="T82" fmla="*/ 127 w 197"/>
                <a:gd name="T83" fmla="*/ 181 h 181"/>
                <a:gd name="T84" fmla="*/ 127 w 197"/>
                <a:gd name="T85" fmla="*/ 181 h 181"/>
                <a:gd name="T86" fmla="*/ 29 w 197"/>
                <a:gd name="T87" fmla="*/ 127 h 181"/>
                <a:gd name="T88" fmla="*/ 29 w 197"/>
                <a:gd name="T89" fmla="*/ 137 h 181"/>
                <a:gd name="T90" fmla="*/ 16 w 197"/>
                <a:gd name="T91" fmla="*/ 127 h 181"/>
                <a:gd name="T92" fmla="*/ 16 w 197"/>
                <a:gd name="T93" fmla="*/ 127 h 181"/>
                <a:gd name="T94" fmla="*/ 22 w 197"/>
                <a:gd name="T95" fmla="*/ 124 h 181"/>
                <a:gd name="T96" fmla="*/ 41 w 197"/>
                <a:gd name="T97" fmla="*/ 124 h 181"/>
                <a:gd name="T98" fmla="*/ 35 w 197"/>
                <a:gd name="T99" fmla="*/ 127 h 181"/>
                <a:gd name="T100" fmla="*/ 29 w 197"/>
                <a:gd name="T101" fmla="*/ 124 h 181"/>
                <a:gd name="T102" fmla="*/ 22 w 197"/>
                <a:gd name="T103" fmla="*/ 124 h 18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7" h="181">
                  <a:moveTo>
                    <a:pt x="127" y="181"/>
                  </a:moveTo>
                  <a:lnTo>
                    <a:pt x="127" y="169"/>
                  </a:lnTo>
                  <a:lnTo>
                    <a:pt x="131" y="146"/>
                  </a:lnTo>
                  <a:lnTo>
                    <a:pt x="127" y="137"/>
                  </a:lnTo>
                  <a:lnTo>
                    <a:pt x="140" y="124"/>
                  </a:lnTo>
                  <a:lnTo>
                    <a:pt x="143" y="111"/>
                  </a:lnTo>
                  <a:lnTo>
                    <a:pt x="156" y="111"/>
                  </a:lnTo>
                  <a:lnTo>
                    <a:pt x="172" y="111"/>
                  </a:lnTo>
                  <a:lnTo>
                    <a:pt x="181" y="108"/>
                  </a:lnTo>
                  <a:lnTo>
                    <a:pt x="172" y="99"/>
                  </a:lnTo>
                  <a:lnTo>
                    <a:pt x="181" y="95"/>
                  </a:lnTo>
                  <a:lnTo>
                    <a:pt x="185" y="83"/>
                  </a:lnTo>
                  <a:lnTo>
                    <a:pt x="185" y="76"/>
                  </a:lnTo>
                  <a:lnTo>
                    <a:pt x="181" y="70"/>
                  </a:lnTo>
                  <a:lnTo>
                    <a:pt x="169" y="70"/>
                  </a:lnTo>
                  <a:lnTo>
                    <a:pt x="169" y="67"/>
                  </a:lnTo>
                  <a:lnTo>
                    <a:pt x="169" y="54"/>
                  </a:lnTo>
                  <a:lnTo>
                    <a:pt x="181" y="60"/>
                  </a:lnTo>
                  <a:lnTo>
                    <a:pt x="191" y="54"/>
                  </a:lnTo>
                  <a:lnTo>
                    <a:pt x="191" y="41"/>
                  </a:lnTo>
                  <a:lnTo>
                    <a:pt x="191" y="32"/>
                  </a:lnTo>
                  <a:lnTo>
                    <a:pt x="191" y="25"/>
                  </a:lnTo>
                  <a:lnTo>
                    <a:pt x="197" y="19"/>
                  </a:lnTo>
                  <a:lnTo>
                    <a:pt x="185" y="13"/>
                  </a:lnTo>
                  <a:lnTo>
                    <a:pt x="181" y="9"/>
                  </a:lnTo>
                  <a:lnTo>
                    <a:pt x="159" y="0"/>
                  </a:lnTo>
                  <a:lnTo>
                    <a:pt x="143" y="0"/>
                  </a:lnTo>
                  <a:lnTo>
                    <a:pt x="140" y="13"/>
                  </a:lnTo>
                  <a:lnTo>
                    <a:pt x="127" y="9"/>
                  </a:lnTo>
                  <a:lnTo>
                    <a:pt x="121" y="13"/>
                  </a:lnTo>
                  <a:lnTo>
                    <a:pt x="111" y="13"/>
                  </a:lnTo>
                  <a:lnTo>
                    <a:pt x="99" y="25"/>
                  </a:lnTo>
                  <a:lnTo>
                    <a:pt x="73" y="38"/>
                  </a:lnTo>
                  <a:lnTo>
                    <a:pt x="73" y="32"/>
                  </a:lnTo>
                  <a:lnTo>
                    <a:pt x="64" y="38"/>
                  </a:lnTo>
                  <a:lnTo>
                    <a:pt x="57" y="48"/>
                  </a:lnTo>
                  <a:lnTo>
                    <a:pt x="54" y="60"/>
                  </a:lnTo>
                  <a:lnTo>
                    <a:pt x="54" y="70"/>
                  </a:lnTo>
                  <a:lnTo>
                    <a:pt x="54" y="83"/>
                  </a:lnTo>
                  <a:lnTo>
                    <a:pt x="45" y="95"/>
                  </a:lnTo>
                  <a:lnTo>
                    <a:pt x="41" y="99"/>
                  </a:lnTo>
                  <a:lnTo>
                    <a:pt x="35" y="108"/>
                  </a:lnTo>
                  <a:lnTo>
                    <a:pt x="35" y="111"/>
                  </a:lnTo>
                  <a:lnTo>
                    <a:pt x="45" y="124"/>
                  </a:lnTo>
                  <a:lnTo>
                    <a:pt x="57" y="127"/>
                  </a:lnTo>
                  <a:lnTo>
                    <a:pt x="45" y="127"/>
                  </a:lnTo>
                  <a:lnTo>
                    <a:pt x="41" y="137"/>
                  </a:lnTo>
                  <a:lnTo>
                    <a:pt x="35" y="137"/>
                  </a:lnTo>
                  <a:lnTo>
                    <a:pt x="41" y="140"/>
                  </a:lnTo>
                  <a:lnTo>
                    <a:pt x="45" y="146"/>
                  </a:lnTo>
                  <a:lnTo>
                    <a:pt x="41" y="153"/>
                  </a:lnTo>
                  <a:lnTo>
                    <a:pt x="29" y="140"/>
                  </a:lnTo>
                  <a:lnTo>
                    <a:pt x="16" y="137"/>
                  </a:lnTo>
                  <a:lnTo>
                    <a:pt x="13" y="140"/>
                  </a:lnTo>
                  <a:lnTo>
                    <a:pt x="13" y="146"/>
                  </a:lnTo>
                  <a:lnTo>
                    <a:pt x="22" y="146"/>
                  </a:lnTo>
                  <a:lnTo>
                    <a:pt x="29" y="153"/>
                  </a:lnTo>
                  <a:lnTo>
                    <a:pt x="35" y="153"/>
                  </a:lnTo>
                  <a:lnTo>
                    <a:pt x="41" y="156"/>
                  </a:lnTo>
                  <a:lnTo>
                    <a:pt x="35" y="153"/>
                  </a:lnTo>
                  <a:lnTo>
                    <a:pt x="29" y="153"/>
                  </a:lnTo>
                  <a:lnTo>
                    <a:pt x="13" y="153"/>
                  </a:lnTo>
                  <a:lnTo>
                    <a:pt x="0" y="153"/>
                  </a:lnTo>
                  <a:lnTo>
                    <a:pt x="6" y="153"/>
                  </a:lnTo>
                  <a:lnTo>
                    <a:pt x="13" y="165"/>
                  </a:lnTo>
                  <a:lnTo>
                    <a:pt x="22" y="165"/>
                  </a:lnTo>
                  <a:lnTo>
                    <a:pt x="29" y="169"/>
                  </a:lnTo>
                  <a:lnTo>
                    <a:pt x="35" y="165"/>
                  </a:lnTo>
                  <a:lnTo>
                    <a:pt x="45" y="156"/>
                  </a:lnTo>
                  <a:lnTo>
                    <a:pt x="54" y="153"/>
                  </a:lnTo>
                  <a:lnTo>
                    <a:pt x="57" y="146"/>
                  </a:lnTo>
                  <a:lnTo>
                    <a:pt x="73" y="146"/>
                  </a:lnTo>
                  <a:lnTo>
                    <a:pt x="83" y="153"/>
                  </a:lnTo>
                  <a:lnTo>
                    <a:pt x="92" y="153"/>
                  </a:lnTo>
                  <a:lnTo>
                    <a:pt x="99" y="165"/>
                  </a:lnTo>
                  <a:lnTo>
                    <a:pt x="111" y="156"/>
                  </a:lnTo>
                  <a:lnTo>
                    <a:pt x="115" y="169"/>
                  </a:lnTo>
                  <a:lnTo>
                    <a:pt x="115" y="178"/>
                  </a:lnTo>
                  <a:lnTo>
                    <a:pt x="127" y="181"/>
                  </a:lnTo>
                  <a:close/>
                  <a:moveTo>
                    <a:pt x="16" y="127"/>
                  </a:moveTo>
                  <a:lnTo>
                    <a:pt x="29" y="127"/>
                  </a:lnTo>
                  <a:lnTo>
                    <a:pt x="35" y="137"/>
                  </a:lnTo>
                  <a:lnTo>
                    <a:pt x="29" y="137"/>
                  </a:lnTo>
                  <a:lnTo>
                    <a:pt x="16" y="127"/>
                  </a:lnTo>
                  <a:close/>
                  <a:moveTo>
                    <a:pt x="22" y="124"/>
                  </a:moveTo>
                  <a:lnTo>
                    <a:pt x="35" y="124"/>
                  </a:lnTo>
                  <a:lnTo>
                    <a:pt x="41" y="124"/>
                  </a:lnTo>
                  <a:lnTo>
                    <a:pt x="41" y="127"/>
                  </a:lnTo>
                  <a:lnTo>
                    <a:pt x="35" y="127"/>
                  </a:lnTo>
                  <a:lnTo>
                    <a:pt x="35" y="124"/>
                  </a:lnTo>
                  <a:lnTo>
                    <a:pt x="29" y="124"/>
                  </a:lnTo>
                  <a:lnTo>
                    <a:pt x="22" y="124"/>
                  </a:lnTo>
                  <a:close/>
                </a:path>
              </a:pathLst>
            </a:custGeom>
            <a:solidFill>
              <a:schemeClr val="bg1"/>
            </a:solidFill>
            <a:ln w="6350">
              <a:solidFill>
                <a:schemeClr val="accent2"/>
              </a:solidFill>
              <a:round/>
              <a:headEnd/>
              <a:tailEnd/>
            </a:ln>
          </p:spPr>
          <p:txBody>
            <a:bodyPr/>
            <a:lstStyle/>
            <a:p>
              <a:endParaRPr lang="de-DE"/>
            </a:p>
          </p:txBody>
        </p:sp>
        <p:sp>
          <p:nvSpPr>
            <p:cNvPr id="228" name="Freeform 67"/>
            <p:cNvSpPr>
              <a:spLocks/>
            </p:cNvSpPr>
            <p:nvPr/>
          </p:nvSpPr>
          <p:spPr bwMode="gray">
            <a:xfrm>
              <a:off x="2398" y="1587"/>
              <a:ext cx="159" cy="131"/>
            </a:xfrm>
            <a:custGeom>
              <a:avLst/>
              <a:gdLst>
                <a:gd name="T0" fmla="*/ 150 w 159"/>
                <a:gd name="T1" fmla="*/ 90 h 131"/>
                <a:gd name="T2" fmla="*/ 159 w 159"/>
                <a:gd name="T3" fmla="*/ 74 h 131"/>
                <a:gd name="T4" fmla="*/ 150 w 159"/>
                <a:gd name="T5" fmla="*/ 61 h 131"/>
                <a:gd name="T6" fmla="*/ 150 w 159"/>
                <a:gd name="T7" fmla="*/ 58 h 131"/>
                <a:gd name="T8" fmla="*/ 140 w 159"/>
                <a:gd name="T9" fmla="*/ 35 h 131"/>
                <a:gd name="T10" fmla="*/ 146 w 159"/>
                <a:gd name="T11" fmla="*/ 32 h 131"/>
                <a:gd name="T12" fmla="*/ 134 w 159"/>
                <a:gd name="T13" fmla="*/ 29 h 131"/>
                <a:gd name="T14" fmla="*/ 134 w 159"/>
                <a:gd name="T15" fmla="*/ 20 h 131"/>
                <a:gd name="T16" fmla="*/ 127 w 159"/>
                <a:gd name="T17" fmla="*/ 7 h 131"/>
                <a:gd name="T18" fmla="*/ 118 w 159"/>
                <a:gd name="T19" fmla="*/ 16 h 131"/>
                <a:gd name="T20" fmla="*/ 111 w 159"/>
                <a:gd name="T21" fmla="*/ 4 h 131"/>
                <a:gd name="T22" fmla="*/ 99 w 159"/>
                <a:gd name="T23" fmla="*/ 4 h 131"/>
                <a:gd name="T24" fmla="*/ 92 w 159"/>
                <a:gd name="T25" fmla="*/ 0 h 131"/>
                <a:gd name="T26" fmla="*/ 76 w 159"/>
                <a:gd name="T27" fmla="*/ 0 h 131"/>
                <a:gd name="T28" fmla="*/ 70 w 159"/>
                <a:gd name="T29" fmla="*/ 4 h 131"/>
                <a:gd name="T30" fmla="*/ 64 w 159"/>
                <a:gd name="T31" fmla="*/ 7 h 131"/>
                <a:gd name="T32" fmla="*/ 64 w 159"/>
                <a:gd name="T33" fmla="*/ 7 h 131"/>
                <a:gd name="T34" fmla="*/ 54 w 159"/>
                <a:gd name="T35" fmla="*/ 16 h 131"/>
                <a:gd name="T36" fmla="*/ 44 w 159"/>
                <a:gd name="T37" fmla="*/ 20 h 131"/>
                <a:gd name="T38" fmla="*/ 41 w 159"/>
                <a:gd name="T39" fmla="*/ 16 h 131"/>
                <a:gd name="T40" fmla="*/ 29 w 159"/>
                <a:gd name="T41" fmla="*/ 16 h 131"/>
                <a:gd name="T42" fmla="*/ 25 w 159"/>
                <a:gd name="T43" fmla="*/ 4 h 131"/>
                <a:gd name="T44" fmla="*/ 16 w 159"/>
                <a:gd name="T45" fmla="*/ 4 h 131"/>
                <a:gd name="T46" fmla="*/ 3 w 159"/>
                <a:gd name="T47" fmla="*/ 7 h 131"/>
                <a:gd name="T48" fmla="*/ 0 w 159"/>
                <a:gd name="T49" fmla="*/ 20 h 131"/>
                <a:gd name="T50" fmla="*/ 3 w 159"/>
                <a:gd name="T51" fmla="*/ 29 h 131"/>
                <a:gd name="T52" fmla="*/ 13 w 159"/>
                <a:gd name="T53" fmla="*/ 48 h 131"/>
                <a:gd name="T54" fmla="*/ 25 w 159"/>
                <a:gd name="T55" fmla="*/ 48 h 131"/>
                <a:gd name="T56" fmla="*/ 25 w 159"/>
                <a:gd name="T57" fmla="*/ 61 h 131"/>
                <a:gd name="T58" fmla="*/ 41 w 159"/>
                <a:gd name="T59" fmla="*/ 74 h 131"/>
                <a:gd name="T60" fmla="*/ 44 w 159"/>
                <a:gd name="T61" fmla="*/ 74 h 131"/>
                <a:gd name="T62" fmla="*/ 54 w 159"/>
                <a:gd name="T63" fmla="*/ 77 h 131"/>
                <a:gd name="T64" fmla="*/ 57 w 159"/>
                <a:gd name="T65" fmla="*/ 86 h 131"/>
                <a:gd name="T66" fmla="*/ 64 w 159"/>
                <a:gd name="T67" fmla="*/ 99 h 131"/>
                <a:gd name="T68" fmla="*/ 76 w 159"/>
                <a:gd name="T69" fmla="*/ 102 h 131"/>
                <a:gd name="T70" fmla="*/ 83 w 159"/>
                <a:gd name="T71" fmla="*/ 102 h 131"/>
                <a:gd name="T72" fmla="*/ 86 w 159"/>
                <a:gd name="T73" fmla="*/ 102 h 131"/>
                <a:gd name="T74" fmla="*/ 92 w 159"/>
                <a:gd name="T75" fmla="*/ 106 h 131"/>
                <a:gd name="T76" fmla="*/ 99 w 159"/>
                <a:gd name="T77" fmla="*/ 106 h 131"/>
                <a:gd name="T78" fmla="*/ 111 w 159"/>
                <a:gd name="T79" fmla="*/ 128 h 131"/>
                <a:gd name="T80" fmla="*/ 121 w 159"/>
                <a:gd name="T81" fmla="*/ 128 h 131"/>
                <a:gd name="T82" fmla="*/ 134 w 159"/>
                <a:gd name="T83" fmla="*/ 131 h 131"/>
                <a:gd name="T84" fmla="*/ 134 w 159"/>
                <a:gd name="T85" fmla="*/ 128 h 131"/>
                <a:gd name="T86" fmla="*/ 146 w 159"/>
                <a:gd name="T87" fmla="*/ 128 h 131"/>
                <a:gd name="T88" fmla="*/ 146 w 159"/>
                <a:gd name="T89" fmla="*/ 118 h 131"/>
                <a:gd name="T90" fmla="*/ 140 w 159"/>
                <a:gd name="T91" fmla="*/ 118 h 131"/>
                <a:gd name="T92" fmla="*/ 140 w 159"/>
                <a:gd name="T93" fmla="*/ 106 h 131"/>
                <a:gd name="T94" fmla="*/ 134 w 159"/>
                <a:gd name="T95" fmla="*/ 106 h 131"/>
                <a:gd name="T96" fmla="*/ 140 w 159"/>
                <a:gd name="T97" fmla="*/ 99 h 131"/>
                <a:gd name="T98" fmla="*/ 146 w 159"/>
                <a:gd name="T99" fmla="*/ 90 h 131"/>
                <a:gd name="T100" fmla="*/ 150 w 159"/>
                <a:gd name="T101" fmla="*/ 90 h 131"/>
                <a:gd name="T102" fmla="*/ 150 w 159"/>
                <a:gd name="T103" fmla="*/ 90 h 131"/>
                <a:gd name="T104" fmla="*/ 150 w 159"/>
                <a:gd name="T105" fmla="*/ 90 h 13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9" h="131">
                  <a:moveTo>
                    <a:pt x="150" y="90"/>
                  </a:moveTo>
                  <a:lnTo>
                    <a:pt x="159" y="74"/>
                  </a:lnTo>
                  <a:lnTo>
                    <a:pt x="150" y="61"/>
                  </a:lnTo>
                  <a:lnTo>
                    <a:pt x="150" y="58"/>
                  </a:lnTo>
                  <a:lnTo>
                    <a:pt x="140" y="35"/>
                  </a:lnTo>
                  <a:lnTo>
                    <a:pt x="146" y="32"/>
                  </a:lnTo>
                  <a:lnTo>
                    <a:pt x="134" y="29"/>
                  </a:lnTo>
                  <a:lnTo>
                    <a:pt x="134" y="20"/>
                  </a:lnTo>
                  <a:lnTo>
                    <a:pt x="127" y="7"/>
                  </a:lnTo>
                  <a:lnTo>
                    <a:pt x="118" y="16"/>
                  </a:lnTo>
                  <a:lnTo>
                    <a:pt x="111" y="4"/>
                  </a:lnTo>
                  <a:lnTo>
                    <a:pt x="99" y="4"/>
                  </a:lnTo>
                  <a:lnTo>
                    <a:pt x="92" y="0"/>
                  </a:lnTo>
                  <a:lnTo>
                    <a:pt x="76" y="0"/>
                  </a:lnTo>
                  <a:lnTo>
                    <a:pt x="70" y="4"/>
                  </a:lnTo>
                  <a:lnTo>
                    <a:pt x="64" y="7"/>
                  </a:lnTo>
                  <a:lnTo>
                    <a:pt x="54" y="16"/>
                  </a:lnTo>
                  <a:lnTo>
                    <a:pt x="44" y="20"/>
                  </a:lnTo>
                  <a:lnTo>
                    <a:pt x="41" y="16"/>
                  </a:lnTo>
                  <a:lnTo>
                    <a:pt x="29" y="16"/>
                  </a:lnTo>
                  <a:lnTo>
                    <a:pt x="25" y="4"/>
                  </a:lnTo>
                  <a:lnTo>
                    <a:pt x="16" y="4"/>
                  </a:lnTo>
                  <a:lnTo>
                    <a:pt x="3" y="7"/>
                  </a:lnTo>
                  <a:lnTo>
                    <a:pt x="0" y="20"/>
                  </a:lnTo>
                  <a:lnTo>
                    <a:pt x="3" y="29"/>
                  </a:lnTo>
                  <a:lnTo>
                    <a:pt x="13" y="48"/>
                  </a:lnTo>
                  <a:lnTo>
                    <a:pt x="25" y="48"/>
                  </a:lnTo>
                  <a:lnTo>
                    <a:pt x="25" y="61"/>
                  </a:lnTo>
                  <a:lnTo>
                    <a:pt x="41" y="74"/>
                  </a:lnTo>
                  <a:lnTo>
                    <a:pt x="44" y="74"/>
                  </a:lnTo>
                  <a:lnTo>
                    <a:pt x="54" y="77"/>
                  </a:lnTo>
                  <a:lnTo>
                    <a:pt x="57" y="86"/>
                  </a:lnTo>
                  <a:lnTo>
                    <a:pt x="64" y="99"/>
                  </a:lnTo>
                  <a:lnTo>
                    <a:pt x="76" y="102"/>
                  </a:lnTo>
                  <a:lnTo>
                    <a:pt x="83" y="102"/>
                  </a:lnTo>
                  <a:lnTo>
                    <a:pt x="86" y="102"/>
                  </a:lnTo>
                  <a:lnTo>
                    <a:pt x="92" y="106"/>
                  </a:lnTo>
                  <a:lnTo>
                    <a:pt x="99" y="106"/>
                  </a:lnTo>
                  <a:lnTo>
                    <a:pt x="111" y="128"/>
                  </a:lnTo>
                  <a:lnTo>
                    <a:pt x="121" y="128"/>
                  </a:lnTo>
                  <a:lnTo>
                    <a:pt x="134" y="131"/>
                  </a:lnTo>
                  <a:lnTo>
                    <a:pt x="134" y="128"/>
                  </a:lnTo>
                  <a:lnTo>
                    <a:pt x="146" y="128"/>
                  </a:lnTo>
                  <a:lnTo>
                    <a:pt x="146" y="118"/>
                  </a:lnTo>
                  <a:lnTo>
                    <a:pt x="140" y="118"/>
                  </a:lnTo>
                  <a:lnTo>
                    <a:pt x="140" y="106"/>
                  </a:lnTo>
                  <a:lnTo>
                    <a:pt x="134" y="106"/>
                  </a:lnTo>
                  <a:lnTo>
                    <a:pt x="140" y="99"/>
                  </a:lnTo>
                  <a:lnTo>
                    <a:pt x="146" y="90"/>
                  </a:lnTo>
                  <a:lnTo>
                    <a:pt x="150" y="90"/>
                  </a:lnTo>
                  <a:close/>
                </a:path>
              </a:pathLst>
            </a:custGeom>
            <a:solidFill>
              <a:schemeClr val="bg1"/>
            </a:solidFill>
            <a:ln w="6350">
              <a:solidFill>
                <a:schemeClr val="accent2"/>
              </a:solidFill>
              <a:round/>
              <a:headEnd/>
              <a:tailEnd/>
            </a:ln>
          </p:spPr>
          <p:txBody>
            <a:bodyPr/>
            <a:lstStyle/>
            <a:p>
              <a:endParaRPr lang="de-DE"/>
            </a:p>
          </p:txBody>
        </p:sp>
        <p:sp>
          <p:nvSpPr>
            <p:cNvPr id="229" name="Freeform 68"/>
            <p:cNvSpPr>
              <a:spLocks/>
            </p:cNvSpPr>
            <p:nvPr/>
          </p:nvSpPr>
          <p:spPr bwMode="gray">
            <a:xfrm>
              <a:off x="2398" y="1587"/>
              <a:ext cx="159" cy="131"/>
            </a:xfrm>
            <a:custGeom>
              <a:avLst/>
              <a:gdLst>
                <a:gd name="T0" fmla="*/ 150 w 159"/>
                <a:gd name="T1" fmla="*/ 90 h 131"/>
                <a:gd name="T2" fmla="*/ 159 w 159"/>
                <a:gd name="T3" fmla="*/ 74 h 131"/>
                <a:gd name="T4" fmla="*/ 150 w 159"/>
                <a:gd name="T5" fmla="*/ 61 h 131"/>
                <a:gd name="T6" fmla="*/ 150 w 159"/>
                <a:gd name="T7" fmla="*/ 58 h 131"/>
                <a:gd name="T8" fmla="*/ 140 w 159"/>
                <a:gd name="T9" fmla="*/ 35 h 131"/>
                <a:gd name="T10" fmla="*/ 146 w 159"/>
                <a:gd name="T11" fmla="*/ 32 h 131"/>
                <a:gd name="T12" fmla="*/ 134 w 159"/>
                <a:gd name="T13" fmla="*/ 29 h 131"/>
                <a:gd name="T14" fmla="*/ 134 w 159"/>
                <a:gd name="T15" fmla="*/ 20 h 131"/>
                <a:gd name="T16" fmla="*/ 127 w 159"/>
                <a:gd name="T17" fmla="*/ 7 h 131"/>
                <a:gd name="T18" fmla="*/ 118 w 159"/>
                <a:gd name="T19" fmla="*/ 16 h 131"/>
                <a:gd name="T20" fmla="*/ 111 w 159"/>
                <a:gd name="T21" fmla="*/ 4 h 131"/>
                <a:gd name="T22" fmla="*/ 99 w 159"/>
                <a:gd name="T23" fmla="*/ 4 h 131"/>
                <a:gd name="T24" fmla="*/ 92 w 159"/>
                <a:gd name="T25" fmla="*/ 0 h 131"/>
                <a:gd name="T26" fmla="*/ 76 w 159"/>
                <a:gd name="T27" fmla="*/ 0 h 131"/>
                <a:gd name="T28" fmla="*/ 70 w 159"/>
                <a:gd name="T29" fmla="*/ 4 h 131"/>
                <a:gd name="T30" fmla="*/ 64 w 159"/>
                <a:gd name="T31" fmla="*/ 7 h 131"/>
                <a:gd name="T32" fmla="*/ 64 w 159"/>
                <a:gd name="T33" fmla="*/ 7 h 131"/>
                <a:gd name="T34" fmla="*/ 54 w 159"/>
                <a:gd name="T35" fmla="*/ 16 h 131"/>
                <a:gd name="T36" fmla="*/ 44 w 159"/>
                <a:gd name="T37" fmla="*/ 20 h 131"/>
                <a:gd name="T38" fmla="*/ 41 w 159"/>
                <a:gd name="T39" fmla="*/ 16 h 131"/>
                <a:gd name="T40" fmla="*/ 29 w 159"/>
                <a:gd name="T41" fmla="*/ 16 h 131"/>
                <a:gd name="T42" fmla="*/ 25 w 159"/>
                <a:gd name="T43" fmla="*/ 4 h 131"/>
                <a:gd name="T44" fmla="*/ 16 w 159"/>
                <a:gd name="T45" fmla="*/ 4 h 131"/>
                <a:gd name="T46" fmla="*/ 3 w 159"/>
                <a:gd name="T47" fmla="*/ 7 h 131"/>
                <a:gd name="T48" fmla="*/ 0 w 159"/>
                <a:gd name="T49" fmla="*/ 20 h 131"/>
                <a:gd name="T50" fmla="*/ 3 w 159"/>
                <a:gd name="T51" fmla="*/ 29 h 131"/>
                <a:gd name="T52" fmla="*/ 13 w 159"/>
                <a:gd name="T53" fmla="*/ 48 h 131"/>
                <a:gd name="T54" fmla="*/ 25 w 159"/>
                <a:gd name="T55" fmla="*/ 48 h 131"/>
                <a:gd name="T56" fmla="*/ 25 w 159"/>
                <a:gd name="T57" fmla="*/ 61 h 131"/>
                <a:gd name="T58" fmla="*/ 41 w 159"/>
                <a:gd name="T59" fmla="*/ 74 h 131"/>
                <a:gd name="T60" fmla="*/ 44 w 159"/>
                <a:gd name="T61" fmla="*/ 74 h 131"/>
                <a:gd name="T62" fmla="*/ 54 w 159"/>
                <a:gd name="T63" fmla="*/ 77 h 131"/>
                <a:gd name="T64" fmla="*/ 57 w 159"/>
                <a:gd name="T65" fmla="*/ 86 h 131"/>
                <a:gd name="T66" fmla="*/ 64 w 159"/>
                <a:gd name="T67" fmla="*/ 99 h 131"/>
                <a:gd name="T68" fmla="*/ 76 w 159"/>
                <a:gd name="T69" fmla="*/ 102 h 131"/>
                <a:gd name="T70" fmla="*/ 83 w 159"/>
                <a:gd name="T71" fmla="*/ 102 h 131"/>
                <a:gd name="T72" fmla="*/ 86 w 159"/>
                <a:gd name="T73" fmla="*/ 102 h 131"/>
                <a:gd name="T74" fmla="*/ 92 w 159"/>
                <a:gd name="T75" fmla="*/ 106 h 131"/>
                <a:gd name="T76" fmla="*/ 99 w 159"/>
                <a:gd name="T77" fmla="*/ 106 h 131"/>
                <a:gd name="T78" fmla="*/ 111 w 159"/>
                <a:gd name="T79" fmla="*/ 128 h 131"/>
                <a:gd name="T80" fmla="*/ 121 w 159"/>
                <a:gd name="T81" fmla="*/ 128 h 131"/>
                <a:gd name="T82" fmla="*/ 134 w 159"/>
                <a:gd name="T83" fmla="*/ 131 h 131"/>
                <a:gd name="T84" fmla="*/ 134 w 159"/>
                <a:gd name="T85" fmla="*/ 128 h 131"/>
                <a:gd name="T86" fmla="*/ 146 w 159"/>
                <a:gd name="T87" fmla="*/ 128 h 131"/>
                <a:gd name="T88" fmla="*/ 146 w 159"/>
                <a:gd name="T89" fmla="*/ 118 h 131"/>
                <a:gd name="T90" fmla="*/ 140 w 159"/>
                <a:gd name="T91" fmla="*/ 118 h 131"/>
                <a:gd name="T92" fmla="*/ 140 w 159"/>
                <a:gd name="T93" fmla="*/ 106 h 131"/>
                <a:gd name="T94" fmla="*/ 134 w 159"/>
                <a:gd name="T95" fmla="*/ 106 h 131"/>
                <a:gd name="T96" fmla="*/ 140 w 159"/>
                <a:gd name="T97" fmla="*/ 99 h 131"/>
                <a:gd name="T98" fmla="*/ 146 w 159"/>
                <a:gd name="T99" fmla="*/ 90 h 131"/>
                <a:gd name="T100" fmla="*/ 150 w 159"/>
                <a:gd name="T101" fmla="*/ 90 h 131"/>
                <a:gd name="T102" fmla="*/ 150 w 159"/>
                <a:gd name="T103" fmla="*/ 90 h 131"/>
                <a:gd name="T104" fmla="*/ 150 w 159"/>
                <a:gd name="T105" fmla="*/ 90 h 13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9" h="131">
                  <a:moveTo>
                    <a:pt x="150" y="90"/>
                  </a:moveTo>
                  <a:lnTo>
                    <a:pt x="159" y="74"/>
                  </a:lnTo>
                  <a:lnTo>
                    <a:pt x="150" y="61"/>
                  </a:lnTo>
                  <a:lnTo>
                    <a:pt x="150" y="58"/>
                  </a:lnTo>
                  <a:lnTo>
                    <a:pt x="140" y="35"/>
                  </a:lnTo>
                  <a:lnTo>
                    <a:pt x="146" y="32"/>
                  </a:lnTo>
                  <a:lnTo>
                    <a:pt x="134" y="29"/>
                  </a:lnTo>
                  <a:lnTo>
                    <a:pt x="134" y="20"/>
                  </a:lnTo>
                  <a:lnTo>
                    <a:pt x="127" y="7"/>
                  </a:lnTo>
                  <a:lnTo>
                    <a:pt x="118" y="16"/>
                  </a:lnTo>
                  <a:lnTo>
                    <a:pt x="111" y="4"/>
                  </a:lnTo>
                  <a:lnTo>
                    <a:pt x="99" y="4"/>
                  </a:lnTo>
                  <a:lnTo>
                    <a:pt x="92" y="0"/>
                  </a:lnTo>
                  <a:lnTo>
                    <a:pt x="76" y="0"/>
                  </a:lnTo>
                  <a:lnTo>
                    <a:pt x="70" y="4"/>
                  </a:lnTo>
                  <a:lnTo>
                    <a:pt x="64" y="7"/>
                  </a:lnTo>
                  <a:lnTo>
                    <a:pt x="54" y="16"/>
                  </a:lnTo>
                  <a:lnTo>
                    <a:pt x="44" y="20"/>
                  </a:lnTo>
                  <a:lnTo>
                    <a:pt x="41" y="16"/>
                  </a:lnTo>
                  <a:lnTo>
                    <a:pt x="29" y="16"/>
                  </a:lnTo>
                  <a:lnTo>
                    <a:pt x="25" y="4"/>
                  </a:lnTo>
                  <a:lnTo>
                    <a:pt x="16" y="4"/>
                  </a:lnTo>
                  <a:lnTo>
                    <a:pt x="3" y="7"/>
                  </a:lnTo>
                  <a:lnTo>
                    <a:pt x="0" y="20"/>
                  </a:lnTo>
                  <a:lnTo>
                    <a:pt x="3" y="29"/>
                  </a:lnTo>
                  <a:lnTo>
                    <a:pt x="13" y="48"/>
                  </a:lnTo>
                  <a:lnTo>
                    <a:pt x="25" y="48"/>
                  </a:lnTo>
                  <a:lnTo>
                    <a:pt x="25" y="61"/>
                  </a:lnTo>
                  <a:lnTo>
                    <a:pt x="41" y="74"/>
                  </a:lnTo>
                  <a:lnTo>
                    <a:pt x="44" y="74"/>
                  </a:lnTo>
                  <a:lnTo>
                    <a:pt x="54" y="77"/>
                  </a:lnTo>
                  <a:lnTo>
                    <a:pt x="57" y="86"/>
                  </a:lnTo>
                  <a:lnTo>
                    <a:pt x="64" y="99"/>
                  </a:lnTo>
                  <a:lnTo>
                    <a:pt x="76" y="102"/>
                  </a:lnTo>
                  <a:lnTo>
                    <a:pt x="83" y="102"/>
                  </a:lnTo>
                  <a:lnTo>
                    <a:pt x="86" y="102"/>
                  </a:lnTo>
                  <a:lnTo>
                    <a:pt x="92" y="106"/>
                  </a:lnTo>
                  <a:lnTo>
                    <a:pt x="99" y="106"/>
                  </a:lnTo>
                  <a:lnTo>
                    <a:pt x="111" y="128"/>
                  </a:lnTo>
                  <a:lnTo>
                    <a:pt x="121" y="128"/>
                  </a:lnTo>
                  <a:lnTo>
                    <a:pt x="134" y="131"/>
                  </a:lnTo>
                  <a:lnTo>
                    <a:pt x="134" y="128"/>
                  </a:lnTo>
                  <a:lnTo>
                    <a:pt x="146" y="128"/>
                  </a:lnTo>
                  <a:lnTo>
                    <a:pt x="146" y="118"/>
                  </a:lnTo>
                  <a:lnTo>
                    <a:pt x="140" y="118"/>
                  </a:lnTo>
                  <a:lnTo>
                    <a:pt x="140" y="106"/>
                  </a:lnTo>
                  <a:lnTo>
                    <a:pt x="134" y="106"/>
                  </a:lnTo>
                  <a:lnTo>
                    <a:pt x="140" y="99"/>
                  </a:lnTo>
                  <a:lnTo>
                    <a:pt x="146" y="90"/>
                  </a:lnTo>
                  <a:lnTo>
                    <a:pt x="150" y="90"/>
                  </a:ln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230" name="Freeform 69"/>
            <p:cNvSpPr>
              <a:spLocks/>
            </p:cNvSpPr>
            <p:nvPr/>
          </p:nvSpPr>
          <p:spPr bwMode="gray">
            <a:xfrm>
              <a:off x="2532" y="1677"/>
              <a:ext cx="41" cy="54"/>
            </a:xfrm>
            <a:custGeom>
              <a:avLst/>
              <a:gdLst>
                <a:gd name="T0" fmla="*/ 12 w 41"/>
                <a:gd name="T1" fmla="*/ 38 h 54"/>
                <a:gd name="T2" fmla="*/ 12 w 41"/>
                <a:gd name="T3" fmla="*/ 28 h 54"/>
                <a:gd name="T4" fmla="*/ 9 w 41"/>
                <a:gd name="T5" fmla="*/ 28 h 54"/>
                <a:gd name="T6" fmla="*/ 9 w 41"/>
                <a:gd name="T7" fmla="*/ 16 h 54"/>
                <a:gd name="T8" fmla="*/ 0 w 41"/>
                <a:gd name="T9" fmla="*/ 16 h 54"/>
                <a:gd name="T10" fmla="*/ 9 w 41"/>
                <a:gd name="T11" fmla="*/ 9 h 54"/>
                <a:gd name="T12" fmla="*/ 12 w 41"/>
                <a:gd name="T13" fmla="*/ 0 h 54"/>
                <a:gd name="T14" fmla="*/ 16 w 41"/>
                <a:gd name="T15" fmla="*/ 0 h 54"/>
                <a:gd name="T16" fmla="*/ 28 w 41"/>
                <a:gd name="T17" fmla="*/ 12 h 54"/>
                <a:gd name="T18" fmla="*/ 35 w 41"/>
                <a:gd name="T19" fmla="*/ 25 h 54"/>
                <a:gd name="T20" fmla="*/ 41 w 41"/>
                <a:gd name="T21" fmla="*/ 28 h 54"/>
                <a:gd name="T22" fmla="*/ 41 w 41"/>
                <a:gd name="T23" fmla="*/ 44 h 54"/>
                <a:gd name="T24" fmla="*/ 28 w 41"/>
                <a:gd name="T25" fmla="*/ 54 h 54"/>
                <a:gd name="T26" fmla="*/ 16 w 41"/>
                <a:gd name="T27" fmla="*/ 44 h 54"/>
                <a:gd name="T28" fmla="*/ 12 w 41"/>
                <a:gd name="T29" fmla="*/ 38 h 54"/>
                <a:gd name="T30" fmla="*/ 12 w 41"/>
                <a:gd name="T31" fmla="*/ 38 h 54"/>
                <a:gd name="T32" fmla="*/ 12 w 41"/>
                <a:gd name="T33" fmla="*/ 38 h 54"/>
                <a:gd name="T34" fmla="*/ 12 w 41"/>
                <a:gd name="T35" fmla="*/ 38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1" h="54">
                  <a:moveTo>
                    <a:pt x="12" y="38"/>
                  </a:moveTo>
                  <a:lnTo>
                    <a:pt x="12" y="28"/>
                  </a:lnTo>
                  <a:lnTo>
                    <a:pt x="9" y="28"/>
                  </a:lnTo>
                  <a:lnTo>
                    <a:pt x="9" y="16"/>
                  </a:lnTo>
                  <a:lnTo>
                    <a:pt x="0" y="16"/>
                  </a:lnTo>
                  <a:lnTo>
                    <a:pt x="9" y="9"/>
                  </a:lnTo>
                  <a:lnTo>
                    <a:pt x="12" y="0"/>
                  </a:lnTo>
                  <a:lnTo>
                    <a:pt x="16" y="0"/>
                  </a:lnTo>
                  <a:lnTo>
                    <a:pt x="28" y="12"/>
                  </a:lnTo>
                  <a:lnTo>
                    <a:pt x="35" y="25"/>
                  </a:lnTo>
                  <a:lnTo>
                    <a:pt x="41" y="28"/>
                  </a:lnTo>
                  <a:lnTo>
                    <a:pt x="41" y="44"/>
                  </a:lnTo>
                  <a:lnTo>
                    <a:pt x="28" y="54"/>
                  </a:lnTo>
                  <a:lnTo>
                    <a:pt x="16" y="44"/>
                  </a:lnTo>
                  <a:lnTo>
                    <a:pt x="12" y="38"/>
                  </a:lnTo>
                  <a:close/>
                </a:path>
              </a:pathLst>
            </a:custGeom>
            <a:pattFill prst="dkDnDiag">
              <a:fgClr>
                <a:schemeClr val="accent3"/>
              </a:fgClr>
              <a:bgClr>
                <a:schemeClr val="bg1"/>
              </a:bgClr>
            </a:pattFill>
            <a:ln w="6350">
              <a:solidFill>
                <a:schemeClr val="accent2"/>
              </a:solidFill>
              <a:round/>
              <a:headEnd/>
              <a:tailEnd/>
            </a:ln>
          </p:spPr>
          <p:txBody>
            <a:bodyPr/>
            <a:lstStyle/>
            <a:p>
              <a:endParaRPr lang="de-DE"/>
            </a:p>
          </p:txBody>
        </p:sp>
        <p:sp>
          <p:nvSpPr>
            <p:cNvPr id="231" name="Freeform 71"/>
            <p:cNvSpPr>
              <a:spLocks/>
            </p:cNvSpPr>
            <p:nvPr/>
          </p:nvSpPr>
          <p:spPr bwMode="gray">
            <a:xfrm>
              <a:off x="1748" y="1285"/>
              <a:ext cx="226" cy="290"/>
            </a:xfrm>
            <a:custGeom>
              <a:avLst/>
              <a:gdLst>
                <a:gd name="T0" fmla="*/ 93 w 226"/>
                <a:gd name="T1" fmla="*/ 280 h 290"/>
                <a:gd name="T2" fmla="*/ 118 w 226"/>
                <a:gd name="T3" fmla="*/ 264 h 290"/>
                <a:gd name="T4" fmla="*/ 134 w 226"/>
                <a:gd name="T5" fmla="*/ 261 h 290"/>
                <a:gd name="T6" fmla="*/ 176 w 226"/>
                <a:gd name="T7" fmla="*/ 248 h 290"/>
                <a:gd name="T8" fmla="*/ 185 w 226"/>
                <a:gd name="T9" fmla="*/ 245 h 290"/>
                <a:gd name="T10" fmla="*/ 198 w 226"/>
                <a:gd name="T11" fmla="*/ 232 h 290"/>
                <a:gd name="T12" fmla="*/ 214 w 226"/>
                <a:gd name="T13" fmla="*/ 207 h 290"/>
                <a:gd name="T14" fmla="*/ 223 w 226"/>
                <a:gd name="T15" fmla="*/ 162 h 290"/>
                <a:gd name="T16" fmla="*/ 223 w 226"/>
                <a:gd name="T17" fmla="*/ 137 h 290"/>
                <a:gd name="T18" fmla="*/ 211 w 226"/>
                <a:gd name="T19" fmla="*/ 118 h 290"/>
                <a:gd name="T20" fmla="*/ 211 w 226"/>
                <a:gd name="T21" fmla="*/ 96 h 290"/>
                <a:gd name="T22" fmla="*/ 176 w 226"/>
                <a:gd name="T23" fmla="*/ 67 h 290"/>
                <a:gd name="T24" fmla="*/ 156 w 226"/>
                <a:gd name="T25" fmla="*/ 92 h 290"/>
                <a:gd name="T26" fmla="*/ 156 w 226"/>
                <a:gd name="T27" fmla="*/ 48 h 290"/>
                <a:gd name="T28" fmla="*/ 169 w 226"/>
                <a:gd name="T29" fmla="*/ 22 h 290"/>
                <a:gd name="T30" fmla="*/ 185 w 226"/>
                <a:gd name="T31" fmla="*/ 10 h 290"/>
                <a:gd name="T32" fmla="*/ 169 w 226"/>
                <a:gd name="T33" fmla="*/ 7 h 290"/>
                <a:gd name="T34" fmla="*/ 153 w 226"/>
                <a:gd name="T35" fmla="*/ 29 h 290"/>
                <a:gd name="T36" fmla="*/ 153 w 226"/>
                <a:gd name="T37" fmla="*/ 7 h 290"/>
                <a:gd name="T38" fmla="*/ 141 w 226"/>
                <a:gd name="T39" fmla="*/ 19 h 290"/>
                <a:gd name="T40" fmla="*/ 121 w 226"/>
                <a:gd name="T41" fmla="*/ 22 h 290"/>
                <a:gd name="T42" fmla="*/ 121 w 226"/>
                <a:gd name="T43" fmla="*/ 35 h 290"/>
                <a:gd name="T44" fmla="*/ 112 w 226"/>
                <a:gd name="T45" fmla="*/ 48 h 290"/>
                <a:gd name="T46" fmla="*/ 118 w 226"/>
                <a:gd name="T47" fmla="*/ 51 h 290"/>
                <a:gd name="T48" fmla="*/ 128 w 226"/>
                <a:gd name="T49" fmla="*/ 61 h 290"/>
                <a:gd name="T50" fmla="*/ 112 w 226"/>
                <a:gd name="T51" fmla="*/ 80 h 290"/>
                <a:gd name="T52" fmla="*/ 77 w 226"/>
                <a:gd name="T53" fmla="*/ 89 h 290"/>
                <a:gd name="T54" fmla="*/ 48 w 226"/>
                <a:gd name="T55" fmla="*/ 77 h 290"/>
                <a:gd name="T56" fmla="*/ 42 w 226"/>
                <a:gd name="T57" fmla="*/ 80 h 290"/>
                <a:gd name="T58" fmla="*/ 48 w 226"/>
                <a:gd name="T59" fmla="*/ 96 h 290"/>
                <a:gd name="T60" fmla="*/ 29 w 226"/>
                <a:gd name="T61" fmla="*/ 96 h 290"/>
                <a:gd name="T62" fmla="*/ 58 w 226"/>
                <a:gd name="T63" fmla="*/ 118 h 290"/>
                <a:gd name="T64" fmla="*/ 48 w 226"/>
                <a:gd name="T65" fmla="*/ 124 h 290"/>
                <a:gd name="T66" fmla="*/ 29 w 226"/>
                <a:gd name="T67" fmla="*/ 137 h 290"/>
                <a:gd name="T68" fmla="*/ 42 w 226"/>
                <a:gd name="T69" fmla="*/ 147 h 290"/>
                <a:gd name="T70" fmla="*/ 80 w 226"/>
                <a:gd name="T71" fmla="*/ 153 h 290"/>
                <a:gd name="T72" fmla="*/ 58 w 226"/>
                <a:gd name="T73" fmla="*/ 178 h 290"/>
                <a:gd name="T74" fmla="*/ 35 w 226"/>
                <a:gd name="T75" fmla="*/ 207 h 290"/>
                <a:gd name="T76" fmla="*/ 58 w 226"/>
                <a:gd name="T77" fmla="*/ 204 h 290"/>
                <a:gd name="T78" fmla="*/ 80 w 226"/>
                <a:gd name="T79" fmla="*/ 194 h 290"/>
                <a:gd name="T80" fmla="*/ 48 w 226"/>
                <a:gd name="T81" fmla="*/ 207 h 290"/>
                <a:gd name="T82" fmla="*/ 35 w 226"/>
                <a:gd name="T83" fmla="*/ 223 h 290"/>
                <a:gd name="T84" fmla="*/ 29 w 226"/>
                <a:gd name="T85" fmla="*/ 232 h 290"/>
                <a:gd name="T86" fmla="*/ 20 w 226"/>
                <a:gd name="T87" fmla="*/ 223 h 290"/>
                <a:gd name="T88" fmla="*/ 42 w 226"/>
                <a:gd name="T89" fmla="*/ 236 h 290"/>
                <a:gd name="T90" fmla="*/ 7 w 226"/>
                <a:gd name="T91" fmla="*/ 261 h 290"/>
                <a:gd name="T92" fmla="*/ 48 w 226"/>
                <a:gd name="T93" fmla="*/ 261 h 290"/>
                <a:gd name="T94" fmla="*/ 29 w 226"/>
                <a:gd name="T95" fmla="*/ 277 h 290"/>
                <a:gd name="T96" fmla="*/ 35 w 226"/>
                <a:gd name="T97" fmla="*/ 280 h 290"/>
                <a:gd name="T98" fmla="*/ 51 w 226"/>
                <a:gd name="T99" fmla="*/ 280 h 290"/>
                <a:gd name="T100" fmla="*/ 58 w 226"/>
                <a:gd name="T101" fmla="*/ 290 h 2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26" h="290">
                  <a:moveTo>
                    <a:pt x="58" y="290"/>
                  </a:moveTo>
                  <a:lnTo>
                    <a:pt x="77" y="290"/>
                  </a:lnTo>
                  <a:lnTo>
                    <a:pt x="93" y="280"/>
                  </a:lnTo>
                  <a:lnTo>
                    <a:pt x="112" y="274"/>
                  </a:lnTo>
                  <a:lnTo>
                    <a:pt x="106" y="261"/>
                  </a:lnTo>
                  <a:lnTo>
                    <a:pt x="118" y="264"/>
                  </a:lnTo>
                  <a:lnTo>
                    <a:pt x="112" y="274"/>
                  </a:lnTo>
                  <a:lnTo>
                    <a:pt x="121" y="274"/>
                  </a:lnTo>
                  <a:lnTo>
                    <a:pt x="134" y="261"/>
                  </a:lnTo>
                  <a:lnTo>
                    <a:pt x="141" y="261"/>
                  </a:lnTo>
                  <a:lnTo>
                    <a:pt x="141" y="248"/>
                  </a:lnTo>
                  <a:lnTo>
                    <a:pt x="176" y="248"/>
                  </a:lnTo>
                  <a:lnTo>
                    <a:pt x="176" y="236"/>
                  </a:lnTo>
                  <a:lnTo>
                    <a:pt x="182" y="248"/>
                  </a:lnTo>
                  <a:lnTo>
                    <a:pt x="185" y="245"/>
                  </a:lnTo>
                  <a:lnTo>
                    <a:pt x="191" y="245"/>
                  </a:lnTo>
                  <a:lnTo>
                    <a:pt x="211" y="245"/>
                  </a:lnTo>
                  <a:lnTo>
                    <a:pt x="198" y="232"/>
                  </a:lnTo>
                  <a:lnTo>
                    <a:pt x="204" y="223"/>
                  </a:lnTo>
                  <a:lnTo>
                    <a:pt x="214" y="217"/>
                  </a:lnTo>
                  <a:lnTo>
                    <a:pt x="214" y="207"/>
                  </a:lnTo>
                  <a:lnTo>
                    <a:pt x="223" y="194"/>
                  </a:lnTo>
                  <a:lnTo>
                    <a:pt x="226" y="188"/>
                  </a:lnTo>
                  <a:lnTo>
                    <a:pt x="223" y="162"/>
                  </a:lnTo>
                  <a:lnTo>
                    <a:pt x="214" y="153"/>
                  </a:lnTo>
                  <a:lnTo>
                    <a:pt x="223" y="150"/>
                  </a:lnTo>
                  <a:lnTo>
                    <a:pt x="223" y="137"/>
                  </a:lnTo>
                  <a:lnTo>
                    <a:pt x="214" y="134"/>
                  </a:lnTo>
                  <a:lnTo>
                    <a:pt x="214" y="121"/>
                  </a:lnTo>
                  <a:lnTo>
                    <a:pt x="211" y="118"/>
                  </a:lnTo>
                  <a:lnTo>
                    <a:pt x="211" y="108"/>
                  </a:lnTo>
                  <a:lnTo>
                    <a:pt x="223" y="108"/>
                  </a:lnTo>
                  <a:lnTo>
                    <a:pt x="211" y="96"/>
                  </a:lnTo>
                  <a:lnTo>
                    <a:pt x="198" y="96"/>
                  </a:lnTo>
                  <a:lnTo>
                    <a:pt x="185" y="80"/>
                  </a:lnTo>
                  <a:lnTo>
                    <a:pt x="176" y="67"/>
                  </a:lnTo>
                  <a:lnTo>
                    <a:pt x="169" y="77"/>
                  </a:lnTo>
                  <a:lnTo>
                    <a:pt x="163" y="92"/>
                  </a:lnTo>
                  <a:lnTo>
                    <a:pt x="156" y="92"/>
                  </a:lnTo>
                  <a:lnTo>
                    <a:pt x="134" y="67"/>
                  </a:lnTo>
                  <a:lnTo>
                    <a:pt x="147" y="48"/>
                  </a:lnTo>
                  <a:lnTo>
                    <a:pt x="156" y="48"/>
                  </a:lnTo>
                  <a:lnTo>
                    <a:pt x="156" y="35"/>
                  </a:lnTo>
                  <a:lnTo>
                    <a:pt x="163" y="29"/>
                  </a:lnTo>
                  <a:lnTo>
                    <a:pt x="169" y="22"/>
                  </a:lnTo>
                  <a:lnTo>
                    <a:pt x="169" y="29"/>
                  </a:lnTo>
                  <a:lnTo>
                    <a:pt x="176" y="19"/>
                  </a:lnTo>
                  <a:lnTo>
                    <a:pt x="185" y="10"/>
                  </a:lnTo>
                  <a:lnTo>
                    <a:pt x="176" y="7"/>
                  </a:lnTo>
                  <a:lnTo>
                    <a:pt x="169" y="0"/>
                  </a:lnTo>
                  <a:lnTo>
                    <a:pt x="169" y="7"/>
                  </a:lnTo>
                  <a:lnTo>
                    <a:pt x="156" y="7"/>
                  </a:lnTo>
                  <a:lnTo>
                    <a:pt x="163" y="19"/>
                  </a:lnTo>
                  <a:lnTo>
                    <a:pt x="153" y="29"/>
                  </a:lnTo>
                  <a:lnTo>
                    <a:pt x="156" y="22"/>
                  </a:lnTo>
                  <a:lnTo>
                    <a:pt x="156" y="19"/>
                  </a:lnTo>
                  <a:lnTo>
                    <a:pt x="153" y="7"/>
                  </a:lnTo>
                  <a:lnTo>
                    <a:pt x="147" y="10"/>
                  </a:lnTo>
                  <a:lnTo>
                    <a:pt x="153" y="19"/>
                  </a:lnTo>
                  <a:lnTo>
                    <a:pt x="141" y="19"/>
                  </a:lnTo>
                  <a:lnTo>
                    <a:pt x="141" y="10"/>
                  </a:lnTo>
                  <a:lnTo>
                    <a:pt x="121" y="19"/>
                  </a:lnTo>
                  <a:lnTo>
                    <a:pt x="121" y="22"/>
                  </a:lnTo>
                  <a:lnTo>
                    <a:pt x="118" y="22"/>
                  </a:lnTo>
                  <a:lnTo>
                    <a:pt x="118" y="29"/>
                  </a:lnTo>
                  <a:lnTo>
                    <a:pt x="121" y="35"/>
                  </a:lnTo>
                  <a:lnTo>
                    <a:pt x="121" y="38"/>
                  </a:lnTo>
                  <a:lnTo>
                    <a:pt x="112" y="38"/>
                  </a:lnTo>
                  <a:lnTo>
                    <a:pt x="112" y="48"/>
                  </a:lnTo>
                  <a:lnTo>
                    <a:pt x="99" y="48"/>
                  </a:lnTo>
                  <a:lnTo>
                    <a:pt x="106" y="51"/>
                  </a:lnTo>
                  <a:lnTo>
                    <a:pt x="118" y="51"/>
                  </a:lnTo>
                  <a:lnTo>
                    <a:pt x="118" y="61"/>
                  </a:lnTo>
                  <a:lnTo>
                    <a:pt x="121" y="51"/>
                  </a:lnTo>
                  <a:lnTo>
                    <a:pt x="128" y="61"/>
                  </a:lnTo>
                  <a:lnTo>
                    <a:pt x="118" y="67"/>
                  </a:lnTo>
                  <a:lnTo>
                    <a:pt x="106" y="77"/>
                  </a:lnTo>
                  <a:lnTo>
                    <a:pt x="112" y="80"/>
                  </a:lnTo>
                  <a:lnTo>
                    <a:pt x="93" y="80"/>
                  </a:lnTo>
                  <a:lnTo>
                    <a:pt x="90" y="80"/>
                  </a:lnTo>
                  <a:lnTo>
                    <a:pt x="77" y="89"/>
                  </a:lnTo>
                  <a:lnTo>
                    <a:pt x="77" y="77"/>
                  </a:lnTo>
                  <a:lnTo>
                    <a:pt x="48" y="67"/>
                  </a:lnTo>
                  <a:lnTo>
                    <a:pt x="48" y="77"/>
                  </a:lnTo>
                  <a:lnTo>
                    <a:pt x="35" y="77"/>
                  </a:lnTo>
                  <a:lnTo>
                    <a:pt x="35" y="89"/>
                  </a:lnTo>
                  <a:lnTo>
                    <a:pt x="42" y="80"/>
                  </a:lnTo>
                  <a:lnTo>
                    <a:pt x="42" y="92"/>
                  </a:lnTo>
                  <a:lnTo>
                    <a:pt x="48" y="92"/>
                  </a:lnTo>
                  <a:lnTo>
                    <a:pt x="48" y="96"/>
                  </a:lnTo>
                  <a:lnTo>
                    <a:pt x="42" y="105"/>
                  </a:lnTo>
                  <a:lnTo>
                    <a:pt x="42" y="96"/>
                  </a:lnTo>
                  <a:lnTo>
                    <a:pt x="29" y="96"/>
                  </a:lnTo>
                  <a:lnTo>
                    <a:pt x="42" y="108"/>
                  </a:lnTo>
                  <a:lnTo>
                    <a:pt x="51" y="105"/>
                  </a:lnTo>
                  <a:lnTo>
                    <a:pt x="58" y="118"/>
                  </a:lnTo>
                  <a:lnTo>
                    <a:pt x="42" y="118"/>
                  </a:lnTo>
                  <a:lnTo>
                    <a:pt x="42" y="121"/>
                  </a:lnTo>
                  <a:lnTo>
                    <a:pt x="48" y="124"/>
                  </a:lnTo>
                  <a:lnTo>
                    <a:pt x="29" y="124"/>
                  </a:lnTo>
                  <a:lnTo>
                    <a:pt x="35" y="137"/>
                  </a:lnTo>
                  <a:lnTo>
                    <a:pt x="29" y="137"/>
                  </a:lnTo>
                  <a:lnTo>
                    <a:pt x="35" y="147"/>
                  </a:lnTo>
                  <a:lnTo>
                    <a:pt x="42" y="147"/>
                  </a:lnTo>
                  <a:lnTo>
                    <a:pt x="51" y="147"/>
                  </a:lnTo>
                  <a:lnTo>
                    <a:pt x="51" y="153"/>
                  </a:lnTo>
                  <a:lnTo>
                    <a:pt x="80" y="153"/>
                  </a:lnTo>
                  <a:lnTo>
                    <a:pt x="77" y="166"/>
                  </a:lnTo>
                  <a:lnTo>
                    <a:pt x="70" y="162"/>
                  </a:lnTo>
                  <a:lnTo>
                    <a:pt x="58" y="178"/>
                  </a:lnTo>
                  <a:lnTo>
                    <a:pt x="64" y="178"/>
                  </a:lnTo>
                  <a:lnTo>
                    <a:pt x="51" y="191"/>
                  </a:lnTo>
                  <a:lnTo>
                    <a:pt x="35" y="207"/>
                  </a:lnTo>
                  <a:lnTo>
                    <a:pt x="42" y="207"/>
                  </a:lnTo>
                  <a:lnTo>
                    <a:pt x="51" y="204"/>
                  </a:lnTo>
                  <a:lnTo>
                    <a:pt x="58" y="204"/>
                  </a:lnTo>
                  <a:lnTo>
                    <a:pt x="70" y="204"/>
                  </a:lnTo>
                  <a:lnTo>
                    <a:pt x="80" y="194"/>
                  </a:lnTo>
                  <a:lnTo>
                    <a:pt x="93" y="204"/>
                  </a:lnTo>
                  <a:lnTo>
                    <a:pt x="64" y="207"/>
                  </a:lnTo>
                  <a:lnTo>
                    <a:pt x="48" y="207"/>
                  </a:lnTo>
                  <a:lnTo>
                    <a:pt x="48" y="217"/>
                  </a:lnTo>
                  <a:lnTo>
                    <a:pt x="35" y="220"/>
                  </a:lnTo>
                  <a:lnTo>
                    <a:pt x="35" y="223"/>
                  </a:lnTo>
                  <a:lnTo>
                    <a:pt x="35" y="232"/>
                  </a:lnTo>
                  <a:lnTo>
                    <a:pt x="42" y="232"/>
                  </a:lnTo>
                  <a:lnTo>
                    <a:pt x="29" y="232"/>
                  </a:lnTo>
                  <a:lnTo>
                    <a:pt x="23" y="223"/>
                  </a:lnTo>
                  <a:lnTo>
                    <a:pt x="20" y="232"/>
                  </a:lnTo>
                  <a:lnTo>
                    <a:pt x="20" y="223"/>
                  </a:lnTo>
                  <a:lnTo>
                    <a:pt x="0" y="236"/>
                  </a:lnTo>
                  <a:lnTo>
                    <a:pt x="7" y="236"/>
                  </a:lnTo>
                  <a:lnTo>
                    <a:pt x="42" y="236"/>
                  </a:lnTo>
                  <a:lnTo>
                    <a:pt x="29" y="248"/>
                  </a:lnTo>
                  <a:lnTo>
                    <a:pt x="10" y="248"/>
                  </a:lnTo>
                  <a:lnTo>
                    <a:pt x="7" y="261"/>
                  </a:lnTo>
                  <a:lnTo>
                    <a:pt x="20" y="261"/>
                  </a:lnTo>
                  <a:lnTo>
                    <a:pt x="20" y="264"/>
                  </a:lnTo>
                  <a:lnTo>
                    <a:pt x="48" y="261"/>
                  </a:lnTo>
                  <a:lnTo>
                    <a:pt x="23" y="274"/>
                  </a:lnTo>
                  <a:lnTo>
                    <a:pt x="20" y="277"/>
                  </a:lnTo>
                  <a:lnTo>
                    <a:pt x="29" y="277"/>
                  </a:lnTo>
                  <a:lnTo>
                    <a:pt x="48" y="274"/>
                  </a:lnTo>
                  <a:lnTo>
                    <a:pt x="48" y="277"/>
                  </a:lnTo>
                  <a:lnTo>
                    <a:pt x="35" y="280"/>
                  </a:lnTo>
                  <a:lnTo>
                    <a:pt x="42" y="280"/>
                  </a:lnTo>
                  <a:lnTo>
                    <a:pt x="42" y="290"/>
                  </a:lnTo>
                  <a:lnTo>
                    <a:pt x="51" y="280"/>
                  </a:lnTo>
                  <a:lnTo>
                    <a:pt x="58" y="290"/>
                  </a:lnTo>
                  <a:close/>
                </a:path>
              </a:pathLst>
            </a:custGeom>
            <a:solidFill>
              <a:schemeClr val="bg1"/>
            </a:solidFill>
            <a:ln w="6350">
              <a:solidFill>
                <a:schemeClr val="accent2"/>
              </a:solidFill>
              <a:round/>
              <a:headEnd/>
              <a:tailEnd/>
            </a:ln>
          </p:spPr>
          <p:txBody>
            <a:bodyPr/>
            <a:lstStyle/>
            <a:p>
              <a:endParaRPr lang="de-DE"/>
            </a:p>
          </p:txBody>
        </p:sp>
        <p:sp>
          <p:nvSpPr>
            <p:cNvPr id="233" name="Freeform 73"/>
            <p:cNvSpPr>
              <a:spLocks noEditPoints="1"/>
            </p:cNvSpPr>
            <p:nvPr/>
          </p:nvSpPr>
          <p:spPr bwMode="gray">
            <a:xfrm>
              <a:off x="1885" y="996"/>
              <a:ext cx="468" cy="706"/>
            </a:xfrm>
            <a:custGeom>
              <a:avLst/>
              <a:gdLst>
                <a:gd name="T0" fmla="*/ 338504 w 147"/>
                <a:gd name="T1" fmla="*/ 11109031 h 222"/>
                <a:gd name="T2" fmla="*/ 3092789 w 147"/>
                <a:gd name="T3" fmla="*/ 10149097 h 222"/>
                <a:gd name="T4" fmla="*/ 3862086 w 147"/>
                <a:gd name="T5" fmla="*/ 12270563 h 222"/>
                <a:gd name="T6" fmla="*/ 14553090 w 147"/>
                <a:gd name="T7" fmla="*/ 19699035 h 222"/>
                <a:gd name="T8" fmla="*/ 10923184 w 147"/>
                <a:gd name="T9" fmla="*/ 21992542 h 222"/>
                <a:gd name="T10" fmla="*/ 2890623 w 147"/>
                <a:gd name="T11" fmla="*/ 7816225 h 222"/>
                <a:gd name="T12" fmla="*/ 2890623 w 147"/>
                <a:gd name="T13" fmla="*/ 5921098 h 222"/>
                <a:gd name="T14" fmla="*/ 7598184 w 147"/>
                <a:gd name="T15" fmla="*/ 197416 h 222"/>
                <a:gd name="T16" fmla="*/ 7157977 w 147"/>
                <a:gd name="T17" fmla="*/ 733474 h 222"/>
                <a:gd name="T18" fmla="*/ 1710938 w 147"/>
                <a:gd name="T19" fmla="*/ 2854943 h 222"/>
                <a:gd name="T20" fmla="*/ 2691850 w 147"/>
                <a:gd name="T21" fmla="*/ 2854943 h 222"/>
                <a:gd name="T22" fmla="*/ 1909711 w 147"/>
                <a:gd name="T23" fmla="*/ 3493208 h 222"/>
                <a:gd name="T24" fmla="*/ 1170236 w 147"/>
                <a:gd name="T25" fmla="*/ 4227684 h 222"/>
                <a:gd name="T26" fmla="*/ 1508740 w 147"/>
                <a:gd name="T27" fmla="*/ 4760498 h 222"/>
                <a:gd name="T28" fmla="*/ 2450091 w 147"/>
                <a:gd name="T29" fmla="*/ 4760498 h 222"/>
                <a:gd name="T30" fmla="*/ 2890623 w 147"/>
                <a:gd name="T31" fmla="*/ 3796381 h 222"/>
                <a:gd name="T32" fmla="*/ 3324675 w 147"/>
                <a:gd name="T33" fmla="*/ 7280460 h 222"/>
                <a:gd name="T34" fmla="*/ 2691850 w 147"/>
                <a:gd name="T35" fmla="*/ 7523387 h 222"/>
                <a:gd name="T36" fmla="*/ 2450091 w 147"/>
                <a:gd name="T37" fmla="*/ 8987180 h 222"/>
                <a:gd name="T38" fmla="*/ 5785247 w 147"/>
                <a:gd name="T39" fmla="*/ 15244572 h 222"/>
                <a:gd name="T40" fmla="*/ 5679247 w 147"/>
                <a:gd name="T41" fmla="*/ 12711320 h 222"/>
                <a:gd name="T42" fmla="*/ 5046097 w 147"/>
                <a:gd name="T43" fmla="*/ 22525032 h 222"/>
                <a:gd name="T44" fmla="*/ 7157977 w 147"/>
                <a:gd name="T45" fmla="*/ 22525032 h 222"/>
                <a:gd name="T46" fmla="*/ 9507936 w 147"/>
                <a:gd name="T47" fmla="*/ 21791879 h 222"/>
                <a:gd name="T48" fmla="*/ 11861250 w 147"/>
                <a:gd name="T49" fmla="*/ 21363500 h 222"/>
                <a:gd name="T50" fmla="*/ 14756190 w 147"/>
                <a:gd name="T51" fmla="*/ 20830718 h 222"/>
                <a:gd name="T52" fmla="*/ 14215822 w 147"/>
                <a:gd name="T53" fmla="*/ 19699035 h 222"/>
                <a:gd name="T54" fmla="*/ 14553090 w 147"/>
                <a:gd name="T55" fmla="*/ 18830159 h 222"/>
                <a:gd name="T56" fmla="*/ 14987337 w 147"/>
                <a:gd name="T57" fmla="*/ 17870323 h 222"/>
                <a:gd name="T58" fmla="*/ 14215822 w 147"/>
                <a:gd name="T59" fmla="*/ 15537320 h 222"/>
                <a:gd name="T60" fmla="*/ 12401943 w 147"/>
                <a:gd name="T61" fmla="*/ 14070653 h 222"/>
                <a:gd name="T62" fmla="*/ 12401943 w 147"/>
                <a:gd name="T63" fmla="*/ 14070653 h 222"/>
                <a:gd name="T64" fmla="*/ 11662375 w 147"/>
                <a:gd name="T65" fmla="*/ 11947870 h 222"/>
                <a:gd name="T66" fmla="*/ 9110250 w 147"/>
                <a:gd name="T67" fmla="*/ 8454690 h 222"/>
                <a:gd name="T68" fmla="*/ 6848553 w 147"/>
                <a:gd name="T69" fmla="*/ 8056290 h 222"/>
                <a:gd name="T70" fmla="*/ 7388829 w 147"/>
                <a:gd name="T71" fmla="*/ 7082942 h 222"/>
                <a:gd name="T72" fmla="*/ 8970618 w 147"/>
                <a:gd name="T73" fmla="*/ 5187936 h 222"/>
                <a:gd name="T74" fmla="*/ 7157977 w 147"/>
                <a:gd name="T75" fmla="*/ 3796381 h 222"/>
                <a:gd name="T76" fmla="*/ 6215298 w 147"/>
                <a:gd name="T77" fmla="*/ 3589438 h 222"/>
                <a:gd name="T78" fmla="*/ 7598184 w 147"/>
                <a:gd name="T79" fmla="*/ 1358341 h 222"/>
                <a:gd name="T80" fmla="*/ 5447068 w 147"/>
                <a:gd name="T81" fmla="*/ 1694435 h 222"/>
                <a:gd name="T82" fmla="*/ 4505716 w 147"/>
                <a:gd name="T83" fmla="*/ 2658557 h 222"/>
                <a:gd name="T84" fmla="*/ 3862086 w 147"/>
                <a:gd name="T85" fmla="*/ 3589438 h 222"/>
                <a:gd name="T86" fmla="*/ 3629814 w 147"/>
                <a:gd name="T87" fmla="*/ 4655135 h 222"/>
                <a:gd name="T88" fmla="*/ 3862086 w 147"/>
                <a:gd name="T89" fmla="*/ 5187936 h 222"/>
                <a:gd name="T90" fmla="*/ 3324675 w 147"/>
                <a:gd name="T91" fmla="*/ 6118826 h 222"/>
                <a:gd name="T92" fmla="*/ 3629814 w 147"/>
                <a:gd name="T93" fmla="*/ 6885243 h 222"/>
                <a:gd name="T94" fmla="*/ 3862086 w 147"/>
                <a:gd name="T95" fmla="*/ 8253999 h 222"/>
                <a:gd name="T96" fmla="*/ 4064153 w 147"/>
                <a:gd name="T97" fmla="*/ 9218112 h 222"/>
                <a:gd name="T98" fmla="*/ 4601561 w 147"/>
                <a:gd name="T99" fmla="*/ 8056290 h 222"/>
                <a:gd name="T100" fmla="*/ 5244879 w 147"/>
                <a:gd name="T101" fmla="*/ 8987180 h 222"/>
                <a:gd name="T102" fmla="*/ 5679247 w 147"/>
                <a:gd name="T103" fmla="*/ 11550691 h 222"/>
                <a:gd name="T104" fmla="*/ 7157977 w 147"/>
                <a:gd name="T105" fmla="*/ 11016977 h 222"/>
                <a:gd name="T106" fmla="*/ 7926239 w 147"/>
                <a:gd name="T107" fmla="*/ 14070653 h 222"/>
                <a:gd name="T108" fmla="*/ 7926239 w 147"/>
                <a:gd name="T109" fmla="*/ 15244572 h 222"/>
                <a:gd name="T110" fmla="*/ 5447068 w 147"/>
                <a:gd name="T111" fmla="*/ 16406518 h 222"/>
                <a:gd name="T112" fmla="*/ 5447068 w 147"/>
                <a:gd name="T113" fmla="*/ 18099929 h 222"/>
                <a:gd name="T114" fmla="*/ 4601561 w 147"/>
                <a:gd name="T115" fmla="*/ 19261461 h 222"/>
                <a:gd name="T116" fmla="*/ 6617304 w 147"/>
                <a:gd name="T117" fmla="*/ 19261461 h 222"/>
                <a:gd name="T118" fmla="*/ 8125142 w 147"/>
                <a:gd name="T119" fmla="*/ 19991780 h 222"/>
                <a:gd name="T120" fmla="*/ 5447068 w 147"/>
                <a:gd name="T121" fmla="*/ 21594040 h 222"/>
                <a:gd name="T122" fmla="*/ 3324675 w 147"/>
                <a:gd name="T123" fmla="*/ 23287480 h 2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47" h="222">
                  <a:moveTo>
                    <a:pt x="27" y="126"/>
                  </a:moveTo>
                  <a:cubicBezTo>
                    <a:pt x="23" y="122"/>
                    <a:pt x="23" y="122"/>
                    <a:pt x="23" y="122"/>
                  </a:cubicBezTo>
                  <a:cubicBezTo>
                    <a:pt x="20" y="122"/>
                    <a:pt x="20" y="122"/>
                    <a:pt x="20" y="122"/>
                  </a:cubicBezTo>
                  <a:cubicBezTo>
                    <a:pt x="16" y="116"/>
                    <a:pt x="16" y="116"/>
                    <a:pt x="16" y="116"/>
                  </a:cubicBezTo>
                  <a:cubicBezTo>
                    <a:pt x="12" y="113"/>
                    <a:pt x="12" y="113"/>
                    <a:pt x="12" y="113"/>
                  </a:cubicBezTo>
                  <a:cubicBezTo>
                    <a:pt x="11" y="115"/>
                    <a:pt x="11" y="115"/>
                    <a:pt x="11" y="115"/>
                  </a:cubicBezTo>
                  <a:cubicBezTo>
                    <a:pt x="9" y="120"/>
                    <a:pt x="9" y="120"/>
                    <a:pt x="9" y="120"/>
                  </a:cubicBezTo>
                  <a:cubicBezTo>
                    <a:pt x="7" y="120"/>
                    <a:pt x="7" y="120"/>
                    <a:pt x="7" y="120"/>
                  </a:cubicBezTo>
                  <a:cubicBezTo>
                    <a:pt x="0" y="113"/>
                    <a:pt x="0" y="113"/>
                    <a:pt x="0" y="113"/>
                  </a:cubicBezTo>
                  <a:cubicBezTo>
                    <a:pt x="3" y="105"/>
                    <a:pt x="3" y="105"/>
                    <a:pt x="3" y="105"/>
                  </a:cubicBezTo>
                  <a:cubicBezTo>
                    <a:pt x="7" y="105"/>
                    <a:pt x="7" y="105"/>
                    <a:pt x="7" y="105"/>
                  </a:cubicBezTo>
                  <a:cubicBezTo>
                    <a:pt x="7" y="102"/>
                    <a:pt x="7" y="102"/>
                    <a:pt x="7" y="102"/>
                  </a:cubicBezTo>
                  <a:cubicBezTo>
                    <a:pt x="9" y="100"/>
                    <a:pt x="9" y="100"/>
                    <a:pt x="9" y="100"/>
                  </a:cubicBezTo>
                  <a:cubicBezTo>
                    <a:pt x="11" y="98"/>
                    <a:pt x="11" y="98"/>
                    <a:pt x="11" y="98"/>
                  </a:cubicBezTo>
                  <a:cubicBezTo>
                    <a:pt x="14" y="98"/>
                    <a:pt x="14" y="98"/>
                    <a:pt x="14" y="98"/>
                  </a:cubicBezTo>
                  <a:cubicBezTo>
                    <a:pt x="16" y="96"/>
                    <a:pt x="16" y="96"/>
                    <a:pt x="16" y="96"/>
                  </a:cubicBezTo>
                  <a:cubicBezTo>
                    <a:pt x="18" y="96"/>
                    <a:pt x="18" y="96"/>
                    <a:pt x="18" y="96"/>
                  </a:cubicBezTo>
                  <a:cubicBezTo>
                    <a:pt x="22" y="95"/>
                    <a:pt x="22" y="95"/>
                    <a:pt x="22" y="95"/>
                  </a:cubicBezTo>
                  <a:cubicBezTo>
                    <a:pt x="25" y="95"/>
                    <a:pt x="25" y="95"/>
                    <a:pt x="25" y="95"/>
                  </a:cubicBezTo>
                  <a:cubicBezTo>
                    <a:pt x="29" y="96"/>
                    <a:pt x="29" y="96"/>
                    <a:pt x="29" y="96"/>
                  </a:cubicBezTo>
                  <a:cubicBezTo>
                    <a:pt x="29" y="100"/>
                    <a:pt x="29" y="100"/>
                    <a:pt x="29" y="100"/>
                  </a:cubicBezTo>
                  <a:cubicBezTo>
                    <a:pt x="34" y="107"/>
                    <a:pt x="34" y="107"/>
                    <a:pt x="34" y="107"/>
                  </a:cubicBezTo>
                  <a:cubicBezTo>
                    <a:pt x="31" y="109"/>
                    <a:pt x="31" y="109"/>
                    <a:pt x="31" y="109"/>
                  </a:cubicBezTo>
                  <a:cubicBezTo>
                    <a:pt x="36" y="109"/>
                    <a:pt x="36" y="109"/>
                    <a:pt x="36" y="109"/>
                  </a:cubicBezTo>
                  <a:cubicBezTo>
                    <a:pt x="38" y="116"/>
                    <a:pt x="38" y="116"/>
                    <a:pt x="38" y="116"/>
                  </a:cubicBezTo>
                  <a:cubicBezTo>
                    <a:pt x="34" y="111"/>
                    <a:pt x="34" y="111"/>
                    <a:pt x="34" y="111"/>
                  </a:cubicBezTo>
                  <a:cubicBezTo>
                    <a:pt x="33" y="111"/>
                    <a:pt x="33" y="111"/>
                    <a:pt x="33" y="111"/>
                  </a:cubicBezTo>
                  <a:cubicBezTo>
                    <a:pt x="34" y="113"/>
                    <a:pt x="34" y="113"/>
                    <a:pt x="34" y="113"/>
                  </a:cubicBezTo>
                  <a:cubicBezTo>
                    <a:pt x="33" y="116"/>
                    <a:pt x="33" y="116"/>
                    <a:pt x="33" y="116"/>
                  </a:cubicBezTo>
                  <a:cubicBezTo>
                    <a:pt x="36" y="116"/>
                    <a:pt x="36" y="116"/>
                    <a:pt x="36" y="116"/>
                  </a:cubicBezTo>
                  <a:cubicBezTo>
                    <a:pt x="34" y="118"/>
                    <a:pt x="34" y="118"/>
                    <a:pt x="34" y="118"/>
                  </a:cubicBezTo>
                  <a:cubicBezTo>
                    <a:pt x="31" y="118"/>
                    <a:pt x="31" y="118"/>
                    <a:pt x="31" y="118"/>
                  </a:cubicBezTo>
                  <a:cubicBezTo>
                    <a:pt x="31" y="120"/>
                    <a:pt x="31" y="120"/>
                    <a:pt x="31" y="120"/>
                  </a:cubicBezTo>
                  <a:cubicBezTo>
                    <a:pt x="29" y="124"/>
                    <a:pt x="29" y="124"/>
                    <a:pt x="29" y="124"/>
                  </a:cubicBezTo>
                  <a:cubicBezTo>
                    <a:pt x="27" y="122"/>
                    <a:pt x="27" y="122"/>
                    <a:pt x="27" y="122"/>
                  </a:cubicBezTo>
                  <a:cubicBezTo>
                    <a:pt x="27" y="126"/>
                    <a:pt x="27" y="126"/>
                    <a:pt x="27" y="126"/>
                  </a:cubicBezTo>
                  <a:cubicBezTo>
                    <a:pt x="27" y="126"/>
                    <a:pt x="27" y="126"/>
                    <a:pt x="27" y="126"/>
                  </a:cubicBezTo>
                  <a:close/>
                  <a:moveTo>
                    <a:pt x="133" y="186"/>
                  </a:moveTo>
                  <a:cubicBezTo>
                    <a:pt x="135" y="186"/>
                    <a:pt x="135" y="186"/>
                    <a:pt x="135" y="186"/>
                  </a:cubicBezTo>
                  <a:cubicBezTo>
                    <a:pt x="136" y="186"/>
                    <a:pt x="136" y="186"/>
                    <a:pt x="136" y="186"/>
                  </a:cubicBezTo>
                  <a:cubicBezTo>
                    <a:pt x="136" y="184"/>
                    <a:pt x="136" y="184"/>
                    <a:pt x="136" y="184"/>
                  </a:cubicBezTo>
                  <a:cubicBezTo>
                    <a:pt x="135" y="184"/>
                    <a:pt x="135" y="184"/>
                    <a:pt x="135" y="184"/>
                  </a:cubicBezTo>
                  <a:cubicBezTo>
                    <a:pt x="133" y="186"/>
                    <a:pt x="133" y="186"/>
                    <a:pt x="133" y="186"/>
                  </a:cubicBezTo>
                  <a:close/>
                  <a:moveTo>
                    <a:pt x="98" y="206"/>
                  </a:moveTo>
                  <a:cubicBezTo>
                    <a:pt x="102" y="202"/>
                    <a:pt x="102" y="202"/>
                    <a:pt x="102" y="202"/>
                  </a:cubicBezTo>
                  <a:cubicBezTo>
                    <a:pt x="104" y="204"/>
                    <a:pt x="104" y="204"/>
                    <a:pt x="104" y="204"/>
                  </a:cubicBezTo>
                  <a:cubicBezTo>
                    <a:pt x="105" y="204"/>
                    <a:pt x="105" y="204"/>
                    <a:pt x="105" y="204"/>
                  </a:cubicBezTo>
                  <a:cubicBezTo>
                    <a:pt x="105" y="206"/>
                    <a:pt x="105" y="206"/>
                    <a:pt x="105" y="206"/>
                  </a:cubicBezTo>
                  <a:cubicBezTo>
                    <a:pt x="105" y="208"/>
                    <a:pt x="105" y="208"/>
                    <a:pt x="105" y="208"/>
                  </a:cubicBezTo>
                  <a:cubicBezTo>
                    <a:pt x="102" y="208"/>
                    <a:pt x="102" y="208"/>
                    <a:pt x="102" y="208"/>
                  </a:cubicBezTo>
                  <a:cubicBezTo>
                    <a:pt x="100" y="206"/>
                    <a:pt x="100" y="206"/>
                    <a:pt x="100" y="206"/>
                  </a:cubicBezTo>
                  <a:cubicBezTo>
                    <a:pt x="98" y="206"/>
                    <a:pt x="98" y="206"/>
                    <a:pt x="98" y="206"/>
                  </a:cubicBezTo>
                  <a:close/>
                  <a:moveTo>
                    <a:pt x="42" y="80"/>
                  </a:moveTo>
                  <a:cubicBezTo>
                    <a:pt x="42" y="82"/>
                    <a:pt x="42" y="82"/>
                    <a:pt x="42" y="82"/>
                  </a:cubicBezTo>
                  <a:cubicBezTo>
                    <a:pt x="43" y="84"/>
                    <a:pt x="43" y="84"/>
                    <a:pt x="43" y="84"/>
                  </a:cubicBezTo>
                  <a:cubicBezTo>
                    <a:pt x="43" y="82"/>
                    <a:pt x="43" y="82"/>
                    <a:pt x="43" y="82"/>
                  </a:cubicBezTo>
                  <a:cubicBezTo>
                    <a:pt x="42" y="80"/>
                    <a:pt x="42" y="80"/>
                    <a:pt x="42" y="80"/>
                  </a:cubicBezTo>
                  <a:close/>
                  <a:moveTo>
                    <a:pt x="27" y="76"/>
                  </a:moveTo>
                  <a:cubicBezTo>
                    <a:pt x="27" y="73"/>
                    <a:pt x="27" y="73"/>
                    <a:pt x="27" y="73"/>
                  </a:cubicBezTo>
                  <a:cubicBezTo>
                    <a:pt x="27" y="74"/>
                    <a:pt x="27" y="74"/>
                    <a:pt x="27" y="74"/>
                  </a:cubicBezTo>
                  <a:cubicBezTo>
                    <a:pt x="27" y="76"/>
                    <a:pt x="27" y="76"/>
                    <a:pt x="27" y="76"/>
                  </a:cubicBezTo>
                  <a:close/>
                  <a:moveTo>
                    <a:pt x="16" y="65"/>
                  </a:moveTo>
                  <a:cubicBezTo>
                    <a:pt x="16" y="64"/>
                    <a:pt x="16" y="64"/>
                    <a:pt x="16" y="64"/>
                  </a:cubicBezTo>
                  <a:cubicBezTo>
                    <a:pt x="20" y="64"/>
                    <a:pt x="20" y="64"/>
                    <a:pt x="20" y="64"/>
                  </a:cubicBezTo>
                  <a:cubicBezTo>
                    <a:pt x="16" y="65"/>
                    <a:pt x="16" y="65"/>
                    <a:pt x="16" y="65"/>
                  </a:cubicBezTo>
                  <a:close/>
                  <a:moveTo>
                    <a:pt x="22" y="64"/>
                  </a:moveTo>
                  <a:cubicBezTo>
                    <a:pt x="23" y="60"/>
                    <a:pt x="23" y="60"/>
                    <a:pt x="23" y="60"/>
                  </a:cubicBezTo>
                  <a:cubicBezTo>
                    <a:pt x="23" y="62"/>
                    <a:pt x="23" y="62"/>
                    <a:pt x="23" y="62"/>
                  </a:cubicBezTo>
                  <a:cubicBezTo>
                    <a:pt x="22" y="64"/>
                    <a:pt x="22" y="64"/>
                    <a:pt x="22" y="64"/>
                  </a:cubicBezTo>
                  <a:close/>
                  <a:moveTo>
                    <a:pt x="27" y="56"/>
                  </a:moveTo>
                  <a:cubicBezTo>
                    <a:pt x="29" y="54"/>
                    <a:pt x="29" y="54"/>
                    <a:pt x="29" y="54"/>
                  </a:cubicBezTo>
                  <a:cubicBezTo>
                    <a:pt x="27" y="54"/>
                    <a:pt x="27" y="54"/>
                    <a:pt x="27" y="54"/>
                  </a:cubicBezTo>
                  <a:cubicBezTo>
                    <a:pt x="27" y="56"/>
                    <a:pt x="27" y="56"/>
                    <a:pt x="27" y="56"/>
                  </a:cubicBezTo>
                  <a:close/>
                  <a:moveTo>
                    <a:pt x="25" y="51"/>
                  </a:moveTo>
                  <a:cubicBezTo>
                    <a:pt x="25" y="54"/>
                    <a:pt x="25" y="54"/>
                    <a:pt x="25" y="54"/>
                  </a:cubicBezTo>
                  <a:cubicBezTo>
                    <a:pt x="27" y="53"/>
                    <a:pt x="27" y="53"/>
                    <a:pt x="27" y="53"/>
                  </a:cubicBezTo>
                  <a:cubicBezTo>
                    <a:pt x="27" y="51"/>
                    <a:pt x="27" y="51"/>
                    <a:pt x="27" y="51"/>
                  </a:cubicBezTo>
                  <a:cubicBezTo>
                    <a:pt x="25" y="51"/>
                    <a:pt x="25" y="51"/>
                    <a:pt x="25" y="51"/>
                  </a:cubicBezTo>
                  <a:close/>
                  <a:moveTo>
                    <a:pt x="69" y="0"/>
                  </a:moveTo>
                  <a:cubicBezTo>
                    <a:pt x="71" y="2"/>
                    <a:pt x="71" y="2"/>
                    <a:pt x="71" y="2"/>
                  </a:cubicBezTo>
                  <a:cubicBezTo>
                    <a:pt x="71" y="0"/>
                    <a:pt x="71" y="0"/>
                    <a:pt x="71" y="0"/>
                  </a:cubicBezTo>
                  <a:cubicBezTo>
                    <a:pt x="69" y="0"/>
                    <a:pt x="69" y="0"/>
                    <a:pt x="69" y="0"/>
                  </a:cubicBezTo>
                  <a:close/>
                  <a:moveTo>
                    <a:pt x="65" y="2"/>
                  </a:moveTo>
                  <a:cubicBezTo>
                    <a:pt x="69" y="2"/>
                    <a:pt x="69" y="2"/>
                    <a:pt x="69" y="2"/>
                  </a:cubicBezTo>
                  <a:cubicBezTo>
                    <a:pt x="71" y="3"/>
                    <a:pt x="71" y="3"/>
                    <a:pt x="71" y="3"/>
                  </a:cubicBezTo>
                  <a:cubicBezTo>
                    <a:pt x="69" y="5"/>
                    <a:pt x="69" y="5"/>
                    <a:pt x="69" y="5"/>
                  </a:cubicBezTo>
                  <a:cubicBezTo>
                    <a:pt x="73" y="5"/>
                    <a:pt x="73" y="5"/>
                    <a:pt x="73" y="5"/>
                  </a:cubicBezTo>
                  <a:cubicBezTo>
                    <a:pt x="73" y="7"/>
                    <a:pt x="73" y="7"/>
                    <a:pt x="73" y="7"/>
                  </a:cubicBezTo>
                  <a:cubicBezTo>
                    <a:pt x="71" y="5"/>
                    <a:pt x="71" y="5"/>
                    <a:pt x="71" y="5"/>
                  </a:cubicBezTo>
                  <a:cubicBezTo>
                    <a:pt x="67" y="7"/>
                    <a:pt x="67" y="7"/>
                    <a:pt x="67" y="7"/>
                  </a:cubicBezTo>
                  <a:cubicBezTo>
                    <a:pt x="67" y="3"/>
                    <a:pt x="67" y="3"/>
                    <a:pt x="67" y="3"/>
                  </a:cubicBezTo>
                  <a:cubicBezTo>
                    <a:pt x="67" y="5"/>
                    <a:pt x="67" y="5"/>
                    <a:pt x="67" y="5"/>
                  </a:cubicBezTo>
                  <a:cubicBezTo>
                    <a:pt x="65" y="5"/>
                    <a:pt x="65" y="5"/>
                    <a:pt x="65" y="5"/>
                  </a:cubicBezTo>
                  <a:cubicBezTo>
                    <a:pt x="65" y="2"/>
                    <a:pt x="65" y="2"/>
                    <a:pt x="65" y="2"/>
                  </a:cubicBezTo>
                  <a:close/>
                  <a:moveTo>
                    <a:pt x="65" y="7"/>
                  </a:moveTo>
                  <a:cubicBezTo>
                    <a:pt x="67" y="11"/>
                    <a:pt x="67" y="11"/>
                    <a:pt x="67" y="11"/>
                  </a:cubicBezTo>
                  <a:cubicBezTo>
                    <a:pt x="69" y="9"/>
                    <a:pt x="69" y="9"/>
                    <a:pt x="69" y="9"/>
                  </a:cubicBezTo>
                  <a:cubicBezTo>
                    <a:pt x="67" y="7"/>
                    <a:pt x="67" y="7"/>
                    <a:pt x="67" y="7"/>
                  </a:cubicBezTo>
                  <a:cubicBezTo>
                    <a:pt x="65" y="7"/>
                    <a:pt x="65" y="7"/>
                    <a:pt x="65" y="7"/>
                  </a:cubicBezTo>
                  <a:close/>
                  <a:moveTo>
                    <a:pt x="16" y="27"/>
                  </a:moveTo>
                  <a:cubicBezTo>
                    <a:pt x="18" y="27"/>
                    <a:pt x="18" y="27"/>
                    <a:pt x="18" y="27"/>
                  </a:cubicBezTo>
                  <a:cubicBezTo>
                    <a:pt x="16" y="25"/>
                    <a:pt x="16" y="25"/>
                    <a:pt x="16" y="25"/>
                  </a:cubicBezTo>
                  <a:cubicBezTo>
                    <a:pt x="18" y="22"/>
                    <a:pt x="18" y="22"/>
                    <a:pt x="18" y="22"/>
                  </a:cubicBezTo>
                  <a:cubicBezTo>
                    <a:pt x="22" y="23"/>
                    <a:pt x="22" y="23"/>
                    <a:pt x="22" y="23"/>
                  </a:cubicBezTo>
                  <a:cubicBezTo>
                    <a:pt x="20" y="22"/>
                    <a:pt x="20" y="22"/>
                    <a:pt x="20" y="22"/>
                  </a:cubicBezTo>
                  <a:cubicBezTo>
                    <a:pt x="29" y="16"/>
                    <a:pt x="29" y="16"/>
                    <a:pt x="29" y="16"/>
                  </a:cubicBezTo>
                  <a:cubicBezTo>
                    <a:pt x="29" y="20"/>
                    <a:pt x="29" y="20"/>
                    <a:pt x="29" y="20"/>
                  </a:cubicBezTo>
                  <a:cubicBezTo>
                    <a:pt x="25" y="23"/>
                    <a:pt x="25" y="23"/>
                    <a:pt x="25" y="23"/>
                  </a:cubicBezTo>
                  <a:cubicBezTo>
                    <a:pt x="25" y="25"/>
                    <a:pt x="25" y="25"/>
                    <a:pt x="25" y="25"/>
                  </a:cubicBezTo>
                  <a:cubicBezTo>
                    <a:pt x="25" y="27"/>
                    <a:pt x="25" y="27"/>
                    <a:pt x="25" y="27"/>
                  </a:cubicBezTo>
                  <a:cubicBezTo>
                    <a:pt x="23" y="29"/>
                    <a:pt x="23" y="29"/>
                    <a:pt x="23" y="29"/>
                  </a:cubicBezTo>
                  <a:cubicBezTo>
                    <a:pt x="22" y="29"/>
                    <a:pt x="22" y="29"/>
                    <a:pt x="22" y="29"/>
                  </a:cubicBezTo>
                  <a:cubicBezTo>
                    <a:pt x="18" y="29"/>
                    <a:pt x="18" y="29"/>
                    <a:pt x="18" y="29"/>
                  </a:cubicBezTo>
                  <a:cubicBezTo>
                    <a:pt x="16" y="27"/>
                    <a:pt x="16" y="27"/>
                    <a:pt x="16" y="27"/>
                  </a:cubicBezTo>
                  <a:close/>
                  <a:moveTo>
                    <a:pt x="16" y="33"/>
                  </a:moveTo>
                  <a:cubicBezTo>
                    <a:pt x="18" y="34"/>
                    <a:pt x="18" y="34"/>
                    <a:pt x="18" y="34"/>
                  </a:cubicBezTo>
                  <a:cubicBezTo>
                    <a:pt x="22" y="31"/>
                    <a:pt x="22" y="31"/>
                    <a:pt x="22" y="31"/>
                  </a:cubicBezTo>
                  <a:cubicBezTo>
                    <a:pt x="20" y="31"/>
                    <a:pt x="20" y="31"/>
                    <a:pt x="20" y="31"/>
                  </a:cubicBezTo>
                  <a:cubicBezTo>
                    <a:pt x="18" y="31"/>
                    <a:pt x="18" y="31"/>
                    <a:pt x="18" y="31"/>
                  </a:cubicBezTo>
                  <a:cubicBezTo>
                    <a:pt x="18" y="33"/>
                    <a:pt x="18" y="33"/>
                    <a:pt x="18" y="33"/>
                  </a:cubicBezTo>
                  <a:cubicBezTo>
                    <a:pt x="16" y="33"/>
                    <a:pt x="16" y="33"/>
                    <a:pt x="16" y="33"/>
                  </a:cubicBezTo>
                  <a:close/>
                  <a:moveTo>
                    <a:pt x="16" y="38"/>
                  </a:moveTo>
                  <a:cubicBezTo>
                    <a:pt x="12" y="40"/>
                    <a:pt x="12" y="40"/>
                    <a:pt x="12" y="40"/>
                  </a:cubicBezTo>
                  <a:cubicBezTo>
                    <a:pt x="11" y="36"/>
                    <a:pt x="11" y="36"/>
                    <a:pt x="11" y="36"/>
                  </a:cubicBezTo>
                  <a:cubicBezTo>
                    <a:pt x="11" y="36"/>
                    <a:pt x="11" y="36"/>
                    <a:pt x="11" y="36"/>
                  </a:cubicBezTo>
                  <a:cubicBezTo>
                    <a:pt x="16" y="36"/>
                    <a:pt x="16" y="36"/>
                    <a:pt x="16" y="36"/>
                  </a:cubicBezTo>
                  <a:cubicBezTo>
                    <a:pt x="16" y="38"/>
                    <a:pt x="16" y="38"/>
                    <a:pt x="16" y="38"/>
                  </a:cubicBezTo>
                  <a:close/>
                  <a:moveTo>
                    <a:pt x="14" y="42"/>
                  </a:moveTo>
                  <a:cubicBezTo>
                    <a:pt x="11" y="42"/>
                    <a:pt x="11" y="42"/>
                    <a:pt x="11" y="42"/>
                  </a:cubicBezTo>
                  <a:cubicBezTo>
                    <a:pt x="11" y="40"/>
                    <a:pt x="11" y="40"/>
                    <a:pt x="11" y="40"/>
                  </a:cubicBezTo>
                  <a:cubicBezTo>
                    <a:pt x="14" y="40"/>
                    <a:pt x="14" y="40"/>
                    <a:pt x="14" y="40"/>
                  </a:cubicBezTo>
                  <a:cubicBezTo>
                    <a:pt x="14" y="42"/>
                    <a:pt x="14" y="42"/>
                    <a:pt x="14" y="42"/>
                  </a:cubicBezTo>
                  <a:close/>
                  <a:moveTo>
                    <a:pt x="11" y="51"/>
                  </a:moveTo>
                  <a:cubicBezTo>
                    <a:pt x="11" y="53"/>
                    <a:pt x="11" y="53"/>
                    <a:pt x="11" y="53"/>
                  </a:cubicBezTo>
                  <a:cubicBezTo>
                    <a:pt x="9" y="54"/>
                    <a:pt x="9" y="54"/>
                    <a:pt x="9" y="54"/>
                  </a:cubicBezTo>
                  <a:cubicBezTo>
                    <a:pt x="9" y="53"/>
                    <a:pt x="9" y="53"/>
                    <a:pt x="9" y="53"/>
                  </a:cubicBezTo>
                  <a:cubicBezTo>
                    <a:pt x="11" y="51"/>
                    <a:pt x="11" y="51"/>
                    <a:pt x="11" y="51"/>
                  </a:cubicBezTo>
                  <a:close/>
                  <a:moveTo>
                    <a:pt x="14" y="49"/>
                  </a:moveTo>
                  <a:cubicBezTo>
                    <a:pt x="12" y="47"/>
                    <a:pt x="12" y="47"/>
                    <a:pt x="12" y="47"/>
                  </a:cubicBezTo>
                  <a:cubicBezTo>
                    <a:pt x="14" y="45"/>
                    <a:pt x="14" y="45"/>
                    <a:pt x="14" y="45"/>
                  </a:cubicBezTo>
                  <a:cubicBezTo>
                    <a:pt x="14" y="44"/>
                    <a:pt x="14" y="44"/>
                    <a:pt x="14" y="44"/>
                  </a:cubicBezTo>
                  <a:cubicBezTo>
                    <a:pt x="12" y="44"/>
                    <a:pt x="12" y="44"/>
                    <a:pt x="12" y="44"/>
                  </a:cubicBezTo>
                  <a:cubicBezTo>
                    <a:pt x="12" y="45"/>
                    <a:pt x="12" y="45"/>
                    <a:pt x="12" y="45"/>
                  </a:cubicBezTo>
                  <a:cubicBezTo>
                    <a:pt x="11" y="47"/>
                    <a:pt x="11" y="47"/>
                    <a:pt x="11" y="47"/>
                  </a:cubicBezTo>
                  <a:cubicBezTo>
                    <a:pt x="11" y="49"/>
                    <a:pt x="11" y="49"/>
                    <a:pt x="11" y="49"/>
                  </a:cubicBezTo>
                  <a:cubicBezTo>
                    <a:pt x="14" y="49"/>
                    <a:pt x="14" y="49"/>
                    <a:pt x="14" y="49"/>
                  </a:cubicBezTo>
                  <a:close/>
                  <a:moveTo>
                    <a:pt x="31" y="51"/>
                  </a:moveTo>
                  <a:cubicBezTo>
                    <a:pt x="31" y="49"/>
                    <a:pt x="31" y="49"/>
                    <a:pt x="31" y="49"/>
                  </a:cubicBezTo>
                  <a:cubicBezTo>
                    <a:pt x="27" y="49"/>
                    <a:pt x="27" y="49"/>
                    <a:pt x="27" y="49"/>
                  </a:cubicBezTo>
                  <a:cubicBezTo>
                    <a:pt x="23" y="45"/>
                    <a:pt x="23" y="45"/>
                    <a:pt x="23" y="45"/>
                  </a:cubicBezTo>
                  <a:cubicBezTo>
                    <a:pt x="25" y="44"/>
                    <a:pt x="25" y="44"/>
                    <a:pt x="25" y="44"/>
                  </a:cubicBezTo>
                  <a:cubicBezTo>
                    <a:pt x="23" y="42"/>
                    <a:pt x="23" y="42"/>
                    <a:pt x="23" y="42"/>
                  </a:cubicBezTo>
                  <a:cubicBezTo>
                    <a:pt x="23" y="44"/>
                    <a:pt x="23" y="44"/>
                    <a:pt x="23" y="44"/>
                  </a:cubicBezTo>
                  <a:cubicBezTo>
                    <a:pt x="20" y="42"/>
                    <a:pt x="20" y="42"/>
                    <a:pt x="20" y="42"/>
                  </a:cubicBezTo>
                  <a:cubicBezTo>
                    <a:pt x="22" y="40"/>
                    <a:pt x="22" y="40"/>
                    <a:pt x="22" y="40"/>
                  </a:cubicBezTo>
                  <a:cubicBezTo>
                    <a:pt x="22" y="42"/>
                    <a:pt x="22" y="42"/>
                    <a:pt x="22" y="42"/>
                  </a:cubicBezTo>
                  <a:cubicBezTo>
                    <a:pt x="22" y="38"/>
                    <a:pt x="22" y="38"/>
                    <a:pt x="22" y="38"/>
                  </a:cubicBezTo>
                  <a:cubicBezTo>
                    <a:pt x="25" y="40"/>
                    <a:pt x="25" y="40"/>
                    <a:pt x="25" y="40"/>
                  </a:cubicBezTo>
                  <a:cubicBezTo>
                    <a:pt x="25" y="36"/>
                    <a:pt x="25" y="36"/>
                    <a:pt x="25" y="36"/>
                  </a:cubicBezTo>
                  <a:cubicBezTo>
                    <a:pt x="27" y="36"/>
                    <a:pt x="27" y="36"/>
                    <a:pt x="27" y="36"/>
                  </a:cubicBezTo>
                  <a:cubicBezTo>
                    <a:pt x="29" y="38"/>
                    <a:pt x="29" y="38"/>
                    <a:pt x="29" y="38"/>
                  </a:cubicBezTo>
                  <a:cubicBezTo>
                    <a:pt x="29" y="45"/>
                    <a:pt x="29" y="45"/>
                    <a:pt x="29" y="45"/>
                  </a:cubicBezTo>
                  <a:cubicBezTo>
                    <a:pt x="33" y="47"/>
                    <a:pt x="33" y="47"/>
                    <a:pt x="33" y="47"/>
                  </a:cubicBezTo>
                  <a:cubicBezTo>
                    <a:pt x="34" y="45"/>
                    <a:pt x="34" y="45"/>
                    <a:pt x="34" y="45"/>
                  </a:cubicBezTo>
                  <a:cubicBezTo>
                    <a:pt x="34" y="47"/>
                    <a:pt x="34" y="47"/>
                    <a:pt x="34" y="47"/>
                  </a:cubicBezTo>
                  <a:cubicBezTo>
                    <a:pt x="33" y="49"/>
                    <a:pt x="33" y="49"/>
                    <a:pt x="33" y="49"/>
                  </a:cubicBezTo>
                  <a:cubicBezTo>
                    <a:pt x="33" y="51"/>
                    <a:pt x="33" y="51"/>
                    <a:pt x="33" y="51"/>
                  </a:cubicBezTo>
                  <a:cubicBezTo>
                    <a:pt x="31" y="51"/>
                    <a:pt x="31" y="51"/>
                    <a:pt x="31" y="51"/>
                  </a:cubicBezTo>
                  <a:close/>
                  <a:moveTo>
                    <a:pt x="25" y="71"/>
                  </a:moveTo>
                  <a:cubicBezTo>
                    <a:pt x="31" y="69"/>
                    <a:pt x="31" y="69"/>
                    <a:pt x="31" y="69"/>
                  </a:cubicBezTo>
                  <a:cubicBezTo>
                    <a:pt x="33" y="69"/>
                    <a:pt x="33" y="69"/>
                    <a:pt x="33" y="69"/>
                  </a:cubicBezTo>
                  <a:cubicBezTo>
                    <a:pt x="34" y="67"/>
                    <a:pt x="34" y="67"/>
                    <a:pt x="34" y="67"/>
                  </a:cubicBezTo>
                  <a:cubicBezTo>
                    <a:pt x="34" y="65"/>
                    <a:pt x="34" y="65"/>
                    <a:pt x="34" y="65"/>
                  </a:cubicBezTo>
                  <a:cubicBezTo>
                    <a:pt x="31" y="64"/>
                    <a:pt x="31" y="64"/>
                    <a:pt x="31" y="64"/>
                  </a:cubicBezTo>
                  <a:cubicBezTo>
                    <a:pt x="29" y="62"/>
                    <a:pt x="29" y="62"/>
                    <a:pt x="29" y="62"/>
                  </a:cubicBezTo>
                  <a:cubicBezTo>
                    <a:pt x="25" y="64"/>
                    <a:pt x="25" y="64"/>
                    <a:pt x="25" y="64"/>
                  </a:cubicBezTo>
                  <a:cubicBezTo>
                    <a:pt x="31" y="65"/>
                    <a:pt x="31" y="65"/>
                    <a:pt x="31" y="65"/>
                  </a:cubicBezTo>
                  <a:cubicBezTo>
                    <a:pt x="27" y="67"/>
                    <a:pt x="27" y="67"/>
                    <a:pt x="27" y="67"/>
                  </a:cubicBezTo>
                  <a:cubicBezTo>
                    <a:pt x="29" y="67"/>
                    <a:pt x="29" y="67"/>
                    <a:pt x="29" y="67"/>
                  </a:cubicBezTo>
                  <a:cubicBezTo>
                    <a:pt x="25" y="71"/>
                    <a:pt x="25" y="71"/>
                    <a:pt x="25" y="71"/>
                  </a:cubicBezTo>
                  <a:close/>
                  <a:moveTo>
                    <a:pt x="31" y="82"/>
                  </a:moveTo>
                  <a:cubicBezTo>
                    <a:pt x="29" y="78"/>
                    <a:pt x="29" y="78"/>
                    <a:pt x="29" y="78"/>
                  </a:cubicBezTo>
                  <a:cubicBezTo>
                    <a:pt x="34" y="73"/>
                    <a:pt x="34" y="73"/>
                    <a:pt x="34" y="73"/>
                  </a:cubicBezTo>
                  <a:cubicBezTo>
                    <a:pt x="33" y="80"/>
                    <a:pt x="33" y="80"/>
                    <a:pt x="33" y="80"/>
                  </a:cubicBezTo>
                  <a:cubicBezTo>
                    <a:pt x="31" y="82"/>
                    <a:pt x="31" y="82"/>
                    <a:pt x="31" y="82"/>
                  </a:cubicBezTo>
                  <a:close/>
                  <a:moveTo>
                    <a:pt x="25" y="85"/>
                  </a:moveTo>
                  <a:cubicBezTo>
                    <a:pt x="29" y="84"/>
                    <a:pt x="29" y="84"/>
                    <a:pt x="29" y="84"/>
                  </a:cubicBezTo>
                  <a:cubicBezTo>
                    <a:pt x="27" y="78"/>
                    <a:pt x="27" y="78"/>
                    <a:pt x="27" y="78"/>
                  </a:cubicBezTo>
                  <a:cubicBezTo>
                    <a:pt x="23" y="80"/>
                    <a:pt x="23" y="80"/>
                    <a:pt x="23" y="80"/>
                  </a:cubicBezTo>
                  <a:cubicBezTo>
                    <a:pt x="23" y="85"/>
                    <a:pt x="23" y="85"/>
                    <a:pt x="23" y="85"/>
                  </a:cubicBezTo>
                  <a:cubicBezTo>
                    <a:pt x="25" y="84"/>
                    <a:pt x="25" y="84"/>
                    <a:pt x="25" y="84"/>
                  </a:cubicBezTo>
                  <a:cubicBezTo>
                    <a:pt x="25" y="85"/>
                    <a:pt x="25" y="85"/>
                    <a:pt x="25" y="85"/>
                  </a:cubicBezTo>
                  <a:close/>
                  <a:moveTo>
                    <a:pt x="38" y="85"/>
                  </a:moveTo>
                  <a:cubicBezTo>
                    <a:pt x="40" y="91"/>
                    <a:pt x="40" y="91"/>
                    <a:pt x="40" y="91"/>
                  </a:cubicBezTo>
                  <a:cubicBezTo>
                    <a:pt x="42" y="93"/>
                    <a:pt x="42" y="93"/>
                    <a:pt x="42" y="93"/>
                  </a:cubicBezTo>
                  <a:cubicBezTo>
                    <a:pt x="43" y="89"/>
                    <a:pt x="43" y="89"/>
                    <a:pt x="43" y="89"/>
                  </a:cubicBezTo>
                  <a:cubicBezTo>
                    <a:pt x="42" y="84"/>
                    <a:pt x="42" y="84"/>
                    <a:pt x="42" y="84"/>
                  </a:cubicBezTo>
                  <a:cubicBezTo>
                    <a:pt x="38" y="85"/>
                    <a:pt x="38" y="85"/>
                    <a:pt x="38" y="85"/>
                  </a:cubicBezTo>
                  <a:close/>
                  <a:moveTo>
                    <a:pt x="49" y="142"/>
                  </a:moveTo>
                  <a:cubicBezTo>
                    <a:pt x="54" y="144"/>
                    <a:pt x="54" y="144"/>
                    <a:pt x="54" y="144"/>
                  </a:cubicBezTo>
                  <a:cubicBezTo>
                    <a:pt x="58" y="142"/>
                    <a:pt x="58" y="142"/>
                    <a:pt x="58" y="142"/>
                  </a:cubicBezTo>
                  <a:cubicBezTo>
                    <a:pt x="56" y="142"/>
                    <a:pt x="56" y="142"/>
                    <a:pt x="56" y="142"/>
                  </a:cubicBezTo>
                  <a:cubicBezTo>
                    <a:pt x="54" y="138"/>
                    <a:pt x="54" y="138"/>
                    <a:pt x="54" y="138"/>
                  </a:cubicBezTo>
                  <a:cubicBezTo>
                    <a:pt x="51" y="140"/>
                    <a:pt x="51" y="140"/>
                    <a:pt x="51" y="140"/>
                  </a:cubicBezTo>
                  <a:cubicBezTo>
                    <a:pt x="49" y="142"/>
                    <a:pt x="49" y="142"/>
                    <a:pt x="49" y="142"/>
                  </a:cubicBezTo>
                  <a:close/>
                  <a:moveTo>
                    <a:pt x="47" y="124"/>
                  </a:moveTo>
                  <a:cubicBezTo>
                    <a:pt x="47" y="120"/>
                    <a:pt x="47" y="120"/>
                    <a:pt x="47" y="120"/>
                  </a:cubicBezTo>
                  <a:cubicBezTo>
                    <a:pt x="53" y="115"/>
                    <a:pt x="53" y="115"/>
                    <a:pt x="53" y="115"/>
                  </a:cubicBezTo>
                  <a:cubicBezTo>
                    <a:pt x="53" y="118"/>
                    <a:pt x="53" y="118"/>
                    <a:pt x="53" y="118"/>
                  </a:cubicBezTo>
                  <a:cubicBezTo>
                    <a:pt x="53" y="120"/>
                    <a:pt x="53" y="120"/>
                    <a:pt x="53" y="120"/>
                  </a:cubicBezTo>
                  <a:cubicBezTo>
                    <a:pt x="49" y="124"/>
                    <a:pt x="49" y="124"/>
                    <a:pt x="49" y="124"/>
                  </a:cubicBezTo>
                  <a:cubicBezTo>
                    <a:pt x="47" y="124"/>
                    <a:pt x="47" y="124"/>
                    <a:pt x="47" y="124"/>
                  </a:cubicBezTo>
                  <a:close/>
                  <a:moveTo>
                    <a:pt x="40" y="222"/>
                  </a:moveTo>
                  <a:cubicBezTo>
                    <a:pt x="42" y="220"/>
                    <a:pt x="42" y="220"/>
                    <a:pt x="42" y="220"/>
                  </a:cubicBezTo>
                  <a:cubicBezTo>
                    <a:pt x="42" y="218"/>
                    <a:pt x="42" y="218"/>
                    <a:pt x="42" y="218"/>
                  </a:cubicBezTo>
                  <a:cubicBezTo>
                    <a:pt x="43" y="217"/>
                    <a:pt x="43" y="217"/>
                    <a:pt x="43" y="217"/>
                  </a:cubicBezTo>
                  <a:cubicBezTo>
                    <a:pt x="43" y="218"/>
                    <a:pt x="43" y="218"/>
                    <a:pt x="43" y="218"/>
                  </a:cubicBezTo>
                  <a:cubicBezTo>
                    <a:pt x="45" y="217"/>
                    <a:pt x="45" y="217"/>
                    <a:pt x="45" y="217"/>
                  </a:cubicBezTo>
                  <a:cubicBezTo>
                    <a:pt x="47" y="217"/>
                    <a:pt x="47" y="217"/>
                    <a:pt x="47" y="217"/>
                  </a:cubicBezTo>
                  <a:cubicBezTo>
                    <a:pt x="47" y="213"/>
                    <a:pt x="47" y="213"/>
                    <a:pt x="47" y="213"/>
                  </a:cubicBezTo>
                  <a:cubicBezTo>
                    <a:pt x="51" y="215"/>
                    <a:pt x="51" y="215"/>
                    <a:pt x="51" y="215"/>
                  </a:cubicBezTo>
                  <a:cubicBezTo>
                    <a:pt x="54" y="213"/>
                    <a:pt x="54" y="213"/>
                    <a:pt x="54" y="213"/>
                  </a:cubicBezTo>
                  <a:cubicBezTo>
                    <a:pt x="56" y="213"/>
                    <a:pt x="56" y="213"/>
                    <a:pt x="56" y="213"/>
                  </a:cubicBezTo>
                  <a:cubicBezTo>
                    <a:pt x="56" y="213"/>
                    <a:pt x="56" y="213"/>
                    <a:pt x="56" y="213"/>
                  </a:cubicBezTo>
                  <a:cubicBezTo>
                    <a:pt x="58" y="215"/>
                    <a:pt x="58" y="215"/>
                    <a:pt x="58" y="215"/>
                  </a:cubicBezTo>
                  <a:cubicBezTo>
                    <a:pt x="60" y="215"/>
                    <a:pt x="60" y="215"/>
                    <a:pt x="60" y="215"/>
                  </a:cubicBezTo>
                  <a:cubicBezTo>
                    <a:pt x="62" y="217"/>
                    <a:pt x="62" y="217"/>
                    <a:pt x="62" y="217"/>
                  </a:cubicBezTo>
                  <a:cubicBezTo>
                    <a:pt x="65" y="217"/>
                    <a:pt x="65" y="217"/>
                    <a:pt x="65" y="217"/>
                  </a:cubicBezTo>
                  <a:cubicBezTo>
                    <a:pt x="65" y="215"/>
                    <a:pt x="65" y="215"/>
                    <a:pt x="65" y="215"/>
                  </a:cubicBezTo>
                  <a:cubicBezTo>
                    <a:pt x="67" y="213"/>
                    <a:pt x="67" y="213"/>
                    <a:pt x="67" y="213"/>
                  </a:cubicBezTo>
                  <a:cubicBezTo>
                    <a:pt x="67" y="211"/>
                    <a:pt x="67" y="211"/>
                    <a:pt x="67" y="211"/>
                  </a:cubicBezTo>
                  <a:cubicBezTo>
                    <a:pt x="67" y="209"/>
                    <a:pt x="67" y="209"/>
                    <a:pt x="67" y="209"/>
                  </a:cubicBezTo>
                  <a:cubicBezTo>
                    <a:pt x="69" y="208"/>
                    <a:pt x="69" y="208"/>
                    <a:pt x="69" y="208"/>
                  </a:cubicBezTo>
                  <a:cubicBezTo>
                    <a:pt x="71" y="206"/>
                    <a:pt x="71" y="206"/>
                    <a:pt x="71" y="206"/>
                  </a:cubicBezTo>
                  <a:cubicBezTo>
                    <a:pt x="71" y="206"/>
                    <a:pt x="71" y="206"/>
                    <a:pt x="71" y="206"/>
                  </a:cubicBezTo>
                  <a:cubicBezTo>
                    <a:pt x="78" y="204"/>
                    <a:pt x="78" y="204"/>
                    <a:pt x="78" y="204"/>
                  </a:cubicBezTo>
                  <a:cubicBezTo>
                    <a:pt x="80" y="204"/>
                    <a:pt x="80" y="204"/>
                    <a:pt x="80" y="204"/>
                  </a:cubicBezTo>
                  <a:cubicBezTo>
                    <a:pt x="84" y="208"/>
                    <a:pt x="84" y="208"/>
                    <a:pt x="84" y="208"/>
                  </a:cubicBezTo>
                  <a:cubicBezTo>
                    <a:pt x="85" y="206"/>
                    <a:pt x="85" y="206"/>
                    <a:pt x="85" y="206"/>
                  </a:cubicBezTo>
                  <a:cubicBezTo>
                    <a:pt x="89" y="206"/>
                    <a:pt x="89" y="206"/>
                    <a:pt x="89" y="206"/>
                  </a:cubicBezTo>
                  <a:cubicBezTo>
                    <a:pt x="91" y="208"/>
                    <a:pt x="91" y="208"/>
                    <a:pt x="91" y="208"/>
                  </a:cubicBezTo>
                  <a:cubicBezTo>
                    <a:pt x="93" y="204"/>
                    <a:pt x="93" y="204"/>
                    <a:pt x="93" y="204"/>
                  </a:cubicBezTo>
                  <a:cubicBezTo>
                    <a:pt x="96" y="202"/>
                    <a:pt x="96" y="202"/>
                    <a:pt x="96" y="202"/>
                  </a:cubicBezTo>
                  <a:cubicBezTo>
                    <a:pt x="98" y="204"/>
                    <a:pt x="98" y="204"/>
                    <a:pt x="98" y="204"/>
                  </a:cubicBezTo>
                  <a:cubicBezTo>
                    <a:pt x="102" y="200"/>
                    <a:pt x="102" y="200"/>
                    <a:pt x="102" y="200"/>
                  </a:cubicBezTo>
                  <a:cubicBezTo>
                    <a:pt x="105" y="202"/>
                    <a:pt x="105" y="202"/>
                    <a:pt x="105" y="202"/>
                  </a:cubicBezTo>
                  <a:cubicBezTo>
                    <a:pt x="107" y="202"/>
                    <a:pt x="107" y="202"/>
                    <a:pt x="107" y="202"/>
                  </a:cubicBezTo>
                  <a:cubicBezTo>
                    <a:pt x="107" y="200"/>
                    <a:pt x="107" y="200"/>
                    <a:pt x="107" y="200"/>
                  </a:cubicBezTo>
                  <a:cubicBezTo>
                    <a:pt x="109" y="202"/>
                    <a:pt x="109" y="202"/>
                    <a:pt x="109" y="202"/>
                  </a:cubicBezTo>
                  <a:cubicBezTo>
                    <a:pt x="111" y="202"/>
                    <a:pt x="111" y="202"/>
                    <a:pt x="111" y="202"/>
                  </a:cubicBezTo>
                  <a:cubicBezTo>
                    <a:pt x="113" y="200"/>
                    <a:pt x="113" y="200"/>
                    <a:pt x="113" y="200"/>
                  </a:cubicBezTo>
                  <a:cubicBezTo>
                    <a:pt x="118" y="200"/>
                    <a:pt x="118" y="200"/>
                    <a:pt x="118" y="200"/>
                  </a:cubicBezTo>
                  <a:cubicBezTo>
                    <a:pt x="122" y="200"/>
                    <a:pt x="122" y="200"/>
                    <a:pt x="122" y="200"/>
                  </a:cubicBezTo>
                  <a:cubicBezTo>
                    <a:pt x="125" y="202"/>
                    <a:pt x="125" y="202"/>
                    <a:pt x="125" y="202"/>
                  </a:cubicBezTo>
                  <a:cubicBezTo>
                    <a:pt x="127" y="202"/>
                    <a:pt x="127" y="202"/>
                    <a:pt x="127" y="202"/>
                  </a:cubicBezTo>
                  <a:cubicBezTo>
                    <a:pt x="129" y="200"/>
                    <a:pt x="129" y="200"/>
                    <a:pt x="129" y="200"/>
                  </a:cubicBezTo>
                  <a:cubicBezTo>
                    <a:pt x="133" y="198"/>
                    <a:pt x="133" y="198"/>
                    <a:pt x="133" y="198"/>
                  </a:cubicBezTo>
                  <a:cubicBezTo>
                    <a:pt x="135" y="197"/>
                    <a:pt x="135" y="197"/>
                    <a:pt x="135" y="197"/>
                  </a:cubicBezTo>
                  <a:cubicBezTo>
                    <a:pt x="136" y="197"/>
                    <a:pt x="136" y="197"/>
                    <a:pt x="136" y="197"/>
                  </a:cubicBezTo>
                  <a:cubicBezTo>
                    <a:pt x="138" y="197"/>
                    <a:pt x="138" y="197"/>
                    <a:pt x="138" y="197"/>
                  </a:cubicBezTo>
                  <a:cubicBezTo>
                    <a:pt x="138" y="195"/>
                    <a:pt x="138" y="195"/>
                    <a:pt x="138" y="195"/>
                  </a:cubicBezTo>
                  <a:cubicBezTo>
                    <a:pt x="142" y="193"/>
                    <a:pt x="142" y="193"/>
                    <a:pt x="142" y="193"/>
                  </a:cubicBezTo>
                  <a:cubicBezTo>
                    <a:pt x="146" y="191"/>
                    <a:pt x="146" y="191"/>
                    <a:pt x="146" y="191"/>
                  </a:cubicBezTo>
                  <a:cubicBezTo>
                    <a:pt x="146" y="189"/>
                    <a:pt x="146" y="189"/>
                    <a:pt x="146" y="189"/>
                  </a:cubicBezTo>
                  <a:cubicBezTo>
                    <a:pt x="144" y="187"/>
                    <a:pt x="144" y="187"/>
                    <a:pt x="144" y="187"/>
                  </a:cubicBezTo>
                  <a:cubicBezTo>
                    <a:pt x="146" y="186"/>
                    <a:pt x="146" y="186"/>
                    <a:pt x="146" y="186"/>
                  </a:cubicBezTo>
                  <a:cubicBezTo>
                    <a:pt x="140" y="186"/>
                    <a:pt x="140" y="186"/>
                    <a:pt x="140" y="186"/>
                  </a:cubicBezTo>
                  <a:cubicBezTo>
                    <a:pt x="138" y="187"/>
                    <a:pt x="138" y="187"/>
                    <a:pt x="138" y="187"/>
                  </a:cubicBezTo>
                  <a:cubicBezTo>
                    <a:pt x="136" y="187"/>
                    <a:pt x="136" y="187"/>
                    <a:pt x="136" y="187"/>
                  </a:cubicBezTo>
                  <a:cubicBezTo>
                    <a:pt x="133" y="186"/>
                    <a:pt x="133" y="186"/>
                    <a:pt x="133" y="186"/>
                  </a:cubicBezTo>
                  <a:cubicBezTo>
                    <a:pt x="131" y="186"/>
                    <a:pt x="131" y="186"/>
                    <a:pt x="131" y="186"/>
                  </a:cubicBezTo>
                  <a:cubicBezTo>
                    <a:pt x="133" y="186"/>
                    <a:pt x="133" y="186"/>
                    <a:pt x="133" y="186"/>
                  </a:cubicBezTo>
                  <a:cubicBezTo>
                    <a:pt x="133" y="184"/>
                    <a:pt x="133" y="184"/>
                    <a:pt x="133" y="184"/>
                  </a:cubicBezTo>
                  <a:cubicBezTo>
                    <a:pt x="135" y="184"/>
                    <a:pt x="135" y="184"/>
                    <a:pt x="135" y="184"/>
                  </a:cubicBezTo>
                  <a:cubicBezTo>
                    <a:pt x="131" y="184"/>
                    <a:pt x="131" y="184"/>
                    <a:pt x="131" y="184"/>
                  </a:cubicBezTo>
                  <a:cubicBezTo>
                    <a:pt x="129" y="184"/>
                    <a:pt x="129" y="184"/>
                    <a:pt x="129" y="184"/>
                  </a:cubicBezTo>
                  <a:cubicBezTo>
                    <a:pt x="133" y="182"/>
                    <a:pt x="133" y="182"/>
                    <a:pt x="133" y="182"/>
                  </a:cubicBezTo>
                  <a:cubicBezTo>
                    <a:pt x="135" y="182"/>
                    <a:pt x="135" y="182"/>
                    <a:pt x="135" y="182"/>
                  </a:cubicBezTo>
                  <a:cubicBezTo>
                    <a:pt x="136" y="180"/>
                    <a:pt x="136" y="180"/>
                    <a:pt x="136" y="180"/>
                  </a:cubicBezTo>
                  <a:cubicBezTo>
                    <a:pt x="136" y="178"/>
                    <a:pt x="136" y="178"/>
                    <a:pt x="136" y="178"/>
                  </a:cubicBezTo>
                  <a:cubicBezTo>
                    <a:pt x="133" y="178"/>
                    <a:pt x="133" y="178"/>
                    <a:pt x="133" y="178"/>
                  </a:cubicBezTo>
                  <a:cubicBezTo>
                    <a:pt x="135" y="177"/>
                    <a:pt x="135" y="177"/>
                    <a:pt x="135" y="177"/>
                  </a:cubicBezTo>
                  <a:cubicBezTo>
                    <a:pt x="136" y="175"/>
                    <a:pt x="136" y="175"/>
                    <a:pt x="136" y="175"/>
                  </a:cubicBezTo>
                  <a:cubicBezTo>
                    <a:pt x="138" y="177"/>
                    <a:pt x="138" y="177"/>
                    <a:pt x="138" y="177"/>
                  </a:cubicBezTo>
                  <a:cubicBezTo>
                    <a:pt x="140" y="175"/>
                    <a:pt x="140" y="175"/>
                    <a:pt x="140" y="175"/>
                  </a:cubicBezTo>
                  <a:cubicBezTo>
                    <a:pt x="142" y="173"/>
                    <a:pt x="142" y="173"/>
                    <a:pt x="142" y="173"/>
                  </a:cubicBezTo>
                  <a:cubicBezTo>
                    <a:pt x="140" y="173"/>
                    <a:pt x="140" y="173"/>
                    <a:pt x="140" y="173"/>
                  </a:cubicBezTo>
                  <a:cubicBezTo>
                    <a:pt x="142" y="173"/>
                    <a:pt x="142" y="173"/>
                    <a:pt x="142" y="173"/>
                  </a:cubicBezTo>
                  <a:cubicBezTo>
                    <a:pt x="138" y="171"/>
                    <a:pt x="138" y="171"/>
                    <a:pt x="138" y="171"/>
                  </a:cubicBezTo>
                  <a:cubicBezTo>
                    <a:pt x="140" y="169"/>
                    <a:pt x="140" y="169"/>
                    <a:pt x="140" y="169"/>
                  </a:cubicBezTo>
                  <a:cubicBezTo>
                    <a:pt x="142" y="171"/>
                    <a:pt x="142" y="171"/>
                    <a:pt x="142" y="171"/>
                  </a:cubicBezTo>
                  <a:cubicBezTo>
                    <a:pt x="142" y="171"/>
                    <a:pt x="142" y="171"/>
                    <a:pt x="142" y="171"/>
                  </a:cubicBezTo>
                  <a:cubicBezTo>
                    <a:pt x="144" y="169"/>
                    <a:pt x="144" y="169"/>
                    <a:pt x="144" y="169"/>
                  </a:cubicBezTo>
                  <a:cubicBezTo>
                    <a:pt x="146" y="167"/>
                    <a:pt x="146" y="167"/>
                    <a:pt x="146" y="167"/>
                  </a:cubicBezTo>
                  <a:cubicBezTo>
                    <a:pt x="146" y="164"/>
                    <a:pt x="146" y="164"/>
                    <a:pt x="146" y="164"/>
                  </a:cubicBezTo>
                  <a:cubicBezTo>
                    <a:pt x="147" y="158"/>
                    <a:pt x="147" y="158"/>
                    <a:pt x="147" y="158"/>
                  </a:cubicBezTo>
                  <a:cubicBezTo>
                    <a:pt x="147" y="157"/>
                    <a:pt x="147" y="157"/>
                    <a:pt x="147" y="157"/>
                  </a:cubicBezTo>
                  <a:cubicBezTo>
                    <a:pt x="146" y="153"/>
                    <a:pt x="146" y="153"/>
                    <a:pt x="146" y="153"/>
                  </a:cubicBezTo>
                  <a:cubicBezTo>
                    <a:pt x="140" y="147"/>
                    <a:pt x="140" y="147"/>
                    <a:pt x="140" y="147"/>
                  </a:cubicBezTo>
                  <a:cubicBezTo>
                    <a:pt x="133" y="147"/>
                    <a:pt x="133" y="147"/>
                    <a:pt x="133" y="147"/>
                  </a:cubicBezTo>
                  <a:cubicBezTo>
                    <a:pt x="127" y="147"/>
                    <a:pt x="127" y="147"/>
                    <a:pt x="127" y="147"/>
                  </a:cubicBezTo>
                  <a:cubicBezTo>
                    <a:pt x="127" y="151"/>
                    <a:pt x="127" y="151"/>
                    <a:pt x="127" y="151"/>
                  </a:cubicBezTo>
                  <a:cubicBezTo>
                    <a:pt x="125" y="153"/>
                    <a:pt x="125" y="153"/>
                    <a:pt x="125" y="153"/>
                  </a:cubicBezTo>
                  <a:cubicBezTo>
                    <a:pt x="124" y="151"/>
                    <a:pt x="124" y="151"/>
                    <a:pt x="124" y="151"/>
                  </a:cubicBezTo>
                  <a:cubicBezTo>
                    <a:pt x="120" y="149"/>
                    <a:pt x="120" y="149"/>
                    <a:pt x="120" y="149"/>
                  </a:cubicBezTo>
                  <a:cubicBezTo>
                    <a:pt x="125" y="146"/>
                    <a:pt x="125" y="146"/>
                    <a:pt x="125" y="146"/>
                  </a:cubicBezTo>
                  <a:cubicBezTo>
                    <a:pt x="125" y="142"/>
                    <a:pt x="125" y="142"/>
                    <a:pt x="125" y="142"/>
                  </a:cubicBezTo>
                  <a:cubicBezTo>
                    <a:pt x="120" y="136"/>
                    <a:pt x="120" y="136"/>
                    <a:pt x="120" y="136"/>
                  </a:cubicBezTo>
                  <a:cubicBezTo>
                    <a:pt x="120" y="135"/>
                    <a:pt x="120" y="135"/>
                    <a:pt x="120" y="135"/>
                  </a:cubicBezTo>
                  <a:cubicBezTo>
                    <a:pt x="116" y="133"/>
                    <a:pt x="116" y="133"/>
                    <a:pt x="116" y="133"/>
                  </a:cubicBezTo>
                  <a:cubicBezTo>
                    <a:pt x="115" y="131"/>
                    <a:pt x="115" y="131"/>
                    <a:pt x="115" y="131"/>
                  </a:cubicBezTo>
                  <a:cubicBezTo>
                    <a:pt x="113" y="131"/>
                    <a:pt x="113" y="131"/>
                    <a:pt x="113" y="131"/>
                  </a:cubicBezTo>
                  <a:cubicBezTo>
                    <a:pt x="111" y="131"/>
                    <a:pt x="111" y="131"/>
                    <a:pt x="111" y="131"/>
                  </a:cubicBezTo>
                  <a:cubicBezTo>
                    <a:pt x="109" y="131"/>
                    <a:pt x="109" y="131"/>
                    <a:pt x="109" y="131"/>
                  </a:cubicBezTo>
                  <a:cubicBezTo>
                    <a:pt x="107" y="131"/>
                    <a:pt x="107" y="131"/>
                    <a:pt x="107" y="131"/>
                  </a:cubicBezTo>
                  <a:cubicBezTo>
                    <a:pt x="111" y="131"/>
                    <a:pt x="111" y="131"/>
                    <a:pt x="111" y="131"/>
                  </a:cubicBezTo>
                  <a:cubicBezTo>
                    <a:pt x="111" y="131"/>
                    <a:pt x="111" y="131"/>
                    <a:pt x="111" y="131"/>
                  </a:cubicBezTo>
                  <a:cubicBezTo>
                    <a:pt x="115" y="131"/>
                    <a:pt x="115" y="131"/>
                    <a:pt x="115" y="131"/>
                  </a:cubicBezTo>
                  <a:cubicBezTo>
                    <a:pt x="116" y="131"/>
                    <a:pt x="116" y="131"/>
                    <a:pt x="116" y="131"/>
                  </a:cubicBezTo>
                  <a:cubicBezTo>
                    <a:pt x="116" y="133"/>
                    <a:pt x="116" y="133"/>
                    <a:pt x="116" y="133"/>
                  </a:cubicBezTo>
                  <a:cubicBezTo>
                    <a:pt x="118" y="133"/>
                    <a:pt x="118" y="133"/>
                    <a:pt x="118" y="133"/>
                  </a:cubicBezTo>
                  <a:cubicBezTo>
                    <a:pt x="120" y="133"/>
                    <a:pt x="120" y="133"/>
                    <a:pt x="120" y="133"/>
                  </a:cubicBezTo>
                  <a:cubicBezTo>
                    <a:pt x="116" y="127"/>
                    <a:pt x="116" y="127"/>
                    <a:pt x="116" y="127"/>
                  </a:cubicBezTo>
                  <a:cubicBezTo>
                    <a:pt x="115" y="124"/>
                    <a:pt x="115" y="124"/>
                    <a:pt x="115" y="124"/>
                  </a:cubicBezTo>
                  <a:cubicBezTo>
                    <a:pt x="115" y="122"/>
                    <a:pt x="115" y="122"/>
                    <a:pt x="115" y="122"/>
                  </a:cubicBezTo>
                  <a:cubicBezTo>
                    <a:pt x="116" y="122"/>
                    <a:pt x="116" y="122"/>
                    <a:pt x="116" y="122"/>
                  </a:cubicBezTo>
                  <a:cubicBezTo>
                    <a:pt x="115" y="120"/>
                    <a:pt x="115" y="120"/>
                    <a:pt x="115" y="120"/>
                  </a:cubicBezTo>
                  <a:cubicBezTo>
                    <a:pt x="113" y="118"/>
                    <a:pt x="113" y="118"/>
                    <a:pt x="113" y="118"/>
                  </a:cubicBezTo>
                  <a:cubicBezTo>
                    <a:pt x="113" y="118"/>
                    <a:pt x="113" y="118"/>
                    <a:pt x="113" y="118"/>
                  </a:cubicBezTo>
                  <a:cubicBezTo>
                    <a:pt x="109" y="113"/>
                    <a:pt x="109" y="113"/>
                    <a:pt x="109" y="113"/>
                  </a:cubicBezTo>
                  <a:cubicBezTo>
                    <a:pt x="105" y="111"/>
                    <a:pt x="105" y="111"/>
                    <a:pt x="105" y="111"/>
                  </a:cubicBezTo>
                  <a:cubicBezTo>
                    <a:pt x="100" y="109"/>
                    <a:pt x="100" y="109"/>
                    <a:pt x="100" y="109"/>
                  </a:cubicBezTo>
                  <a:cubicBezTo>
                    <a:pt x="100" y="107"/>
                    <a:pt x="100" y="107"/>
                    <a:pt x="100" y="107"/>
                  </a:cubicBezTo>
                  <a:cubicBezTo>
                    <a:pt x="98" y="107"/>
                    <a:pt x="98" y="107"/>
                    <a:pt x="98" y="107"/>
                  </a:cubicBezTo>
                  <a:cubicBezTo>
                    <a:pt x="96" y="100"/>
                    <a:pt x="96" y="100"/>
                    <a:pt x="96" y="100"/>
                  </a:cubicBezTo>
                  <a:cubicBezTo>
                    <a:pt x="94" y="96"/>
                    <a:pt x="94" y="96"/>
                    <a:pt x="94" y="96"/>
                  </a:cubicBezTo>
                  <a:cubicBezTo>
                    <a:pt x="93" y="89"/>
                    <a:pt x="93" y="89"/>
                    <a:pt x="93" y="89"/>
                  </a:cubicBezTo>
                  <a:cubicBezTo>
                    <a:pt x="91" y="87"/>
                    <a:pt x="91" y="87"/>
                    <a:pt x="91" y="87"/>
                  </a:cubicBezTo>
                  <a:cubicBezTo>
                    <a:pt x="89" y="87"/>
                    <a:pt x="89" y="87"/>
                    <a:pt x="89" y="87"/>
                  </a:cubicBezTo>
                  <a:cubicBezTo>
                    <a:pt x="85" y="80"/>
                    <a:pt x="85" y="80"/>
                    <a:pt x="85" y="80"/>
                  </a:cubicBezTo>
                  <a:cubicBezTo>
                    <a:pt x="82" y="78"/>
                    <a:pt x="82" y="78"/>
                    <a:pt x="82" y="78"/>
                  </a:cubicBezTo>
                  <a:cubicBezTo>
                    <a:pt x="80" y="76"/>
                    <a:pt x="80" y="76"/>
                    <a:pt x="80" y="76"/>
                  </a:cubicBezTo>
                  <a:cubicBezTo>
                    <a:pt x="76" y="74"/>
                    <a:pt x="76" y="74"/>
                    <a:pt x="76" y="74"/>
                  </a:cubicBezTo>
                  <a:cubicBezTo>
                    <a:pt x="74" y="76"/>
                    <a:pt x="74" y="76"/>
                    <a:pt x="74" y="76"/>
                  </a:cubicBezTo>
                  <a:cubicBezTo>
                    <a:pt x="71" y="78"/>
                    <a:pt x="71" y="78"/>
                    <a:pt x="71" y="78"/>
                  </a:cubicBezTo>
                  <a:cubicBezTo>
                    <a:pt x="67" y="76"/>
                    <a:pt x="67" y="76"/>
                    <a:pt x="67" y="76"/>
                  </a:cubicBezTo>
                  <a:cubicBezTo>
                    <a:pt x="65" y="78"/>
                    <a:pt x="65" y="78"/>
                    <a:pt x="65" y="78"/>
                  </a:cubicBezTo>
                  <a:cubicBezTo>
                    <a:pt x="62" y="76"/>
                    <a:pt x="62" y="76"/>
                    <a:pt x="62" y="76"/>
                  </a:cubicBezTo>
                  <a:cubicBezTo>
                    <a:pt x="62" y="74"/>
                    <a:pt x="62" y="74"/>
                    <a:pt x="62" y="74"/>
                  </a:cubicBezTo>
                  <a:cubicBezTo>
                    <a:pt x="64" y="76"/>
                    <a:pt x="64" y="76"/>
                    <a:pt x="64" y="76"/>
                  </a:cubicBezTo>
                  <a:cubicBezTo>
                    <a:pt x="67" y="76"/>
                    <a:pt x="67" y="76"/>
                    <a:pt x="67" y="76"/>
                  </a:cubicBezTo>
                  <a:cubicBezTo>
                    <a:pt x="71" y="74"/>
                    <a:pt x="71" y="74"/>
                    <a:pt x="71" y="74"/>
                  </a:cubicBezTo>
                  <a:cubicBezTo>
                    <a:pt x="71" y="73"/>
                    <a:pt x="71" y="73"/>
                    <a:pt x="71" y="73"/>
                  </a:cubicBezTo>
                  <a:cubicBezTo>
                    <a:pt x="74" y="73"/>
                    <a:pt x="74" y="73"/>
                    <a:pt x="74" y="73"/>
                  </a:cubicBezTo>
                  <a:cubicBezTo>
                    <a:pt x="78" y="71"/>
                    <a:pt x="78" y="71"/>
                    <a:pt x="78" y="71"/>
                  </a:cubicBezTo>
                  <a:cubicBezTo>
                    <a:pt x="74" y="69"/>
                    <a:pt x="74" y="69"/>
                    <a:pt x="74" y="69"/>
                  </a:cubicBezTo>
                  <a:cubicBezTo>
                    <a:pt x="74" y="67"/>
                    <a:pt x="74" y="67"/>
                    <a:pt x="74" y="67"/>
                  </a:cubicBezTo>
                  <a:cubicBezTo>
                    <a:pt x="73" y="65"/>
                    <a:pt x="73" y="65"/>
                    <a:pt x="73" y="65"/>
                  </a:cubicBezTo>
                  <a:cubicBezTo>
                    <a:pt x="69" y="69"/>
                    <a:pt x="69" y="69"/>
                    <a:pt x="69" y="69"/>
                  </a:cubicBezTo>
                  <a:cubicBezTo>
                    <a:pt x="69" y="67"/>
                    <a:pt x="69" y="67"/>
                    <a:pt x="69" y="67"/>
                  </a:cubicBezTo>
                  <a:cubicBezTo>
                    <a:pt x="71" y="65"/>
                    <a:pt x="71" y="65"/>
                    <a:pt x="71" y="65"/>
                  </a:cubicBezTo>
                  <a:cubicBezTo>
                    <a:pt x="76" y="65"/>
                    <a:pt x="76" y="65"/>
                    <a:pt x="76" y="65"/>
                  </a:cubicBezTo>
                  <a:cubicBezTo>
                    <a:pt x="78" y="64"/>
                    <a:pt x="78" y="64"/>
                    <a:pt x="78" y="64"/>
                  </a:cubicBezTo>
                  <a:cubicBezTo>
                    <a:pt x="78" y="62"/>
                    <a:pt x="78" y="62"/>
                    <a:pt x="78" y="62"/>
                  </a:cubicBezTo>
                  <a:cubicBezTo>
                    <a:pt x="80" y="60"/>
                    <a:pt x="80" y="60"/>
                    <a:pt x="80" y="60"/>
                  </a:cubicBezTo>
                  <a:cubicBezTo>
                    <a:pt x="82" y="56"/>
                    <a:pt x="82" y="56"/>
                    <a:pt x="82" y="56"/>
                  </a:cubicBezTo>
                  <a:cubicBezTo>
                    <a:pt x="84" y="54"/>
                    <a:pt x="84" y="54"/>
                    <a:pt x="84" y="54"/>
                  </a:cubicBezTo>
                  <a:cubicBezTo>
                    <a:pt x="84" y="53"/>
                    <a:pt x="84" y="53"/>
                    <a:pt x="84" y="53"/>
                  </a:cubicBezTo>
                  <a:cubicBezTo>
                    <a:pt x="85" y="49"/>
                    <a:pt x="85" y="49"/>
                    <a:pt x="85" y="49"/>
                  </a:cubicBezTo>
                  <a:cubicBezTo>
                    <a:pt x="84" y="49"/>
                    <a:pt x="84" y="49"/>
                    <a:pt x="84" y="49"/>
                  </a:cubicBezTo>
                  <a:cubicBezTo>
                    <a:pt x="85" y="44"/>
                    <a:pt x="85" y="44"/>
                    <a:pt x="85" y="44"/>
                  </a:cubicBezTo>
                  <a:cubicBezTo>
                    <a:pt x="89" y="42"/>
                    <a:pt x="89" y="42"/>
                    <a:pt x="89" y="42"/>
                  </a:cubicBezTo>
                  <a:cubicBezTo>
                    <a:pt x="89" y="40"/>
                    <a:pt x="89" y="40"/>
                    <a:pt x="89" y="40"/>
                  </a:cubicBezTo>
                  <a:cubicBezTo>
                    <a:pt x="85" y="36"/>
                    <a:pt x="85" y="36"/>
                    <a:pt x="85" y="36"/>
                  </a:cubicBezTo>
                  <a:cubicBezTo>
                    <a:pt x="84" y="36"/>
                    <a:pt x="84" y="36"/>
                    <a:pt x="84" y="36"/>
                  </a:cubicBezTo>
                  <a:cubicBezTo>
                    <a:pt x="76" y="36"/>
                    <a:pt x="76" y="36"/>
                    <a:pt x="76" y="36"/>
                  </a:cubicBezTo>
                  <a:cubicBezTo>
                    <a:pt x="73" y="36"/>
                    <a:pt x="73" y="36"/>
                    <a:pt x="73" y="36"/>
                  </a:cubicBezTo>
                  <a:cubicBezTo>
                    <a:pt x="71" y="36"/>
                    <a:pt x="71" y="36"/>
                    <a:pt x="71" y="36"/>
                  </a:cubicBezTo>
                  <a:cubicBezTo>
                    <a:pt x="69" y="36"/>
                    <a:pt x="69" y="36"/>
                    <a:pt x="69" y="36"/>
                  </a:cubicBezTo>
                  <a:cubicBezTo>
                    <a:pt x="67" y="36"/>
                    <a:pt x="67" y="36"/>
                    <a:pt x="67" y="36"/>
                  </a:cubicBezTo>
                  <a:cubicBezTo>
                    <a:pt x="65" y="36"/>
                    <a:pt x="65" y="36"/>
                    <a:pt x="65" y="36"/>
                  </a:cubicBezTo>
                  <a:cubicBezTo>
                    <a:pt x="65" y="36"/>
                    <a:pt x="65" y="36"/>
                    <a:pt x="65" y="36"/>
                  </a:cubicBezTo>
                  <a:cubicBezTo>
                    <a:pt x="62" y="38"/>
                    <a:pt x="62" y="38"/>
                    <a:pt x="62" y="38"/>
                  </a:cubicBezTo>
                  <a:cubicBezTo>
                    <a:pt x="60" y="40"/>
                    <a:pt x="60" y="40"/>
                    <a:pt x="60" y="40"/>
                  </a:cubicBezTo>
                  <a:cubicBezTo>
                    <a:pt x="58" y="40"/>
                    <a:pt x="58" y="40"/>
                    <a:pt x="58" y="40"/>
                  </a:cubicBezTo>
                  <a:cubicBezTo>
                    <a:pt x="56" y="40"/>
                    <a:pt x="56" y="40"/>
                    <a:pt x="56" y="40"/>
                  </a:cubicBezTo>
                  <a:cubicBezTo>
                    <a:pt x="56" y="40"/>
                    <a:pt x="56" y="40"/>
                    <a:pt x="56" y="40"/>
                  </a:cubicBezTo>
                  <a:cubicBezTo>
                    <a:pt x="58" y="36"/>
                    <a:pt x="58" y="36"/>
                    <a:pt x="58" y="36"/>
                  </a:cubicBezTo>
                  <a:cubicBezTo>
                    <a:pt x="60" y="33"/>
                    <a:pt x="60" y="33"/>
                    <a:pt x="60" y="33"/>
                  </a:cubicBezTo>
                  <a:cubicBezTo>
                    <a:pt x="58" y="34"/>
                    <a:pt x="58" y="34"/>
                    <a:pt x="58" y="34"/>
                  </a:cubicBezTo>
                  <a:cubicBezTo>
                    <a:pt x="56" y="33"/>
                    <a:pt x="56" y="33"/>
                    <a:pt x="56" y="33"/>
                  </a:cubicBezTo>
                  <a:cubicBezTo>
                    <a:pt x="58" y="33"/>
                    <a:pt x="58" y="33"/>
                    <a:pt x="58" y="33"/>
                  </a:cubicBezTo>
                  <a:cubicBezTo>
                    <a:pt x="58" y="31"/>
                    <a:pt x="58" y="31"/>
                    <a:pt x="58" y="31"/>
                  </a:cubicBezTo>
                  <a:cubicBezTo>
                    <a:pt x="65" y="25"/>
                    <a:pt x="65" y="25"/>
                    <a:pt x="65" y="25"/>
                  </a:cubicBezTo>
                  <a:cubicBezTo>
                    <a:pt x="67" y="22"/>
                    <a:pt x="67" y="22"/>
                    <a:pt x="67" y="22"/>
                  </a:cubicBezTo>
                  <a:cubicBezTo>
                    <a:pt x="69" y="22"/>
                    <a:pt x="69" y="22"/>
                    <a:pt x="69" y="22"/>
                  </a:cubicBezTo>
                  <a:cubicBezTo>
                    <a:pt x="71" y="18"/>
                    <a:pt x="71" y="18"/>
                    <a:pt x="71" y="18"/>
                  </a:cubicBezTo>
                  <a:cubicBezTo>
                    <a:pt x="69" y="16"/>
                    <a:pt x="69" y="16"/>
                    <a:pt x="69" y="16"/>
                  </a:cubicBezTo>
                  <a:cubicBezTo>
                    <a:pt x="71" y="14"/>
                    <a:pt x="71" y="14"/>
                    <a:pt x="71" y="14"/>
                  </a:cubicBezTo>
                  <a:cubicBezTo>
                    <a:pt x="71" y="13"/>
                    <a:pt x="71" y="13"/>
                    <a:pt x="71" y="13"/>
                  </a:cubicBezTo>
                  <a:cubicBezTo>
                    <a:pt x="67" y="13"/>
                    <a:pt x="67" y="13"/>
                    <a:pt x="67" y="13"/>
                  </a:cubicBezTo>
                  <a:cubicBezTo>
                    <a:pt x="65" y="14"/>
                    <a:pt x="65" y="14"/>
                    <a:pt x="65" y="14"/>
                  </a:cubicBezTo>
                  <a:cubicBezTo>
                    <a:pt x="64" y="14"/>
                    <a:pt x="64" y="14"/>
                    <a:pt x="64" y="14"/>
                  </a:cubicBezTo>
                  <a:cubicBezTo>
                    <a:pt x="60" y="16"/>
                    <a:pt x="60" y="16"/>
                    <a:pt x="60" y="16"/>
                  </a:cubicBezTo>
                  <a:cubicBezTo>
                    <a:pt x="58" y="14"/>
                    <a:pt x="58" y="14"/>
                    <a:pt x="58" y="14"/>
                  </a:cubicBezTo>
                  <a:cubicBezTo>
                    <a:pt x="54" y="16"/>
                    <a:pt x="54" y="16"/>
                    <a:pt x="54" y="16"/>
                  </a:cubicBezTo>
                  <a:cubicBezTo>
                    <a:pt x="53" y="16"/>
                    <a:pt x="53" y="16"/>
                    <a:pt x="53" y="16"/>
                  </a:cubicBezTo>
                  <a:cubicBezTo>
                    <a:pt x="53" y="18"/>
                    <a:pt x="53" y="18"/>
                    <a:pt x="53" y="18"/>
                  </a:cubicBezTo>
                  <a:cubicBezTo>
                    <a:pt x="53" y="16"/>
                    <a:pt x="53" y="16"/>
                    <a:pt x="53" y="16"/>
                  </a:cubicBezTo>
                  <a:cubicBezTo>
                    <a:pt x="51" y="16"/>
                    <a:pt x="51" y="16"/>
                    <a:pt x="51" y="16"/>
                  </a:cubicBezTo>
                  <a:cubicBezTo>
                    <a:pt x="47" y="18"/>
                    <a:pt x="47" y="18"/>
                    <a:pt x="47" y="18"/>
                  </a:cubicBezTo>
                  <a:cubicBezTo>
                    <a:pt x="49" y="16"/>
                    <a:pt x="49" y="16"/>
                    <a:pt x="49" y="16"/>
                  </a:cubicBezTo>
                  <a:cubicBezTo>
                    <a:pt x="45" y="14"/>
                    <a:pt x="45" y="14"/>
                    <a:pt x="45" y="14"/>
                  </a:cubicBezTo>
                  <a:cubicBezTo>
                    <a:pt x="43" y="16"/>
                    <a:pt x="43" y="16"/>
                    <a:pt x="43" y="16"/>
                  </a:cubicBezTo>
                  <a:cubicBezTo>
                    <a:pt x="43" y="18"/>
                    <a:pt x="43" y="18"/>
                    <a:pt x="43" y="18"/>
                  </a:cubicBezTo>
                  <a:cubicBezTo>
                    <a:pt x="43" y="20"/>
                    <a:pt x="43" y="20"/>
                    <a:pt x="43" y="20"/>
                  </a:cubicBezTo>
                  <a:cubicBezTo>
                    <a:pt x="43" y="20"/>
                    <a:pt x="43" y="20"/>
                    <a:pt x="43" y="20"/>
                  </a:cubicBezTo>
                  <a:cubicBezTo>
                    <a:pt x="43" y="22"/>
                    <a:pt x="43" y="22"/>
                    <a:pt x="43" y="22"/>
                  </a:cubicBezTo>
                  <a:cubicBezTo>
                    <a:pt x="40" y="23"/>
                    <a:pt x="40" y="23"/>
                    <a:pt x="40" y="23"/>
                  </a:cubicBezTo>
                  <a:cubicBezTo>
                    <a:pt x="42" y="25"/>
                    <a:pt x="42" y="25"/>
                    <a:pt x="42" y="25"/>
                  </a:cubicBezTo>
                  <a:cubicBezTo>
                    <a:pt x="40" y="27"/>
                    <a:pt x="40" y="27"/>
                    <a:pt x="40" y="27"/>
                  </a:cubicBezTo>
                  <a:cubicBezTo>
                    <a:pt x="38" y="27"/>
                    <a:pt x="38" y="27"/>
                    <a:pt x="38" y="27"/>
                  </a:cubicBezTo>
                  <a:cubicBezTo>
                    <a:pt x="42" y="31"/>
                    <a:pt x="42" y="31"/>
                    <a:pt x="42" y="31"/>
                  </a:cubicBezTo>
                  <a:cubicBezTo>
                    <a:pt x="43" y="33"/>
                    <a:pt x="43" y="33"/>
                    <a:pt x="43" y="33"/>
                  </a:cubicBezTo>
                  <a:cubicBezTo>
                    <a:pt x="40" y="31"/>
                    <a:pt x="40" y="31"/>
                    <a:pt x="40" y="31"/>
                  </a:cubicBezTo>
                  <a:cubicBezTo>
                    <a:pt x="38" y="33"/>
                    <a:pt x="38" y="33"/>
                    <a:pt x="38" y="33"/>
                  </a:cubicBezTo>
                  <a:cubicBezTo>
                    <a:pt x="36" y="31"/>
                    <a:pt x="36" y="31"/>
                    <a:pt x="36" y="31"/>
                  </a:cubicBezTo>
                  <a:cubicBezTo>
                    <a:pt x="36" y="31"/>
                    <a:pt x="36" y="31"/>
                    <a:pt x="36" y="31"/>
                  </a:cubicBezTo>
                  <a:cubicBezTo>
                    <a:pt x="36" y="33"/>
                    <a:pt x="36" y="33"/>
                    <a:pt x="36" y="33"/>
                  </a:cubicBezTo>
                  <a:cubicBezTo>
                    <a:pt x="36" y="34"/>
                    <a:pt x="36" y="34"/>
                    <a:pt x="36" y="34"/>
                  </a:cubicBezTo>
                  <a:cubicBezTo>
                    <a:pt x="34" y="33"/>
                    <a:pt x="34" y="33"/>
                    <a:pt x="34" y="33"/>
                  </a:cubicBezTo>
                  <a:cubicBezTo>
                    <a:pt x="33" y="34"/>
                    <a:pt x="33" y="34"/>
                    <a:pt x="33" y="34"/>
                  </a:cubicBezTo>
                  <a:cubicBezTo>
                    <a:pt x="34" y="36"/>
                    <a:pt x="34" y="36"/>
                    <a:pt x="34" y="36"/>
                  </a:cubicBezTo>
                  <a:cubicBezTo>
                    <a:pt x="34" y="38"/>
                    <a:pt x="34" y="38"/>
                    <a:pt x="34" y="38"/>
                  </a:cubicBezTo>
                  <a:cubicBezTo>
                    <a:pt x="36" y="40"/>
                    <a:pt x="36" y="40"/>
                    <a:pt x="36" y="40"/>
                  </a:cubicBezTo>
                  <a:cubicBezTo>
                    <a:pt x="38" y="40"/>
                    <a:pt x="38" y="40"/>
                    <a:pt x="38" y="40"/>
                  </a:cubicBezTo>
                  <a:cubicBezTo>
                    <a:pt x="36" y="40"/>
                    <a:pt x="36" y="40"/>
                    <a:pt x="36" y="40"/>
                  </a:cubicBezTo>
                  <a:cubicBezTo>
                    <a:pt x="33" y="40"/>
                    <a:pt x="33" y="40"/>
                    <a:pt x="33" y="40"/>
                  </a:cubicBezTo>
                  <a:cubicBezTo>
                    <a:pt x="34" y="44"/>
                    <a:pt x="34" y="44"/>
                    <a:pt x="34" y="44"/>
                  </a:cubicBezTo>
                  <a:cubicBezTo>
                    <a:pt x="34" y="44"/>
                    <a:pt x="34" y="44"/>
                    <a:pt x="34" y="44"/>
                  </a:cubicBezTo>
                  <a:cubicBezTo>
                    <a:pt x="38" y="44"/>
                    <a:pt x="38" y="44"/>
                    <a:pt x="38" y="44"/>
                  </a:cubicBezTo>
                  <a:cubicBezTo>
                    <a:pt x="34" y="45"/>
                    <a:pt x="34" y="45"/>
                    <a:pt x="34" y="45"/>
                  </a:cubicBezTo>
                  <a:cubicBezTo>
                    <a:pt x="34" y="45"/>
                    <a:pt x="34" y="45"/>
                    <a:pt x="34" y="45"/>
                  </a:cubicBezTo>
                  <a:cubicBezTo>
                    <a:pt x="36" y="47"/>
                    <a:pt x="36" y="47"/>
                    <a:pt x="36" y="47"/>
                  </a:cubicBezTo>
                  <a:cubicBezTo>
                    <a:pt x="38" y="45"/>
                    <a:pt x="38" y="45"/>
                    <a:pt x="38" y="45"/>
                  </a:cubicBezTo>
                  <a:cubicBezTo>
                    <a:pt x="38" y="45"/>
                    <a:pt x="38" y="45"/>
                    <a:pt x="38" y="45"/>
                  </a:cubicBezTo>
                  <a:cubicBezTo>
                    <a:pt x="38" y="47"/>
                    <a:pt x="38" y="47"/>
                    <a:pt x="38" y="47"/>
                  </a:cubicBezTo>
                  <a:cubicBezTo>
                    <a:pt x="36" y="47"/>
                    <a:pt x="36" y="47"/>
                    <a:pt x="36" y="47"/>
                  </a:cubicBezTo>
                  <a:cubicBezTo>
                    <a:pt x="36" y="47"/>
                    <a:pt x="36" y="47"/>
                    <a:pt x="36" y="47"/>
                  </a:cubicBezTo>
                  <a:cubicBezTo>
                    <a:pt x="36" y="49"/>
                    <a:pt x="36" y="49"/>
                    <a:pt x="36" y="49"/>
                  </a:cubicBezTo>
                  <a:cubicBezTo>
                    <a:pt x="36" y="49"/>
                    <a:pt x="36" y="49"/>
                    <a:pt x="36" y="49"/>
                  </a:cubicBezTo>
                  <a:cubicBezTo>
                    <a:pt x="34" y="51"/>
                    <a:pt x="34" y="51"/>
                    <a:pt x="34" y="51"/>
                  </a:cubicBezTo>
                  <a:cubicBezTo>
                    <a:pt x="34" y="51"/>
                    <a:pt x="34" y="51"/>
                    <a:pt x="34" y="51"/>
                  </a:cubicBezTo>
                  <a:cubicBezTo>
                    <a:pt x="36" y="53"/>
                    <a:pt x="36" y="53"/>
                    <a:pt x="36" y="53"/>
                  </a:cubicBezTo>
                  <a:cubicBezTo>
                    <a:pt x="36" y="54"/>
                    <a:pt x="36" y="54"/>
                    <a:pt x="36" y="54"/>
                  </a:cubicBezTo>
                  <a:cubicBezTo>
                    <a:pt x="33" y="53"/>
                    <a:pt x="33" y="53"/>
                    <a:pt x="33" y="53"/>
                  </a:cubicBezTo>
                  <a:cubicBezTo>
                    <a:pt x="33" y="54"/>
                    <a:pt x="33" y="54"/>
                    <a:pt x="33" y="54"/>
                  </a:cubicBezTo>
                  <a:cubicBezTo>
                    <a:pt x="34" y="56"/>
                    <a:pt x="34" y="56"/>
                    <a:pt x="34" y="56"/>
                  </a:cubicBezTo>
                  <a:cubicBezTo>
                    <a:pt x="33" y="56"/>
                    <a:pt x="33" y="56"/>
                    <a:pt x="33" y="56"/>
                  </a:cubicBezTo>
                  <a:cubicBezTo>
                    <a:pt x="31" y="58"/>
                    <a:pt x="31" y="58"/>
                    <a:pt x="31" y="58"/>
                  </a:cubicBezTo>
                  <a:cubicBezTo>
                    <a:pt x="29" y="58"/>
                    <a:pt x="29" y="58"/>
                    <a:pt x="29" y="58"/>
                  </a:cubicBezTo>
                  <a:cubicBezTo>
                    <a:pt x="27" y="60"/>
                    <a:pt x="27" y="60"/>
                    <a:pt x="27" y="60"/>
                  </a:cubicBezTo>
                  <a:cubicBezTo>
                    <a:pt x="29" y="60"/>
                    <a:pt x="29" y="60"/>
                    <a:pt x="29" y="60"/>
                  </a:cubicBezTo>
                  <a:cubicBezTo>
                    <a:pt x="31" y="60"/>
                    <a:pt x="31" y="60"/>
                    <a:pt x="31" y="60"/>
                  </a:cubicBezTo>
                  <a:cubicBezTo>
                    <a:pt x="33" y="60"/>
                    <a:pt x="33" y="60"/>
                    <a:pt x="33" y="60"/>
                  </a:cubicBezTo>
                  <a:cubicBezTo>
                    <a:pt x="33" y="62"/>
                    <a:pt x="33" y="62"/>
                    <a:pt x="33" y="62"/>
                  </a:cubicBezTo>
                  <a:cubicBezTo>
                    <a:pt x="31" y="62"/>
                    <a:pt x="31" y="62"/>
                    <a:pt x="31" y="62"/>
                  </a:cubicBezTo>
                  <a:cubicBezTo>
                    <a:pt x="33" y="64"/>
                    <a:pt x="33" y="64"/>
                    <a:pt x="33" y="64"/>
                  </a:cubicBezTo>
                  <a:cubicBezTo>
                    <a:pt x="34" y="64"/>
                    <a:pt x="34" y="64"/>
                    <a:pt x="34" y="64"/>
                  </a:cubicBezTo>
                  <a:cubicBezTo>
                    <a:pt x="34" y="65"/>
                    <a:pt x="34" y="65"/>
                    <a:pt x="34" y="65"/>
                  </a:cubicBezTo>
                  <a:cubicBezTo>
                    <a:pt x="42" y="58"/>
                    <a:pt x="42" y="58"/>
                    <a:pt x="42" y="58"/>
                  </a:cubicBezTo>
                  <a:cubicBezTo>
                    <a:pt x="42" y="60"/>
                    <a:pt x="42" y="60"/>
                    <a:pt x="42" y="60"/>
                  </a:cubicBezTo>
                  <a:cubicBezTo>
                    <a:pt x="42" y="60"/>
                    <a:pt x="42" y="60"/>
                    <a:pt x="42" y="60"/>
                  </a:cubicBezTo>
                  <a:cubicBezTo>
                    <a:pt x="40" y="62"/>
                    <a:pt x="40" y="62"/>
                    <a:pt x="40" y="62"/>
                  </a:cubicBezTo>
                  <a:cubicBezTo>
                    <a:pt x="38" y="65"/>
                    <a:pt x="38" y="65"/>
                    <a:pt x="38" y="65"/>
                  </a:cubicBezTo>
                  <a:cubicBezTo>
                    <a:pt x="38" y="65"/>
                    <a:pt x="38" y="65"/>
                    <a:pt x="38" y="65"/>
                  </a:cubicBezTo>
                  <a:cubicBezTo>
                    <a:pt x="36" y="71"/>
                    <a:pt x="36" y="71"/>
                    <a:pt x="36" y="71"/>
                  </a:cubicBezTo>
                  <a:cubicBezTo>
                    <a:pt x="38" y="71"/>
                    <a:pt x="38" y="71"/>
                    <a:pt x="38" y="71"/>
                  </a:cubicBezTo>
                  <a:cubicBezTo>
                    <a:pt x="36" y="76"/>
                    <a:pt x="36" y="76"/>
                    <a:pt x="36" y="76"/>
                  </a:cubicBezTo>
                  <a:cubicBezTo>
                    <a:pt x="36" y="78"/>
                    <a:pt x="36" y="78"/>
                    <a:pt x="36" y="78"/>
                  </a:cubicBezTo>
                  <a:cubicBezTo>
                    <a:pt x="34" y="80"/>
                    <a:pt x="34" y="80"/>
                    <a:pt x="34" y="80"/>
                  </a:cubicBezTo>
                  <a:cubicBezTo>
                    <a:pt x="36" y="82"/>
                    <a:pt x="36" y="82"/>
                    <a:pt x="36" y="82"/>
                  </a:cubicBezTo>
                  <a:cubicBezTo>
                    <a:pt x="36" y="82"/>
                    <a:pt x="36" y="82"/>
                    <a:pt x="36" y="82"/>
                  </a:cubicBezTo>
                  <a:cubicBezTo>
                    <a:pt x="34" y="85"/>
                    <a:pt x="34" y="85"/>
                    <a:pt x="34" y="85"/>
                  </a:cubicBezTo>
                  <a:cubicBezTo>
                    <a:pt x="34" y="91"/>
                    <a:pt x="34" y="91"/>
                    <a:pt x="34" y="91"/>
                  </a:cubicBezTo>
                  <a:cubicBezTo>
                    <a:pt x="33" y="91"/>
                    <a:pt x="33" y="91"/>
                    <a:pt x="33" y="91"/>
                  </a:cubicBezTo>
                  <a:cubicBezTo>
                    <a:pt x="33" y="93"/>
                    <a:pt x="33" y="93"/>
                    <a:pt x="33" y="93"/>
                  </a:cubicBezTo>
                  <a:cubicBezTo>
                    <a:pt x="36" y="93"/>
                    <a:pt x="36" y="93"/>
                    <a:pt x="36" y="93"/>
                  </a:cubicBezTo>
                  <a:cubicBezTo>
                    <a:pt x="36" y="91"/>
                    <a:pt x="36" y="91"/>
                    <a:pt x="36" y="91"/>
                  </a:cubicBezTo>
                  <a:cubicBezTo>
                    <a:pt x="38" y="87"/>
                    <a:pt x="38" y="87"/>
                    <a:pt x="38" y="87"/>
                  </a:cubicBezTo>
                  <a:cubicBezTo>
                    <a:pt x="38" y="84"/>
                    <a:pt x="38" y="84"/>
                    <a:pt x="38" y="84"/>
                  </a:cubicBezTo>
                  <a:cubicBezTo>
                    <a:pt x="40" y="82"/>
                    <a:pt x="40" y="82"/>
                    <a:pt x="40" y="82"/>
                  </a:cubicBezTo>
                  <a:cubicBezTo>
                    <a:pt x="38" y="76"/>
                    <a:pt x="38" y="76"/>
                    <a:pt x="38" y="76"/>
                  </a:cubicBezTo>
                  <a:cubicBezTo>
                    <a:pt x="40" y="76"/>
                    <a:pt x="40" y="76"/>
                    <a:pt x="40" y="76"/>
                  </a:cubicBezTo>
                  <a:cubicBezTo>
                    <a:pt x="43" y="71"/>
                    <a:pt x="43" y="71"/>
                    <a:pt x="43" y="71"/>
                  </a:cubicBezTo>
                  <a:cubicBezTo>
                    <a:pt x="40" y="76"/>
                    <a:pt x="40" y="76"/>
                    <a:pt x="40" y="76"/>
                  </a:cubicBezTo>
                  <a:cubicBezTo>
                    <a:pt x="40" y="80"/>
                    <a:pt x="40" y="80"/>
                    <a:pt x="40" y="80"/>
                  </a:cubicBezTo>
                  <a:cubicBezTo>
                    <a:pt x="42" y="80"/>
                    <a:pt x="42" y="80"/>
                    <a:pt x="42" y="80"/>
                  </a:cubicBezTo>
                  <a:cubicBezTo>
                    <a:pt x="42" y="78"/>
                    <a:pt x="42" y="78"/>
                    <a:pt x="42" y="78"/>
                  </a:cubicBezTo>
                  <a:cubicBezTo>
                    <a:pt x="43" y="76"/>
                    <a:pt x="43" y="76"/>
                    <a:pt x="43" y="76"/>
                  </a:cubicBezTo>
                  <a:cubicBezTo>
                    <a:pt x="43" y="80"/>
                    <a:pt x="43" y="80"/>
                    <a:pt x="43" y="80"/>
                  </a:cubicBezTo>
                  <a:cubicBezTo>
                    <a:pt x="45" y="76"/>
                    <a:pt x="45" y="76"/>
                    <a:pt x="45" y="76"/>
                  </a:cubicBezTo>
                  <a:cubicBezTo>
                    <a:pt x="45" y="73"/>
                    <a:pt x="45" y="73"/>
                    <a:pt x="45" y="73"/>
                  </a:cubicBezTo>
                  <a:cubicBezTo>
                    <a:pt x="47" y="73"/>
                    <a:pt x="47" y="73"/>
                    <a:pt x="47" y="73"/>
                  </a:cubicBezTo>
                  <a:cubicBezTo>
                    <a:pt x="47" y="76"/>
                    <a:pt x="47" y="76"/>
                    <a:pt x="47" y="76"/>
                  </a:cubicBezTo>
                  <a:cubicBezTo>
                    <a:pt x="51" y="78"/>
                    <a:pt x="51" y="78"/>
                    <a:pt x="51" y="78"/>
                  </a:cubicBezTo>
                  <a:cubicBezTo>
                    <a:pt x="47" y="78"/>
                    <a:pt x="47" y="78"/>
                    <a:pt x="47" y="78"/>
                  </a:cubicBezTo>
                  <a:cubicBezTo>
                    <a:pt x="45" y="82"/>
                    <a:pt x="45" y="82"/>
                    <a:pt x="45" y="82"/>
                  </a:cubicBezTo>
                  <a:cubicBezTo>
                    <a:pt x="47" y="85"/>
                    <a:pt x="47" y="85"/>
                    <a:pt x="47" y="85"/>
                  </a:cubicBezTo>
                  <a:cubicBezTo>
                    <a:pt x="49" y="85"/>
                    <a:pt x="49" y="85"/>
                    <a:pt x="49" y="85"/>
                  </a:cubicBezTo>
                  <a:cubicBezTo>
                    <a:pt x="49" y="89"/>
                    <a:pt x="49" y="89"/>
                    <a:pt x="49" y="89"/>
                  </a:cubicBezTo>
                  <a:cubicBezTo>
                    <a:pt x="47" y="93"/>
                    <a:pt x="47" y="93"/>
                    <a:pt x="47" y="93"/>
                  </a:cubicBezTo>
                  <a:cubicBezTo>
                    <a:pt x="43" y="100"/>
                    <a:pt x="43" y="100"/>
                    <a:pt x="43" y="100"/>
                  </a:cubicBezTo>
                  <a:cubicBezTo>
                    <a:pt x="45" y="102"/>
                    <a:pt x="45" y="102"/>
                    <a:pt x="45" y="102"/>
                  </a:cubicBezTo>
                  <a:cubicBezTo>
                    <a:pt x="42" y="102"/>
                    <a:pt x="42" y="102"/>
                    <a:pt x="42" y="102"/>
                  </a:cubicBezTo>
                  <a:cubicBezTo>
                    <a:pt x="42" y="105"/>
                    <a:pt x="42" y="105"/>
                    <a:pt x="42" y="105"/>
                  </a:cubicBezTo>
                  <a:cubicBezTo>
                    <a:pt x="45" y="109"/>
                    <a:pt x="45" y="109"/>
                    <a:pt x="45" y="109"/>
                  </a:cubicBezTo>
                  <a:cubicBezTo>
                    <a:pt x="45" y="105"/>
                    <a:pt x="45" y="105"/>
                    <a:pt x="45" y="105"/>
                  </a:cubicBezTo>
                  <a:cubicBezTo>
                    <a:pt x="47" y="104"/>
                    <a:pt x="47" y="104"/>
                    <a:pt x="47" y="104"/>
                  </a:cubicBezTo>
                  <a:cubicBezTo>
                    <a:pt x="53" y="109"/>
                    <a:pt x="53" y="109"/>
                    <a:pt x="53" y="109"/>
                  </a:cubicBezTo>
                  <a:cubicBezTo>
                    <a:pt x="53" y="105"/>
                    <a:pt x="53" y="105"/>
                    <a:pt x="53" y="105"/>
                  </a:cubicBezTo>
                  <a:cubicBezTo>
                    <a:pt x="51" y="104"/>
                    <a:pt x="51" y="104"/>
                    <a:pt x="51" y="104"/>
                  </a:cubicBezTo>
                  <a:cubicBezTo>
                    <a:pt x="53" y="104"/>
                    <a:pt x="53" y="104"/>
                    <a:pt x="53" y="104"/>
                  </a:cubicBezTo>
                  <a:cubicBezTo>
                    <a:pt x="56" y="105"/>
                    <a:pt x="56" y="105"/>
                    <a:pt x="56" y="105"/>
                  </a:cubicBezTo>
                  <a:cubicBezTo>
                    <a:pt x="60" y="105"/>
                    <a:pt x="60" y="105"/>
                    <a:pt x="60" y="105"/>
                  </a:cubicBezTo>
                  <a:cubicBezTo>
                    <a:pt x="60" y="104"/>
                    <a:pt x="60" y="104"/>
                    <a:pt x="60" y="104"/>
                  </a:cubicBezTo>
                  <a:cubicBezTo>
                    <a:pt x="64" y="104"/>
                    <a:pt x="64" y="104"/>
                    <a:pt x="64" y="104"/>
                  </a:cubicBezTo>
                  <a:cubicBezTo>
                    <a:pt x="65" y="102"/>
                    <a:pt x="65" y="102"/>
                    <a:pt x="65" y="102"/>
                  </a:cubicBezTo>
                  <a:cubicBezTo>
                    <a:pt x="73" y="102"/>
                    <a:pt x="73" y="102"/>
                    <a:pt x="73" y="102"/>
                  </a:cubicBezTo>
                  <a:cubicBezTo>
                    <a:pt x="67" y="104"/>
                    <a:pt x="67" y="104"/>
                    <a:pt x="67" y="104"/>
                  </a:cubicBezTo>
                  <a:cubicBezTo>
                    <a:pt x="64" y="113"/>
                    <a:pt x="64" y="113"/>
                    <a:pt x="64" y="113"/>
                  </a:cubicBezTo>
                  <a:cubicBezTo>
                    <a:pt x="69" y="120"/>
                    <a:pt x="69" y="120"/>
                    <a:pt x="69" y="120"/>
                  </a:cubicBezTo>
                  <a:cubicBezTo>
                    <a:pt x="71" y="118"/>
                    <a:pt x="71" y="118"/>
                    <a:pt x="71" y="118"/>
                  </a:cubicBezTo>
                  <a:cubicBezTo>
                    <a:pt x="71" y="124"/>
                    <a:pt x="71" y="124"/>
                    <a:pt x="71" y="124"/>
                  </a:cubicBezTo>
                  <a:cubicBezTo>
                    <a:pt x="73" y="120"/>
                    <a:pt x="73" y="120"/>
                    <a:pt x="73" y="120"/>
                  </a:cubicBezTo>
                  <a:cubicBezTo>
                    <a:pt x="76" y="120"/>
                    <a:pt x="76" y="120"/>
                    <a:pt x="76" y="120"/>
                  </a:cubicBezTo>
                  <a:cubicBezTo>
                    <a:pt x="74" y="124"/>
                    <a:pt x="74" y="124"/>
                    <a:pt x="74" y="124"/>
                  </a:cubicBezTo>
                  <a:cubicBezTo>
                    <a:pt x="76" y="126"/>
                    <a:pt x="76" y="126"/>
                    <a:pt x="76" y="126"/>
                  </a:cubicBezTo>
                  <a:cubicBezTo>
                    <a:pt x="73" y="127"/>
                    <a:pt x="73" y="127"/>
                    <a:pt x="73" y="127"/>
                  </a:cubicBezTo>
                  <a:cubicBezTo>
                    <a:pt x="74" y="133"/>
                    <a:pt x="74" y="133"/>
                    <a:pt x="74" y="133"/>
                  </a:cubicBezTo>
                  <a:cubicBezTo>
                    <a:pt x="73" y="136"/>
                    <a:pt x="73" y="136"/>
                    <a:pt x="73" y="136"/>
                  </a:cubicBezTo>
                  <a:cubicBezTo>
                    <a:pt x="74" y="138"/>
                    <a:pt x="74" y="138"/>
                    <a:pt x="74" y="138"/>
                  </a:cubicBezTo>
                  <a:cubicBezTo>
                    <a:pt x="76" y="140"/>
                    <a:pt x="76" y="140"/>
                    <a:pt x="76" y="140"/>
                  </a:cubicBezTo>
                  <a:cubicBezTo>
                    <a:pt x="78" y="140"/>
                    <a:pt x="78" y="140"/>
                    <a:pt x="78" y="140"/>
                  </a:cubicBezTo>
                  <a:cubicBezTo>
                    <a:pt x="78" y="142"/>
                    <a:pt x="78" y="142"/>
                    <a:pt x="78" y="142"/>
                  </a:cubicBezTo>
                  <a:cubicBezTo>
                    <a:pt x="74" y="142"/>
                    <a:pt x="74" y="142"/>
                    <a:pt x="74" y="142"/>
                  </a:cubicBezTo>
                  <a:cubicBezTo>
                    <a:pt x="73" y="140"/>
                    <a:pt x="73" y="140"/>
                    <a:pt x="73" y="140"/>
                  </a:cubicBezTo>
                  <a:cubicBezTo>
                    <a:pt x="71" y="140"/>
                    <a:pt x="71" y="140"/>
                    <a:pt x="71" y="140"/>
                  </a:cubicBezTo>
                  <a:cubicBezTo>
                    <a:pt x="73" y="142"/>
                    <a:pt x="73" y="142"/>
                    <a:pt x="73" y="142"/>
                  </a:cubicBezTo>
                  <a:cubicBezTo>
                    <a:pt x="74" y="144"/>
                    <a:pt x="74" y="144"/>
                    <a:pt x="74" y="144"/>
                  </a:cubicBezTo>
                  <a:cubicBezTo>
                    <a:pt x="73" y="144"/>
                    <a:pt x="73" y="144"/>
                    <a:pt x="73" y="144"/>
                  </a:cubicBezTo>
                  <a:cubicBezTo>
                    <a:pt x="69" y="140"/>
                    <a:pt x="69" y="140"/>
                    <a:pt x="69" y="140"/>
                  </a:cubicBezTo>
                  <a:cubicBezTo>
                    <a:pt x="64" y="142"/>
                    <a:pt x="64" y="142"/>
                    <a:pt x="64" y="142"/>
                  </a:cubicBezTo>
                  <a:cubicBezTo>
                    <a:pt x="62" y="142"/>
                    <a:pt x="62" y="142"/>
                    <a:pt x="62" y="142"/>
                  </a:cubicBezTo>
                  <a:cubicBezTo>
                    <a:pt x="56" y="146"/>
                    <a:pt x="56" y="146"/>
                    <a:pt x="56" y="146"/>
                  </a:cubicBezTo>
                  <a:cubicBezTo>
                    <a:pt x="53" y="149"/>
                    <a:pt x="53" y="149"/>
                    <a:pt x="53" y="149"/>
                  </a:cubicBezTo>
                  <a:cubicBezTo>
                    <a:pt x="49" y="151"/>
                    <a:pt x="49" y="151"/>
                    <a:pt x="49" y="151"/>
                  </a:cubicBezTo>
                  <a:cubicBezTo>
                    <a:pt x="47" y="155"/>
                    <a:pt x="47" y="155"/>
                    <a:pt x="47" y="155"/>
                  </a:cubicBezTo>
                  <a:cubicBezTo>
                    <a:pt x="49" y="155"/>
                    <a:pt x="49" y="155"/>
                    <a:pt x="49" y="155"/>
                  </a:cubicBezTo>
                  <a:cubicBezTo>
                    <a:pt x="51" y="155"/>
                    <a:pt x="51" y="155"/>
                    <a:pt x="51" y="155"/>
                  </a:cubicBezTo>
                  <a:cubicBezTo>
                    <a:pt x="51" y="153"/>
                    <a:pt x="51" y="153"/>
                    <a:pt x="51" y="153"/>
                  </a:cubicBezTo>
                  <a:cubicBezTo>
                    <a:pt x="58" y="151"/>
                    <a:pt x="58" y="151"/>
                    <a:pt x="58" y="151"/>
                  </a:cubicBezTo>
                  <a:cubicBezTo>
                    <a:pt x="56" y="155"/>
                    <a:pt x="56" y="155"/>
                    <a:pt x="56" y="155"/>
                  </a:cubicBezTo>
                  <a:cubicBezTo>
                    <a:pt x="58" y="157"/>
                    <a:pt x="58" y="157"/>
                    <a:pt x="58" y="157"/>
                  </a:cubicBezTo>
                  <a:cubicBezTo>
                    <a:pt x="56" y="158"/>
                    <a:pt x="56" y="158"/>
                    <a:pt x="56" y="158"/>
                  </a:cubicBezTo>
                  <a:cubicBezTo>
                    <a:pt x="58" y="160"/>
                    <a:pt x="58" y="160"/>
                    <a:pt x="58" y="160"/>
                  </a:cubicBezTo>
                  <a:cubicBezTo>
                    <a:pt x="60" y="160"/>
                    <a:pt x="60" y="160"/>
                    <a:pt x="60" y="160"/>
                  </a:cubicBezTo>
                  <a:cubicBezTo>
                    <a:pt x="56" y="167"/>
                    <a:pt x="56" y="167"/>
                    <a:pt x="56" y="167"/>
                  </a:cubicBezTo>
                  <a:cubicBezTo>
                    <a:pt x="53" y="169"/>
                    <a:pt x="53" y="169"/>
                    <a:pt x="53" y="169"/>
                  </a:cubicBezTo>
                  <a:cubicBezTo>
                    <a:pt x="51" y="171"/>
                    <a:pt x="51" y="171"/>
                    <a:pt x="51" y="171"/>
                  </a:cubicBezTo>
                  <a:cubicBezTo>
                    <a:pt x="49" y="171"/>
                    <a:pt x="49" y="171"/>
                    <a:pt x="49" y="171"/>
                  </a:cubicBezTo>
                  <a:cubicBezTo>
                    <a:pt x="45" y="173"/>
                    <a:pt x="45" y="173"/>
                    <a:pt x="45" y="173"/>
                  </a:cubicBezTo>
                  <a:cubicBezTo>
                    <a:pt x="43" y="173"/>
                    <a:pt x="43" y="173"/>
                    <a:pt x="43" y="173"/>
                  </a:cubicBezTo>
                  <a:cubicBezTo>
                    <a:pt x="38" y="177"/>
                    <a:pt x="38" y="177"/>
                    <a:pt x="38" y="177"/>
                  </a:cubicBezTo>
                  <a:cubicBezTo>
                    <a:pt x="42" y="177"/>
                    <a:pt x="42" y="177"/>
                    <a:pt x="42" y="177"/>
                  </a:cubicBezTo>
                  <a:cubicBezTo>
                    <a:pt x="42" y="178"/>
                    <a:pt x="42" y="178"/>
                    <a:pt x="42" y="178"/>
                  </a:cubicBezTo>
                  <a:cubicBezTo>
                    <a:pt x="40" y="180"/>
                    <a:pt x="40" y="180"/>
                    <a:pt x="40" y="180"/>
                  </a:cubicBezTo>
                  <a:cubicBezTo>
                    <a:pt x="43" y="180"/>
                    <a:pt x="43" y="180"/>
                    <a:pt x="43" y="180"/>
                  </a:cubicBezTo>
                  <a:cubicBezTo>
                    <a:pt x="43" y="182"/>
                    <a:pt x="43" y="182"/>
                    <a:pt x="43" y="182"/>
                  </a:cubicBezTo>
                  <a:cubicBezTo>
                    <a:pt x="43" y="182"/>
                    <a:pt x="43" y="182"/>
                    <a:pt x="43" y="182"/>
                  </a:cubicBezTo>
                  <a:cubicBezTo>
                    <a:pt x="47" y="182"/>
                    <a:pt x="47" y="182"/>
                    <a:pt x="47" y="182"/>
                  </a:cubicBezTo>
                  <a:cubicBezTo>
                    <a:pt x="49" y="180"/>
                    <a:pt x="49" y="180"/>
                    <a:pt x="49" y="180"/>
                  </a:cubicBezTo>
                  <a:cubicBezTo>
                    <a:pt x="54" y="178"/>
                    <a:pt x="54" y="178"/>
                    <a:pt x="54" y="178"/>
                  </a:cubicBezTo>
                  <a:cubicBezTo>
                    <a:pt x="54" y="180"/>
                    <a:pt x="54" y="180"/>
                    <a:pt x="54" y="180"/>
                  </a:cubicBezTo>
                  <a:cubicBezTo>
                    <a:pt x="58" y="182"/>
                    <a:pt x="58" y="182"/>
                    <a:pt x="58" y="182"/>
                  </a:cubicBezTo>
                  <a:cubicBezTo>
                    <a:pt x="54" y="182"/>
                    <a:pt x="54" y="182"/>
                    <a:pt x="54" y="182"/>
                  </a:cubicBezTo>
                  <a:cubicBezTo>
                    <a:pt x="54" y="184"/>
                    <a:pt x="54" y="184"/>
                    <a:pt x="54" y="184"/>
                  </a:cubicBezTo>
                  <a:cubicBezTo>
                    <a:pt x="60" y="184"/>
                    <a:pt x="60" y="184"/>
                    <a:pt x="60" y="184"/>
                  </a:cubicBezTo>
                  <a:cubicBezTo>
                    <a:pt x="60" y="184"/>
                    <a:pt x="60" y="184"/>
                    <a:pt x="60" y="184"/>
                  </a:cubicBezTo>
                  <a:cubicBezTo>
                    <a:pt x="62" y="182"/>
                    <a:pt x="62" y="182"/>
                    <a:pt x="62" y="182"/>
                  </a:cubicBezTo>
                  <a:cubicBezTo>
                    <a:pt x="64" y="186"/>
                    <a:pt x="64" y="186"/>
                    <a:pt x="64" y="186"/>
                  </a:cubicBezTo>
                  <a:cubicBezTo>
                    <a:pt x="67" y="187"/>
                    <a:pt x="67" y="187"/>
                    <a:pt x="67" y="187"/>
                  </a:cubicBezTo>
                  <a:cubicBezTo>
                    <a:pt x="73" y="187"/>
                    <a:pt x="73" y="187"/>
                    <a:pt x="73" y="187"/>
                  </a:cubicBezTo>
                  <a:cubicBezTo>
                    <a:pt x="73" y="186"/>
                    <a:pt x="73" y="186"/>
                    <a:pt x="73" y="186"/>
                  </a:cubicBezTo>
                  <a:cubicBezTo>
                    <a:pt x="76" y="184"/>
                    <a:pt x="76" y="184"/>
                    <a:pt x="76" y="184"/>
                  </a:cubicBezTo>
                  <a:cubicBezTo>
                    <a:pt x="80" y="184"/>
                    <a:pt x="80" y="184"/>
                    <a:pt x="80" y="184"/>
                  </a:cubicBezTo>
                  <a:cubicBezTo>
                    <a:pt x="82" y="182"/>
                    <a:pt x="82" y="182"/>
                    <a:pt x="82" y="182"/>
                  </a:cubicBezTo>
                  <a:cubicBezTo>
                    <a:pt x="84" y="180"/>
                    <a:pt x="84" y="180"/>
                    <a:pt x="84" y="180"/>
                  </a:cubicBezTo>
                  <a:cubicBezTo>
                    <a:pt x="80" y="184"/>
                    <a:pt x="80" y="184"/>
                    <a:pt x="80" y="184"/>
                  </a:cubicBezTo>
                  <a:cubicBezTo>
                    <a:pt x="76" y="189"/>
                    <a:pt x="76" y="189"/>
                    <a:pt x="76" y="189"/>
                  </a:cubicBezTo>
                  <a:cubicBezTo>
                    <a:pt x="76" y="193"/>
                    <a:pt x="76" y="193"/>
                    <a:pt x="76" y="193"/>
                  </a:cubicBezTo>
                  <a:cubicBezTo>
                    <a:pt x="73" y="193"/>
                    <a:pt x="73" y="193"/>
                    <a:pt x="73" y="193"/>
                  </a:cubicBezTo>
                  <a:cubicBezTo>
                    <a:pt x="71" y="193"/>
                    <a:pt x="71" y="193"/>
                    <a:pt x="71" y="193"/>
                  </a:cubicBezTo>
                  <a:cubicBezTo>
                    <a:pt x="67" y="193"/>
                    <a:pt x="67" y="193"/>
                    <a:pt x="67" y="193"/>
                  </a:cubicBezTo>
                  <a:cubicBezTo>
                    <a:pt x="60" y="191"/>
                    <a:pt x="60" y="191"/>
                    <a:pt x="60" y="191"/>
                  </a:cubicBezTo>
                  <a:cubicBezTo>
                    <a:pt x="56" y="193"/>
                    <a:pt x="56" y="193"/>
                    <a:pt x="56" y="193"/>
                  </a:cubicBezTo>
                  <a:cubicBezTo>
                    <a:pt x="56" y="195"/>
                    <a:pt x="56" y="195"/>
                    <a:pt x="56" y="195"/>
                  </a:cubicBezTo>
                  <a:cubicBezTo>
                    <a:pt x="54" y="198"/>
                    <a:pt x="54" y="198"/>
                    <a:pt x="54" y="198"/>
                  </a:cubicBezTo>
                  <a:cubicBezTo>
                    <a:pt x="51" y="198"/>
                    <a:pt x="51" y="198"/>
                    <a:pt x="51" y="198"/>
                  </a:cubicBezTo>
                  <a:cubicBezTo>
                    <a:pt x="51" y="204"/>
                    <a:pt x="51" y="204"/>
                    <a:pt x="51" y="204"/>
                  </a:cubicBezTo>
                  <a:cubicBezTo>
                    <a:pt x="47" y="206"/>
                    <a:pt x="47" y="206"/>
                    <a:pt x="47" y="206"/>
                  </a:cubicBezTo>
                  <a:cubicBezTo>
                    <a:pt x="47" y="208"/>
                    <a:pt x="47" y="208"/>
                    <a:pt x="47" y="208"/>
                  </a:cubicBezTo>
                  <a:cubicBezTo>
                    <a:pt x="43" y="208"/>
                    <a:pt x="43" y="208"/>
                    <a:pt x="43" y="208"/>
                  </a:cubicBezTo>
                  <a:cubicBezTo>
                    <a:pt x="42" y="211"/>
                    <a:pt x="42" y="211"/>
                    <a:pt x="42" y="211"/>
                  </a:cubicBezTo>
                  <a:cubicBezTo>
                    <a:pt x="42" y="211"/>
                    <a:pt x="42" y="211"/>
                    <a:pt x="42" y="211"/>
                  </a:cubicBezTo>
                  <a:cubicBezTo>
                    <a:pt x="40" y="213"/>
                    <a:pt x="40" y="213"/>
                    <a:pt x="40" y="213"/>
                  </a:cubicBezTo>
                  <a:cubicBezTo>
                    <a:pt x="36" y="217"/>
                    <a:pt x="36" y="217"/>
                    <a:pt x="36" y="217"/>
                  </a:cubicBezTo>
                  <a:cubicBezTo>
                    <a:pt x="34" y="217"/>
                    <a:pt x="34" y="217"/>
                    <a:pt x="34" y="217"/>
                  </a:cubicBezTo>
                  <a:cubicBezTo>
                    <a:pt x="31" y="218"/>
                    <a:pt x="31" y="218"/>
                    <a:pt x="31" y="218"/>
                  </a:cubicBezTo>
                  <a:cubicBezTo>
                    <a:pt x="31" y="220"/>
                    <a:pt x="31" y="220"/>
                    <a:pt x="31" y="220"/>
                  </a:cubicBezTo>
                  <a:cubicBezTo>
                    <a:pt x="34" y="220"/>
                    <a:pt x="34" y="220"/>
                    <a:pt x="34" y="220"/>
                  </a:cubicBezTo>
                  <a:cubicBezTo>
                    <a:pt x="34" y="218"/>
                    <a:pt x="34" y="218"/>
                    <a:pt x="34" y="218"/>
                  </a:cubicBezTo>
                  <a:cubicBezTo>
                    <a:pt x="38" y="218"/>
                    <a:pt x="38" y="218"/>
                    <a:pt x="38" y="218"/>
                  </a:cubicBezTo>
                  <a:cubicBezTo>
                    <a:pt x="40" y="222"/>
                    <a:pt x="40" y="222"/>
                    <a:pt x="40" y="222"/>
                  </a:cubicBezTo>
                  <a:cubicBezTo>
                    <a:pt x="40" y="222"/>
                    <a:pt x="40" y="222"/>
                    <a:pt x="40" y="222"/>
                  </a:cubicBezTo>
                  <a:close/>
                </a:path>
              </a:pathLst>
            </a:custGeom>
            <a:solidFill>
              <a:schemeClr val="bg1"/>
            </a:solidFill>
            <a:ln w="6350">
              <a:solidFill>
                <a:schemeClr val="accent2"/>
              </a:solidFill>
              <a:round/>
              <a:headEnd/>
              <a:tailEnd/>
            </a:ln>
          </p:spPr>
          <p:txBody>
            <a:bodyPr/>
            <a:lstStyle/>
            <a:p>
              <a:endParaRPr lang="de-DE"/>
            </a:p>
          </p:txBody>
        </p:sp>
        <p:sp>
          <p:nvSpPr>
            <p:cNvPr id="234" name="Freeform 74"/>
            <p:cNvSpPr>
              <a:spLocks noEditPoints="1"/>
            </p:cNvSpPr>
            <p:nvPr/>
          </p:nvSpPr>
          <p:spPr bwMode="gray">
            <a:xfrm>
              <a:off x="2034" y="1605"/>
              <a:ext cx="713" cy="668"/>
            </a:xfrm>
            <a:custGeom>
              <a:avLst/>
              <a:gdLst>
                <a:gd name="T0" fmla="*/ 563 w 713"/>
                <a:gd name="T1" fmla="*/ 327 h 668"/>
                <a:gd name="T2" fmla="*/ 516 w 713"/>
                <a:gd name="T3" fmla="*/ 350 h 668"/>
                <a:gd name="T4" fmla="*/ 535 w 713"/>
                <a:gd name="T5" fmla="*/ 315 h 668"/>
                <a:gd name="T6" fmla="*/ 576 w 713"/>
                <a:gd name="T7" fmla="*/ 257 h 668"/>
                <a:gd name="T8" fmla="*/ 592 w 713"/>
                <a:gd name="T9" fmla="*/ 251 h 668"/>
                <a:gd name="T10" fmla="*/ 605 w 713"/>
                <a:gd name="T11" fmla="*/ 194 h 668"/>
                <a:gd name="T12" fmla="*/ 614 w 713"/>
                <a:gd name="T13" fmla="*/ 143 h 668"/>
                <a:gd name="T14" fmla="*/ 570 w 713"/>
                <a:gd name="T15" fmla="*/ 140 h 668"/>
                <a:gd name="T16" fmla="*/ 528 w 713"/>
                <a:gd name="T17" fmla="*/ 124 h 668"/>
                <a:gd name="T18" fmla="*/ 487 w 713"/>
                <a:gd name="T19" fmla="*/ 108 h 668"/>
                <a:gd name="T20" fmla="*/ 449 w 713"/>
                <a:gd name="T21" fmla="*/ 82 h 668"/>
                <a:gd name="T22" fmla="*/ 410 w 713"/>
                <a:gd name="T23" fmla="*/ 54 h 668"/>
                <a:gd name="T24" fmla="*/ 372 w 713"/>
                <a:gd name="T25" fmla="*/ 9 h 668"/>
                <a:gd name="T26" fmla="*/ 325 w 713"/>
                <a:gd name="T27" fmla="*/ 15 h 668"/>
                <a:gd name="T28" fmla="*/ 309 w 713"/>
                <a:gd name="T29" fmla="*/ 82 h 668"/>
                <a:gd name="T30" fmla="*/ 242 w 713"/>
                <a:gd name="T31" fmla="*/ 108 h 668"/>
                <a:gd name="T32" fmla="*/ 207 w 713"/>
                <a:gd name="T33" fmla="*/ 127 h 668"/>
                <a:gd name="T34" fmla="*/ 181 w 713"/>
                <a:gd name="T35" fmla="*/ 108 h 668"/>
                <a:gd name="T36" fmla="*/ 153 w 713"/>
                <a:gd name="T37" fmla="*/ 111 h 668"/>
                <a:gd name="T38" fmla="*/ 165 w 713"/>
                <a:gd name="T39" fmla="*/ 156 h 668"/>
                <a:gd name="T40" fmla="*/ 137 w 713"/>
                <a:gd name="T41" fmla="*/ 175 h 668"/>
                <a:gd name="T42" fmla="*/ 86 w 713"/>
                <a:gd name="T43" fmla="*/ 156 h 668"/>
                <a:gd name="T44" fmla="*/ 51 w 713"/>
                <a:gd name="T45" fmla="*/ 168 h 668"/>
                <a:gd name="T46" fmla="*/ 9 w 713"/>
                <a:gd name="T47" fmla="*/ 197 h 668"/>
                <a:gd name="T48" fmla="*/ 13 w 713"/>
                <a:gd name="T49" fmla="*/ 197 h 668"/>
                <a:gd name="T50" fmla="*/ 19 w 713"/>
                <a:gd name="T51" fmla="*/ 210 h 668"/>
                <a:gd name="T52" fmla="*/ 25 w 713"/>
                <a:gd name="T53" fmla="*/ 238 h 668"/>
                <a:gd name="T54" fmla="*/ 70 w 713"/>
                <a:gd name="T55" fmla="*/ 245 h 668"/>
                <a:gd name="T56" fmla="*/ 98 w 713"/>
                <a:gd name="T57" fmla="*/ 251 h 668"/>
                <a:gd name="T58" fmla="*/ 124 w 713"/>
                <a:gd name="T59" fmla="*/ 273 h 668"/>
                <a:gd name="T60" fmla="*/ 143 w 713"/>
                <a:gd name="T61" fmla="*/ 273 h 668"/>
                <a:gd name="T62" fmla="*/ 137 w 713"/>
                <a:gd name="T63" fmla="*/ 302 h 668"/>
                <a:gd name="T64" fmla="*/ 184 w 713"/>
                <a:gd name="T65" fmla="*/ 337 h 668"/>
                <a:gd name="T66" fmla="*/ 181 w 713"/>
                <a:gd name="T67" fmla="*/ 378 h 668"/>
                <a:gd name="T68" fmla="*/ 197 w 713"/>
                <a:gd name="T69" fmla="*/ 397 h 668"/>
                <a:gd name="T70" fmla="*/ 184 w 713"/>
                <a:gd name="T71" fmla="*/ 451 h 668"/>
                <a:gd name="T72" fmla="*/ 165 w 713"/>
                <a:gd name="T73" fmla="*/ 537 h 668"/>
                <a:gd name="T74" fmla="*/ 184 w 713"/>
                <a:gd name="T75" fmla="*/ 557 h 668"/>
                <a:gd name="T76" fmla="*/ 264 w 713"/>
                <a:gd name="T77" fmla="*/ 585 h 668"/>
                <a:gd name="T78" fmla="*/ 325 w 713"/>
                <a:gd name="T79" fmla="*/ 582 h 668"/>
                <a:gd name="T80" fmla="*/ 391 w 713"/>
                <a:gd name="T81" fmla="*/ 598 h 668"/>
                <a:gd name="T82" fmla="*/ 423 w 713"/>
                <a:gd name="T83" fmla="*/ 525 h 668"/>
                <a:gd name="T84" fmla="*/ 471 w 713"/>
                <a:gd name="T85" fmla="*/ 537 h 668"/>
                <a:gd name="T86" fmla="*/ 551 w 713"/>
                <a:gd name="T87" fmla="*/ 557 h 668"/>
                <a:gd name="T88" fmla="*/ 611 w 713"/>
                <a:gd name="T89" fmla="*/ 509 h 668"/>
                <a:gd name="T90" fmla="*/ 576 w 713"/>
                <a:gd name="T91" fmla="*/ 439 h 668"/>
                <a:gd name="T92" fmla="*/ 576 w 713"/>
                <a:gd name="T93" fmla="*/ 385 h 668"/>
                <a:gd name="T94" fmla="*/ 582 w 713"/>
                <a:gd name="T95" fmla="*/ 369 h 668"/>
                <a:gd name="T96" fmla="*/ 681 w 713"/>
                <a:gd name="T97" fmla="*/ 652 h 668"/>
                <a:gd name="T98" fmla="*/ 668 w 713"/>
                <a:gd name="T99" fmla="*/ 636 h 668"/>
                <a:gd name="T100" fmla="*/ 662 w 713"/>
                <a:gd name="T101" fmla="*/ 611 h 668"/>
                <a:gd name="T102" fmla="*/ 684 w 713"/>
                <a:gd name="T103" fmla="*/ 582 h 668"/>
                <a:gd name="T104" fmla="*/ 700 w 713"/>
                <a:gd name="T105" fmla="*/ 566 h 668"/>
                <a:gd name="T106" fmla="*/ 713 w 713"/>
                <a:gd name="T107" fmla="*/ 607 h 668"/>
                <a:gd name="T108" fmla="*/ 697 w 713"/>
                <a:gd name="T109" fmla="*/ 668 h 6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13" h="668">
                  <a:moveTo>
                    <a:pt x="582" y="369"/>
                  </a:moveTo>
                  <a:lnTo>
                    <a:pt x="576" y="356"/>
                  </a:lnTo>
                  <a:lnTo>
                    <a:pt x="570" y="350"/>
                  </a:lnTo>
                  <a:lnTo>
                    <a:pt x="570" y="337"/>
                  </a:lnTo>
                  <a:lnTo>
                    <a:pt x="563" y="327"/>
                  </a:lnTo>
                  <a:lnTo>
                    <a:pt x="544" y="327"/>
                  </a:lnTo>
                  <a:lnTo>
                    <a:pt x="541" y="331"/>
                  </a:lnTo>
                  <a:lnTo>
                    <a:pt x="544" y="350"/>
                  </a:lnTo>
                  <a:lnTo>
                    <a:pt x="528" y="356"/>
                  </a:lnTo>
                  <a:lnTo>
                    <a:pt x="516" y="350"/>
                  </a:lnTo>
                  <a:lnTo>
                    <a:pt x="516" y="343"/>
                  </a:lnTo>
                  <a:lnTo>
                    <a:pt x="522" y="337"/>
                  </a:lnTo>
                  <a:lnTo>
                    <a:pt x="528" y="337"/>
                  </a:lnTo>
                  <a:lnTo>
                    <a:pt x="528" y="331"/>
                  </a:lnTo>
                  <a:lnTo>
                    <a:pt x="535" y="315"/>
                  </a:lnTo>
                  <a:lnTo>
                    <a:pt x="544" y="292"/>
                  </a:lnTo>
                  <a:lnTo>
                    <a:pt x="551" y="286"/>
                  </a:lnTo>
                  <a:lnTo>
                    <a:pt x="563" y="273"/>
                  </a:lnTo>
                  <a:lnTo>
                    <a:pt x="576" y="267"/>
                  </a:lnTo>
                  <a:lnTo>
                    <a:pt x="576" y="257"/>
                  </a:lnTo>
                  <a:lnTo>
                    <a:pt x="563" y="251"/>
                  </a:lnTo>
                  <a:lnTo>
                    <a:pt x="570" y="245"/>
                  </a:lnTo>
                  <a:lnTo>
                    <a:pt x="582" y="245"/>
                  </a:lnTo>
                  <a:lnTo>
                    <a:pt x="586" y="251"/>
                  </a:lnTo>
                  <a:lnTo>
                    <a:pt x="592" y="251"/>
                  </a:lnTo>
                  <a:lnTo>
                    <a:pt x="611" y="245"/>
                  </a:lnTo>
                  <a:lnTo>
                    <a:pt x="611" y="235"/>
                  </a:lnTo>
                  <a:lnTo>
                    <a:pt x="598" y="226"/>
                  </a:lnTo>
                  <a:lnTo>
                    <a:pt x="598" y="216"/>
                  </a:lnTo>
                  <a:lnTo>
                    <a:pt x="605" y="194"/>
                  </a:lnTo>
                  <a:lnTo>
                    <a:pt x="611" y="184"/>
                  </a:lnTo>
                  <a:lnTo>
                    <a:pt x="611" y="181"/>
                  </a:lnTo>
                  <a:lnTo>
                    <a:pt x="614" y="165"/>
                  </a:lnTo>
                  <a:lnTo>
                    <a:pt x="627" y="152"/>
                  </a:lnTo>
                  <a:lnTo>
                    <a:pt x="614" y="143"/>
                  </a:lnTo>
                  <a:lnTo>
                    <a:pt x="611" y="143"/>
                  </a:lnTo>
                  <a:lnTo>
                    <a:pt x="592" y="136"/>
                  </a:lnTo>
                  <a:lnTo>
                    <a:pt x="586" y="140"/>
                  </a:lnTo>
                  <a:lnTo>
                    <a:pt x="576" y="140"/>
                  </a:lnTo>
                  <a:lnTo>
                    <a:pt x="570" y="140"/>
                  </a:lnTo>
                  <a:lnTo>
                    <a:pt x="557" y="140"/>
                  </a:lnTo>
                  <a:lnTo>
                    <a:pt x="551" y="136"/>
                  </a:lnTo>
                  <a:lnTo>
                    <a:pt x="551" y="127"/>
                  </a:lnTo>
                  <a:lnTo>
                    <a:pt x="541" y="114"/>
                  </a:lnTo>
                  <a:lnTo>
                    <a:pt x="528" y="124"/>
                  </a:lnTo>
                  <a:lnTo>
                    <a:pt x="516" y="114"/>
                  </a:lnTo>
                  <a:lnTo>
                    <a:pt x="512" y="108"/>
                  </a:lnTo>
                  <a:lnTo>
                    <a:pt x="500" y="108"/>
                  </a:lnTo>
                  <a:lnTo>
                    <a:pt x="500" y="111"/>
                  </a:lnTo>
                  <a:lnTo>
                    <a:pt x="487" y="108"/>
                  </a:lnTo>
                  <a:lnTo>
                    <a:pt x="477" y="108"/>
                  </a:lnTo>
                  <a:lnTo>
                    <a:pt x="465" y="86"/>
                  </a:lnTo>
                  <a:lnTo>
                    <a:pt x="458" y="86"/>
                  </a:lnTo>
                  <a:lnTo>
                    <a:pt x="452" y="82"/>
                  </a:lnTo>
                  <a:lnTo>
                    <a:pt x="449" y="82"/>
                  </a:lnTo>
                  <a:lnTo>
                    <a:pt x="442" y="82"/>
                  </a:lnTo>
                  <a:lnTo>
                    <a:pt x="430" y="79"/>
                  </a:lnTo>
                  <a:lnTo>
                    <a:pt x="423" y="66"/>
                  </a:lnTo>
                  <a:lnTo>
                    <a:pt x="420" y="57"/>
                  </a:lnTo>
                  <a:lnTo>
                    <a:pt x="410" y="54"/>
                  </a:lnTo>
                  <a:lnTo>
                    <a:pt x="407" y="54"/>
                  </a:lnTo>
                  <a:lnTo>
                    <a:pt x="391" y="41"/>
                  </a:lnTo>
                  <a:lnTo>
                    <a:pt x="391" y="28"/>
                  </a:lnTo>
                  <a:lnTo>
                    <a:pt x="379" y="28"/>
                  </a:lnTo>
                  <a:lnTo>
                    <a:pt x="372" y="9"/>
                  </a:lnTo>
                  <a:lnTo>
                    <a:pt x="366" y="0"/>
                  </a:lnTo>
                  <a:lnTo>
                    <a:pt x="366" y="9"/>
                  </a:lnTo>
                  <a:lnTo>
                    <a:pt x="350" y="12"/>
                  </a:lnTo>
                  <a:lnTo>
                    <a:pt x="340" y="12"/>
                  </a:lnTo>
                  <a:lnTo>
                    <a:pt x="325" y="15"/>
                  </a:lnTo>
                  <a:lnTo>
                    <a:pt x="321" y="28"/>
                  </a:lnTo>
                  <a:lnTo>
                    <a:pt x="325" y="41"/>
                  </a:lnTo>
                  <a:lnTo>
                    <a:pt x="321" y="66"/>
                  </a:lnTo>
                  <a:lnTo>
                    <a:pt x="309" y="79"/>
                  </a:lnTo>
                  <a:lnTo>
                    <a:pt x="309" y="82"/>
                  </a:lnTo>
                  <a:lnTo>
                    <a:pt x="293" y="86"/>
                  </a:lnTo>
                  <a:lnTo>
                    <a:pt x="280" y="86"/>
                  </a:lnTo>
                  <a:lnTo>
                    <a:pt x="267" y="86"/>
                  </a:lnTo>
                  <a:lnTo>
                    <a:pt x="251" y="98"/>
                  </a:lnTo>
                  <a:lnTo>
                    <a:pt x="242" y="108"/>
                  </a:lnTo>
                  <a:lnTo>
                    <a:pt x="242" y="114"/>
                  </a:lnTo>
                  <a:lnTo>
                    <a:pt x="254" y="114"/>
                  </a:lnTo>
                  <a:lnTo>
                    <a:pt x="242" y="127"/>
                  </a:lnTo>
                  <a:lnTo>
                    <a:pt x="226" y="127"/>
                  </a:lnTo>
                  <a:lnTo>
                    <a:pt x="207" y="127"/>
                  </a:lnTo>
                  <a:lnTo>
                    <a:pt x="197" y="124"/>
                  </a:lnTo>
                  <a:lnTo>
                    <a:pt x="184" y="127"/>
                  </a:lnTo>
                  <a:lnTo>
                    <a:pt x="184" y="114"/>
                  </a:lnTo>
                  <a:lnTo>
                    <a:pt x="181" y="111"/>
                  </a:lnTo>
                  <a:lnTo>
                    <a:pt x="181" y="108"/>
                  </a:lnTo>
                  <a:lnTo>
                    <a:pt x="178" y="98"/>
                  </a:lnTo>
                  <a:lnTo>
                    <a:pt x="165" y="108"/>
                  </a:lnTo>
                  <a:lnTo>
                    <a:pt x="153" y="108"/>
                  </a:lnTo>
                  <a:lnTo>
                    <a:pt x="143" y="98"/>
                  </a:lnTo>
                  <a:lnTo>
                    <a:pt x="153" y="111"/>
                  </a:lnTo>
                  <a:lnTo>
                    <a:pt x="143" y="114"/>
                  </a:lnTo>
                  <a:lnTo>
                    <a:pt x="165" y="136"/>
                  </a:lnTo>
                  <a:lnTo>
                    <a:pt x="165" y="140"/>
                  </a:lnTo>
                  <a:lnTo>
                    <a:pt x="165" y="152"/>
                  </a:lnTo>
                  <a:lnTo>
                    <a:pt x="165" y="156"/>
                  </a:lnTo>
                  <a:lnTo>
                    <a:pt x="169" y="165"/>
                  </a:lnTo>
                  <a:lnTo>
                    <a:pt x="169" y="175"/>
                  </a:lnTo>
                  <a:lnTo>
                    <a:pt x="153" y="175"/>
                  </a:lnTo>
                  <a:lnTo>
                    <a:pt x="140" y="175"/>
                  </a:lnTo>
                  <a:lnTo>
                    <a:pt x="137" y="175"/>
                  </a:lnTo>
                  <a:lnTo>
                    <a:pt x="124" y="175"/>
                  </a:lnTo>
                  <a:lnTo>
                    <a:pt x="111" y="181"/>
                  </a:lnTo>
                  <a:lnTo>
                    <a:pt x="95" y="165"/>
                  </a:lnTo>
                  <a:lnTo>
                    <a:pt x="86" y="156"/>
                  </a:lnTo>
                  <a:lnTo>
                    <a:pt x="70" y="165"/>
                  </a:lnTo>
                  <a:lnTo>
                    <a:pt x="67" y="168"/>
                  </a:lnTo>
                  <a:lnTo>
                    <a:pt x="57" y="168"/>
                  </a:lnTo>
                  <a:lnTo>
                    <a:pt x="54" y="175"/>
                  </a:lnTo>
                  <a:lnTo>
                    <a:pt x="51" y="168"/>
                  </a:lnTo>
                  <a:lnTo>
                    <a:pt x="38" y="168"/>
                  </a:lnTo>
                  <a:lnTo>
                    <a:pt x="25" y="181"/>
                  </a:lnTo>
                  <a:lnTo>
                    <a:pt x="13" y="181"/>
                  </a:lnTo>
                  <a:lnTo>
                    <a:pt x="0" y="184"/>
                  </a:lnTo>
                  <a:lnTo>
                    <a:pt x="9" y="197"/>
                  </a:lnTo>
                  <a:lnTo>
                    <a:pt x="19" y="194"/>
                  </a:lnTo>
                  <a:lnTo>
                    <a:pt x="25" y="197"/>
                  </a:lnTo>
                  <a:lnTo>
                    <a:pt x="28" y="197"/>
                  </a:lnTo>
                  <a:lnTo>
                    <a:pt x="19" y="197"/>
                  </a:lnTo>
                  <a:lnTo>
                    <a:pt x="13" y="197"/>
                  </a:lnTo>
                  <a:lnTo>
                    <a:pt x="19" y="210"/>
                  </a:lnTo>
                  <a:lnTo>
                    <a:pt x="19" y="197"/>
                  </a:lnTo>
                  <a:lnTo>
                    <a:pt x="25" y="203"/>
                  </a:lnTo>
                  <a:lnTo>
                    <a:pt x="25" y="210"/>
                  </a:lnTo>
                  <a:lnTo>
                    <a:pt x="19" y="210"/>
                  </a:lnTo>
                  <a:lnTo>
                    <a:pt x="13" y="216"/>
                  </a:lnTo>
                  <a:lnTo>
                    <a:pt x="13" y="222"/>
                  </a:lnTo>
                  <a:lnTo>
                    <a:pt x="19" y="222"/>
                  </a:lnTo>
                  <a:lnTo>
                    <a:pt x="25" y="235"/>
                  </a:lnTo>
                  <a:lnTo>
                    <a:pt x="25" y="238"/>
                  </a:lnTo>
                  <a:lnTo>
                    <a:pt x="38" y="226"/>
                  </a:lnTo>
                  <a:lnTo>
                    <a:pt x="41" y="235"/>
                  </a:lnTo>
                  <a:lnTo>
                    <a:pt x="51" y="235"/>
                  </a:lnTo>
                  <a:lnTo>
                    <a:pt x="67" y="238"/>
                  </a:lnTo>
                  <a:lnTo>
                    <a:pt x="70" y="245"/>
                  </a:lnTo>
                  <a:lnTo>
                    <a:pt x="79" y="245"/>
                  </a:lnTo>
                  <a:lnTo>
                    <a:pt x="86" y="251"/>
                  </a:lnTo>
                  <a:lnTo>
                    <a:pt x="98" y="245"/>
                  </a:lnTo>
                  <a:lnTo>
                    <a:pt x="108" y="245"/>
                  </a:lnTo>
                  <a:lnTo>
                    <a:pt x="98" y="251"/>
                  </a:lnTo>
                  <a:lnTo>
                    <a:pt x="108" y="257"/>
                  </a:lnTo>
                  <a:lnTo>
                    <a:pt x="111" y="251"/>
                  </a:lnTo>
                  <a:lnTo>
                    <a:pt x="114" y="257"/>
                  </a:lnTo>
                  <a:lnTo>
                    <a:pt x="114" y="267"/>
                  </a:lnTo>
                  <a:lnTo>
                    <a:pt x="124" y="273"/>
                  </a:lnTo>
                  <a:lnTo>
                    <a:pt x="127" y="273"/>
                  </a:lnTo>
                  <a:lnTo>
                    <a:pt x="137" y="267"/>
                  </a:lnTo>
                  <a:lnTo>
                    <a:pt x="143" y="267"/>
                  </a:lnTo>
                  <a:lnTo>
                    <a:pt x="156" y="280"/>
                  </a:lnTo>
                  <a:lnTo>
                    <a:pt x="143" y="273"/>
                  </a:lnTo>
                  <a:lnTo>
                    <a:pt x="137" y="273"/>
                  </a:lnTo>
                  <a:lnTo>
                    <a:pt x="127" y="286"/>
                  </a:lnTo>
                  <a:lnTo>
                    <a:pt x="137" y="286"/>
                  </a:lnTo>
                  <a:lnTo>
                    <a:pt x="140" y="296"/>
                  </a:lnTo>
                  <a:lnTo>
                    <a:pt x="137" y="302"/>
                  </a:lnTo>
                  <a:lnTo>
                    <a:pt x="137" y="315"/>
                  </a:lnTo>
                  <a:lnTo>
                    <a:pt x="143" y="315"/>
                  </a:lnTo>
                  <a:lnTo>
                    <a:pt x="156" y="331"/>
                  </a:lnTo>
                  <a:lnTo>
                    <a:pt x="169" y="331"/>
                  </a:lnTo>
                  <a:lnTo>
                    <a:pt x="184" y="337"/>
                  </a:lnTo>
                  <a:lnTo>
                    <a:pt x="184" y="350"/>
                  </a:lnTo>
                  <a:lnTo>
                    <a:pt x="184" y="356"/>
                  </a:lnTo>
                  <a:lnTo>
                    <a:pt x="184" y="369"/>
                  </a:lnTo>
                  <a:lnTo>
                    <a:pt x="181" y="369"/>
                  </a:lnTo>
                  <a:lnTo>
                    <a:pt x="181" y="378"/>
                  </a:lnTo>
                  <a:lnTo>
                    <a:pt x="184" y="378"/>
                  </a:lnTo>
                  <a:lnTo>
                    <a:pt x="207" y="397"/>
                  </a:lnTo>
                  <a:lnTo>
                    <a:pt x="213" y="426"/>
                  </a:lnTo>
                  <a:lnTo>
                    <a:pt x="207" y="413"/>
                  </a:lnTo>
                  <a:lnTo>
                    <a:pt x="197" y="397"/>
                  </a:lnTo>
                  <a:lnTo>
                    <a:pt x="184" y="388"/>
                  </a:lnTo>
                  <a:lnTo>
                    <a:pt x="184" y="397"/>
                  </a:lnTo>
                  <a:lnTo>
                    <a:pt x="181" y="426"/>
                  </a:lnTo>
                  <a:lnTo>
                    <a:pt x="181" y="442"/>
                  </a:lnTo>
                  <a:lnTo>
                    <a:pt x="184" y="451"/>
                  </a:lnTo>
                  <a:lnTo>
                    <a:pt x="181" y="455"/>
                  </a:lnTo>
                  <a:lnTo>
                    <a:pt x="178" y="496"/>
                  </a:lnTo>
                  <a:lnTo>
                    <a:pt x="169" y="525"/>
                  </a:lnTo>
                  <a:lnTo>
                    <a:pt x="156" y="528"/>
                  </a:lnTo>
                  <a:lnTo>
                    <a:pt x="165" y="537"/>
                  </a:lnTo>
                  <a:lnTo>
                    <a:pt x="165" y="541"/>
                  </a:lnTo>
                  <a:lnTo>
                    <a:pt x="178" y="541"/>
                  </a:lnTo>
                  <a:lnTo>
                    <a:pt x="178" y="553"/>
                  </a:lnTo>
                  <a:lnTo>
                    <a:pt x="178" y="566"/>
                  </a:lnTo>
                  <a:lnTo>
                    <a:pt x="184" y="557"/>
                  </a:lnTo>
                  <a:lnTo>
                    <a:pt x="210" y="569"/>
                  </a:lnTo>
                  <a:lnTo>
                    <a:pt x="223" y="582"/>
                  </a:lnTo>
                  <a:lnTo>
                    <a:pt x="235" y="572"/>
                  </a:lnTo>
                  <a:lnTo>
                    <a:pt x="242" y="585"/>
                  </a:lnTo>
                  <a:lnTo>
                    <a:pt x="264" y="585"/>
                  </a:lnTo>
                  <a:lnTo>
                    <a:pt x="267" y="585"/>
                  </a:lnTo>
                  <a:lnTo>
                    <a:pt x="270" y="582"/>
                  </a:lnTo>
                  <a:lnTo>
                    <a:pt x="302" y="582"/>
                  </a:lnTo>
                  <a:lnTo>
                    <a:pt x="309" y="585"/>
                  </a:lnTo>
                  <a:lnTo>
                    <a:pt x="325" y="582"/>
                  </a:lnTo>
                  <a:lnTo>
                    <a:pt x="340" y="595"/>
                  </a:lnTo>
                  <a:lnTo>
                    <a:pt x="366" y="585"/>
                  </a:lnTo>
                  <a:lnTo>
                    <a:pt x="382" y="598"/>
                  </a:lnTo>
                  <a:lnTo>
                    <a:pt x="391" y="607"/>
                  </a:lnTo>
                  <a:lnTo>
                    <a:pt x="391" y="598"/>
                  </a:lnTo>
                  <a:lnTo>
                    <a:pt x="391" y="582"/>
                  </a:lnTo>
                  <a:lnTo>
                    <a:pt x="391" y="566"/>
                  </a:lnTo>
                  <a:lnTo>
                    <a:pt x="395" y="553"/>
                  </a:lnTo>
                  <a:lnTo>
                    <a:pt x="407" y="541"/>
                  </a:lnTo>
                  <a:lnTo>
                    <a:pt x="423" y="525"/>
                  </a:lnTo>
                  <a:lnTo>
                    <a:pt x="430" y="525"/>
                  </a:lnTo>
                  <a:lnTo>
                    <a:pt x="436" y="528"/>
                  </a:lnTo>
                  <a:lnTo>
                    <a:pt x="449" y="528"/>
                  </a:lnTo>
                  <a:lnTo>
                    <a:pt x="465" y="537"/>
                  </a:lnTo>
                  <a:lnTo>
                    <a:pt x="471" y="537"/>
                  </a:lnTo>
                  <a:lnTo>
                    <a:pt x="480" y="528"/>
                  </a:lnTo>
                  <a:lnTo>
                    <a:pt x="487" y="528"/>
                  </a:lnTo>
                  <a:lnTo>
                    <a:pt x="522" y="544"/>
                  </a:lnTo>
                  <a:lnTo>
                    <a:pt x="528" y="557"/>
                  </a:lnTo>
                  <a:lnTo>
                    <a:pt x="551" y="557"/>
                  </a:lnTo>
                  <a:lnTo>
                    <a:pt x="563" y="553"/>
                  </a:lnTo>
                  <a:lnTo>
                    <a:pt x="563" y="544"/>
                  </a:lnTo>
                  <a:lnTo>
                    <a:pt x="576" y="537"/>
                  </a:lnTo>
                  <a:lnTo>
                    <a:pt x="605" y="509"/>
                  </a:lnTo>
                  <a:lnTo>
                    <a:pt x="611" y="509"/>
                  </a:lnTo>
                  <a:lnTo>
                    <a:pt x="605" y="496"/>
                  </a:lnTo>
                  <a:lnTo>
                    <a:pt x="611" y="480"/>
                  </a:lnTo>
                  <a:lnTo>
                    <a:pt x="598" y="480"/>
                  </a:lnTo>
                  <a:lnTo>
                    <a:pt x="576" y="467"/>
                  </a:lnTo>
                  <a:lnTo>
                    <a:pt x="576" y="439"/>
                  </a:lnTo>
                  <a:lnTo>
                    <a:pt x="563" y="426"/>
                  </a:lnTo>
                  <a:lnTo>
                    <a:pt x="570" y="413"/>
                  </a:lnTo>
                  <a:lnTo>
                    <a:pt x="582" y="413"/>
                  </a:lnTo>
                  <a:lnTo>
                    <a:pt x="586" y="397"/>
                  </a:lnTo>
                  <a:lnTo>
                    <a:pt x="576" y="385"/>
                  </a:lnTo>
                  <a:lnTo>
                    <a:pt x="576" y="372"/>
                  </a:lnTo>
                  <a:lnTo>
                    <a:pt x="582" y="369"/>
                  </a:lnTo>
                  <a:close/>
                  <a:moveTo>
                    <a:pt x="697" y="668"/>
                  </a:moveTo>
                  <a:lnTo>
                    <a:pt x="681" y="665"/>
                  </a:lnTo>
                  <a:lnTo>
                    <a:pt x="672" y="655"/>
                  </a:lnTo>
                  <a:lnTo>
                    <a:pt x="681" y="652"/>
                  </a:lnTo>
                  <a:lnTo>
                    <a:pt x="684" y="652"/>
                  </a:lnTo>
                  <a:lnTo>
                    <a:pt x="681" y="642"/>
                  </a:lnTo>
                  <a:lnTo>
                    <a:pt x="672" y="642"/>
                  </a:lnTo>
                  <a:lnTo>
                    <a:pt x="672" y="639"/>
                  </a:lnTo>
                  <a:lnTo>
                    <a:pt x="668" y="636"/>
                  </a:lnTo>
                  <a:lnTo>
                    <a:pt x="668" y="627"/>
                  </a:lnTo>
                  <a:lnTo>
                    <a:pt x="668" y="623"/>
                  </a:lnTo>
                  <a:lnTo>
                    <a:pt x="662" y="614"/>
                  </a:lnTo>
                  <a:lnTo>
                    <a:pt x="662" y="611"/>
                  </a:lnTo>
                  <a:lnTo>
                    <a:pt x="668" y="611"/>
                  </a:lnTo>
                  <a:lnTo>
                    <a:pt x="668" y="607"/>
                  </a:lnTo>
                  <a:lnTo>
                    <a:pt x="662" y="598"/>
                  </a:lnTo>
                  <a:lnTo>
                    <a:pt x="668" y="585"/>
                  </a:lnTo>
                  <a:lnTo>
                    <a:pt x="684" y="582"/>
                  </a:lnTo>
                  <a:lnTo>
                    <a:pt x="691" y="572"/>
                  </a:lnTo>
                  <a:lnTo>
                    <a:pt x="697" y="582"/>
                  </a:lnTo>
                  <a:lnTo>
                    <a:pt x="700" y="582"/>
                  </a:lnTo>
                  <a:lnTo>
                    <a:pt x="700" y="569"/>
                  </a:lnTo>
                  <a:lnTo>
                    <a:pt x="700" y="566"/>
                  </a:lnTo>
                  <a:lnTo>
                    <a:pt x="700" y="553"/>
                  </a:lnTo>
                  <a:lnTo>
                    <a:pt x="710" y="553"/>
                  </a:lnTo>
                  <a:lnTo>
                    <a:pt x="713" y="569"/>
                  </a:lnTo>
                  <a:lnTo>
                    <a:pt x="710" y="582"/>
                  </a:lnTo>
                  <a:lnTo>
                    <a:pt x="713" y="607"/>
                  </a:lnTo>
                  <a:lnTo>
                    <a:pt x="710" y="636"/>
                  </a:lnTo>
                  <a:lnTo>
                    <a:pt x="710" y="642"/>
                  </a:lnTo>
                  <a:lnTo>
                    <a:pt x="700" y="665"/>
                  </a:lnTo>
                  <a:lnTo>
                    <a:pt x="697" y="668"/>
                  </a:lnTo>
                  <a:close/>
                </a:path>
              </a:pathLst>
            </a:custGeom>
            <a:solidFill>
              <a:schemeClr val="bg1"/>
            </a:solidFill>
            <a:ln w="6350">
              <a:solidFill>
                <a:schemeClr val="accent2"/>
              </a:solidFill>
              <a:round/>
              <a:headEnd/>
              <a:tailEnd/>
            </a:ln>
          </p:spPr>
          <p:txBody>
            <a:bodyPr/>
            <a:lstStyle/>
            <a:p>
              <a:endParaRPr lang="de-DE"/>
            </a:p>
          </p:txBody>
        </p:sp>
        <p:sp>
          <p:nvSpPr>
            <p:cNvPr id="235" name="Freeform 76"/>
            <p:cNvSpPr>
              <a:spLocks/>
            </p:cNvSpPr>
            <p:nvPr/>
          </p:nvSpPr>
          <p:spPr bwMode="gray">
            <a:xfrm>
              <a:off x="3012" y="2635"/>
              <a:ext cx="16" cy="15"/>
            </a:xfrm>
            <a:custGeom>
              <a:avLst/>
              <a:gdLst>
                <a:gd name="T0" fmla="*/ 0 w 16"/>
                <a:gd name="T1" fmla="*/ 0 h 15"/>
                <a:gd name="T2" fmla="*/ 0 w 16"/>
                <a:gd name="T3" fmla="*/ 12 h 15"/>
                <a:gd name="T4" fmla="*/ 13 w 16"/>
                <a:gd name="T5" fmla="*/ 15 h 15"/>
                <a:gd name="T6" fmla="*/ 16 w 16"/>
                <a:gd name="T7" fmla="*/ 12 h 15"/>
                <a:gd name="T8" fmla="*/ 16 w 16"/>
                <a:gd name="T9" fmla="*/ 6 h 15"/>
                <a:gd name="T10" fmla="*/ 0 w 16"/>
                <a:gd name="T11" fmla="*/ 0 h 15"/>
                <a:gd name="T12" fmla="*/ 0 w 16"/>
                <a:gd name="T13" fmla="*/ 0 h 15"/>
                <a:gd name="T14" fmla="*/ 0 w 16"/>
                <a:gd name="T15" fmla="*/ 0 h 1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 h="15">
                  <a:moveTo>
                    <a:pt x="0" y="0"/>
                  </a:moveTo>
                  <a:lnTo>
                    <a:pt x="0" y="12"/>
                  </a:lnTo>
                  <a:lnTo>
                    <a:pt x="13" y="15"/>
                  </a:lnTo>
                  <a:lnTo>
                    <a:pt x="16" y="12"/>
                  </a:lnTo>
                  <a:lnTo>
                    <a:pt x="16" y="6"/>
                  </a:lnTo>
                  <a:lnTo>
                    <a:pt x="0" y="0"/>
                  </a:lnTo>
                  <a:close/>
                </a:path>
              </a:pathLst>
            </a:custGeom>
            <a:solidFill>
              <a:srgbClr val="C8C9CD"/>
            </a:solidFill>
            <a:ln w="6350">
              <a:solidFill>
                <a:schemeClr val="accent2"/>
              </a:solidFill>
              <a:round/>
              <a:headEnd/>
              <a:tailEnd/>
            </a:ln>
          </p:spPr>
          <p:txBody>
            <a:bodyPr/>
            <a:lstStyle/>
            <a:p>
              <a:endParaRPr lang="de-DE"/>
            </a:p>
          </p:txBody>
        </p:sp>
        <p:sp>
          <p:nvSpPr>
            <p:cNvPr id="236" name="Freeform 77"/>
            <p:cNvSpPr>
              <a:spLocks noEditPoints="1"/>
            </p:cNvSpPr>
            <p:nvPr/>
          </p:nvSpPr>
          <p:spPr bwMode="gray">
            <a:xfrm>
              <a:off x="2598" y="1887"/>
              <a:ext cx="618" cy="706"/>
            </a:xfrm>
            <a:custGeom>
              <a:avLst/>
              <a:gdLst>
                <a:gd name="T0" fmla="*/ 13 w 618"/>
                <a:gd name="T1" fmla="*/ 187 h 706"/>
                <a:gd name="T2" fmla="*/ 20 w 618"/>
                <a:gd name="T3" fmla="*/ 117 h 706"/>
                <a:gd name="T4" fmla="*/ 48 w 618"/>
                <a:gd name="T5" fmla="*/ 76 h 706"/>
                <a:gd name="T6" fmla="*/ 106 w 618"/>
                <a:gd name="T7" fmla="*/ 76 h 706"/>
                <a:gd name="T8" fmla="*/ 160 w 618"/>
                <a:gd name="T9" fmla="*/ 57 h 706"/>
                <a:gd name="T10" fmla="*/ 201 w 618"/>
                <a:gd name="T11" fmla="*/ 12 h 706"/>
                <a:gd name="T12" fmla="*/ 274 w 618"/>
                <a:gd name="T13" fmla="*/ 12 h 706"/>
                <a:gd name="T14" fmla="*/ 344 w 618"/>
                <a:gd name="T15" fmla="*/ 57 h 706"/>
                <a:gd name="T16" fmla="*/ 328 w 618"/>
                <a:gd name="T17" fmla="*/ 98 h 706"/>
                <a:gd name="T18" fmla="*/ 284 w 618"/>
                <a:gd name="T19" fmla="*/ 127 h 706"/>
                <a:gd name="T20" fmla="*/ 287 w 618"/>
                <a:gd name="T21" fmla="*/ 178 h 706"/>
                <a:gd name="T22" fmla="*/ 341 w 618"/>
                <a:gd name="T23" fmla="*/ 232 h 706"/>
                <a:gd name="T24" fmla="*/ 386 w 618"/>
                <a:gd name="T25" fmla="*/ 302 h 706"/>
                <a:gd name="T26" fmla="*/ 440 w 618"/>
                <a:gd name="T27" fmla="*/ 347 h 706"/>
                <a:gd name="T28" fmla="*/ 497 w 618"/>
                <a:gd name="T29" fmla="*/ 356 h 706"/>
                <a:gd name="T30" fmla="*/ 497 w 618"/>
                <a:gd name="T31" fmla="*/ 388 h 706"/>
                <a:gd name="T32" fmla="*/ 605 w 618"/>
                <a:gd name="T33" fmla="*/ 442 h 706"/>
                <a:gd name="T34" fmla="*/ 618 w 618"/>
                <a:gd name="T35" fmla="*/ 487 h 706"/>
                <a:gd name="T36" fmla="*/ 589 w 618"/>
                <a:gd name="T37" fmla="*/ 471 h 706"/>
                <a:gd name="T38" fmla="*/ 554 w 618"/>
                <a:gd name="T39" fmla="*/ 445 h 706"/>
                <a:gd name="T40" fmla="*/ 529 w 618"/>
                <a:gd name="T41" fmla="*/ 474 h 706"/>
                <a:gd name="T42" fmla="*/ 535 w 618"/>
                <a:gd name="T43" fmla="*/ 502 h 706"/>
                <a:gd name="T44" fmla="*/ 548 w 618"/>
                <a:gd name="T45" fmla="*/ 550 h 706"/>
                <a:gd name="T46" fmla="*/ 513 w 618"/>
                <a:gd name="T47" fmla="*/ 614 h 706"/>
                <a:gd name="T48" fmla="*/ 478 w 618"/>
                <a:gd name="T49" fmla="*/ 601 h 706"/>
                <a:gd name="T50" fmla="*/ 497 w 618"/>
                <a:gd name="T51" fmla="*/ 569 h 706"/>
                <a:gd name="T52" fmla="*/ 497 w 618"/>
                <a:gd name="T53" fmla="*/ 518 h 706"/>
                <a:gd name="T54" fmla="*/ 468 w 618"/>
                <a:gd name="T55" fmla="*/ 480 h 706"/>
                <a:gd name="T56" fmla="*/ 440 w 618"/>
                <a:gd name="T57" fmla="*/ 458 h 706"/>
                <a:gd name="T58" fmla="*/ 411 w 618"/>
                <a:gd name="T59" fmla="*/ 429 h 706"/>
                <a:gd name="T60" fmla="*/ 370 w 618"/>
                <a:gd name="T61" fmla="*/ 401 h 706"/>
                <a:gd name="T62" fmla="*/ 328 w 618"/>
                <a:gd name="T63" fmla="*/ 388 h 706"/>
                <a:gd name="T64" fmla="*/ 262 w 618"/>
                <a:gd name="T65" fmla="*/ 331 h 706"/>
                <a:gd name="T66" fmla="*/ 214 w 618"/>
                <a:gd name="T67" fmla="*/ 286 h 706"/>
                <a:gd name="T68" fmla="*/ 185 w 618"/>
                <a:gd name="T69" fmla="*/ 232 h 706"/>
                <a:gd name="T70" fmla="*/ 144 w 618"/>
                <a:gd name="T71" fmla="*/ 197 h 706"/>
                <a:gd name="T72" fmla="*/ 45 w 618"/>
                <a:gd name="T73" fmla="*/ 229 h 706"/>
                <a:gd name="T74" fmla="*/ 86 w 618"/>
                <a:gd name="T75" fmla="*/ 413 h 706"/>
                <a:gd name="T76" fmla="*/ 86 w 618"/>
                <a:gd name="T77" fmla="*/ 404 h 706"/>
                <a:gd name="T78" fmla="*/ 226 w 618"/>
                <a:gd name="T79" fmla="*/ 327 h 706"/>
                <a:gd name="T80" fmla="*/ 226 w 618"/>
                <a:gd name="T81" fmla="*/ 327 h 706"/>
                <a:gd name="T82" fmla="*/ 188 w 618"/>
                <a:gd name="T83" fmla="*/ 292 h 706"/>
                <a:gd name="T84" fmla="*/ 176 w 618"/>
                <a:gd name="T85" fmla="*/ 289 h 706"/>
                <a:gd name="T86" fmla="*/ 115 w 618"/>
                <a:gd name="T87" fmla="*/ 557 h 706"/>
                <a:gd name="T88" fmla="*/ 144 w 618"/>
                <a:gd name="T89" fmla="*/ 531 h 706"/>
                <a:gd name="T90" fmla="*/ 160 w 618"/>
                <a:gd name="T91" fmla="*/ 512 h 706"/>
                <a:gd name="T92" fmla="*/ 163 w 618"/>
                <a:gd name="T93" fmla="*/ 442 h 706"/>
                <a:gd name="T94" fmla="*/ 131 w 618"/>
                <a:gd name="T95" fmla="*/ 401 h 706"/>
                <a:gd name="T96" fmla="*/ 86 w 618"/>
                <a:gd name="T97" fmla="*/ 429 h 706"/>
                <a:gd name="T98" fmla="*/ 99 w 618"/>
                <a:gd name="T99" fmla="*/ 474 h 706"/>
                <a:gd name="T100" fmla="*/ 99 w 618"/>
                <a:gd name="T101" fmla="*/ 499 h 706"/>
                <a:gd name="T102" fmla="*/ 115 w 618"/>
                <a:gd name="T103" fmla="*/ 557 h 706"/>
                <a:gd name="T104" fmla="*/ 459 w 618"/>
                <a:gd name="T105" fmla="*/ 684 h 706"/>
                <a:gd name="T106" fmla="*/ 472 w 618"/>
                <a:gd name="T107" fmla="*/ 608 h 706"/>
                <a:gd name="T108" fmla="*/ 421 w 618"/>
                <a:gd name="T109" fmla="*/ 614 h 706"/>
                <a:gd name="T110" fmla="*/ 341 w 618"/>
                <a:gd name="T111" fmla="*/ 608 h 706"/>
                <a:gd name="T112" fmla="*/ 328 w 618"/>
                <a:gd name="T113" fmla="*/ 643 h 706"/>
                <a:gd name="T114" fmla="*/ 402 w 618"/>
                <a:gd name="T115" fmla="*/ 684 h 706"/>
                <a:gd name="T116" fmla="*/ 456 w 618"/>
                <a:gd name="T117" fmla="*/ 700 h 70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18" h="706">
                  <a:moveTo>
                    <a:pt x="45" y="229"/>
                  </a:moveTo>
                  <a:lnTo>
                    <a:pt x="42" y="216"/>
                  </a:lnTo>
                  <a:lnTo>
                    <a:pt x="45" y="197"/>
                  </a:lnTo>
                  <a:lnTo>
                    <a:pt x="32" y="197"/>
                  </a:lnTo>
                  <a:lnTo>
                    <a:pt x="13" y="187"/>
                  </a:lnTo>
                  <a:lnTo>
                    <a:pt x="13" y="156"/>
                  </a:lnTo>
                  <a:lnTo>
                    <a:pt x="0" y="146"/>
                  </a:lnTo>
                  <a:lnTo>
                    <a:pt x="4" y="133"/>
                  </a:lnTo>
                  <a:lnTo>
                    <a:pt x="16" y="133"/>
                  </a:lnTo>
                  <a:lnTo>
                    <a:pt x="20" y="117"/>
                  </a:lnTo>
                  <a:lnTo>
                    <a:pt x="13" y="105"/>
                  </a:lnTo>
                  <a:lnTo>
                    <a:pt x="13" y="92"/>
                  </a:lnTo>
                  <a:lnTo>
                    <a:pt x="16" y="86"/>
                  </a:lnTo>
                  <a:lnTo>
                    <a:pt x="29" y="92"/>
                  </a:lnTo>
                  <a:lnTo>
                    <a:pt x="48" y="76"/>
                  </a:lnTo>
                  <a:lnTo>
                    <a:pt x="61" y="79"/>
                  </a:lnTo>
                  <a:lnTo>
                    <a:pt x="77" y="47"/>
                  </a:lnTo>
                  <a:lnTo>
                    <a:pt x="99" y="57"/>
                  </a:lnTo>
                  <a:lnTo>
                    <a:pt x="90" y="70"/>
                  </a:lnTo>
                  <a:lnTo>
                    <a:pt x="106" y="76"/>
                  </a:lnTo>
                  <a:lnTo>
                    <a:pt x="115" y="86"/>
                  </a:lnTo>
                  <a:lnTo>
                    <a:pt x="128" y="70"/>
                  </a:lnTo>
                  <a:lnTo>
                    <a:pt x="128" y="51"/>
                  </a:lnTo>
                  <a:lnTo>
                    <a:pt x="147" y="57"/>
                  </a:lnTo>
                  <a:lnTo>
                    <a:pt x="160" y="57"/>
                  </a:lnTo>
                  <a:lnTo>
                    <a:pt x="172" y="63"/>
                  </a:lnTo>
                  <a:lnTo>
                    <a:pt x="172" y="47"/>
                  </a:lnTo>
                  <a:lnTo>
                    <a:pt x="198" y="41"/>
                  </a:lnTo>
                  <a:lnTo>
                    <a:pt x="188" y="22"/>
                  </a:lnTo>
                  <a:lnTo>
                    <a:pt x="201" y="12"/>
                  </a:lnTo>
                  <a:lnTo>
                    <a:pt x="217" y="16"/>
                  </a:lnTo>
                  <a:lnTo>
                    <a:pt x="246" y="0"/>
                  </a:lnTo>
                  <a:lnTo>
                    <a:pt x="258" y="6"/>
                  </a:lnTo>
                  <a:lnTo>
                    <a:pt x="274" y="6"/>
                  </a:lnTo>
                  <a:lnTo>
                    <a:pt x="274" y="12"/>
                  </a:lnTo>
                  <a:lnTo>
                    <a:pt x="300" y="28"/>
                  </a:lnTo>
                  <a:lnTo>
                    <a:pt x="332" y="35"/>
                  </a:lnTo>
                  <a:lnTo>
                    <a:pt x="351" y="35"/>
                  </a:lnTo>
                  <a:lnTo>
                    <a:pt x="360" y="41"/>
                  </a:lnTo>
                  <a:lnTo>
                    <a:pt x="344" y="57"/>
                  </a:lnTo>
                  <a:lnTo>
                    <a:pt x="351" y="70"/>
                  </a:lnTo>
                  <a:lnTo>
                    <a:pt x="344" y="79"/>
                  </a:lnTo>
                  <a:lnTo>
                    <a:pt x="344" y="98"/>
                  </a:lnTo>
                  <a:lnTo>
                    <a:pt x="332" y="92"/>
                  </a:lnTo>
                  <a:lnTo>
                    <a:pt x="328" y="98"/>
                  </a:lnTo>
                  <a:lnTo>
                    <a:pt x="316" y="105"/>
                  </a:lnTo>
                  <a:lnTo>
                    <a:pt x="303" y="105"/>
                  </a:lnTo>
                  <a:lnTo>
                    <a:pt x="290" y="117"/>
                  </a:lnTo>
                  <a:lnTo>
                    <a:pt x="284" y="117"/>
                  </a:lnTo>
                  <a:lnTo>
                    <a:pt x="284" y="127"/>
                  </a:lnTo>
                  <a:lnTo>
                    <a:pt x="287" y="140"/>
                  </a:lnTo>
                  <a:lnTo>
                    <a:pt x="290" y="149"/>
                  </a:lnTo>
                  <a:lnTo>
                    <a:pt x="287" y="162"/>
                  </a:lnTo>
                  <a:lnTo>
                    <a:pt x="284" y="162"/>
                  </a:lnTo>
                  <a:lnTo>
                    <a:pt x="287" y="178"/>
                  </a:lnTo>
                  <a:lnTo>
                    <a:pt x="287" y="197"/>
                  </a:lnTo>
                  <a:lnTo>
                    <a:pt x="290" y="203"/>
                  </a:lnTo>
                  <a:lnTo>
                    <a:pt x="316" y="216"/>
                  </a:lnTo>
                  <a:lnTo>
                    <a:pt x="328" y="219"/>
                  </a:lnTo>
                  <a:lnTo>
                    <a:pt x="341" y="232"/>
                  </a:lnTo>
                  <a:lnTo>
                    <a:pt x="373" y="264"/>
                  </a:lnTo>
                  <a:lnTo>
                    <a:pt x="373" y="277"/>
                  </a:lnTo>
                  <a:lnTo>
                    <a:pt x="382" y="277"/>
                  </a:lnTo>
                  <a:lnTo>
                    <a:pt x="382" y="289"/>
                  </a:lnTo>
                  <a:lnTo>
                    <a:pt x="386" y="302"/>
                  </a:lnTo>
                  <a:lnTo>
                    <a:pt x="398" y="315"/>
                  </a:lnTo>
                  <a:lnTo>
                    <a:pt x="402" y="327"/>
                  </a:lnTo>
                  <a:lnTo>
                    <a:pt x="421" y="334"/>
                  </a:lnTo>
                  <a:lnTo>
                    <a:pt x="427" y="343"/>
                  </a:lnTo>
                  <a:lnTo>
                    <a:pt x="440" y="347"/>
                  </a:lnTo>
                  <a:lnTo>
                    <a:pt x="443" y="347"/>
                  </a:lnTo>
                  <a:lnTo>
                    <a:pt x="468" y="347"/>
                  </a:lnTo>
                  <a:lnTo>
                    <a:pt x="472" y="356"/>
                  </a:lnTo>
                  <a:lnTo>
                    <a:pt x="488" y="356"/>
                  </a:lnTo>
                  <a:lnTo>
                    <a:pt x="497" y="356"/>
                  </a:lnTo>
                  <a:lnTo>
                    <a:pt x="497" y="362"/>
                  </a:lnTo>
                  <a:lnTo>
                    <a:pt x="484" y="372"/>
                  </a:lnTo>
                  <a:lnTo>
                    <a:pt x="478" y="375"/>
                  </a:lnTo>
                  <a:lnTo>
                    <a:pt x="484" y="388"/>
                  </a:lnTo>
                  <a:lnTo>
                    <a:pt x="497" y="388"/>
                  </a:lnTo>
                  <a:lnTo>
                    <a:pt x="519" y="391"/>
                  </a:lnTo>
                  <a:lnTo>
                    <a:pt x="558" y="417"/>
                  </a:lnTo>
                  <a:lnTo>
                    <a:pt x="577" y="429"/>
                  </a:lnTo>
                  <a:lnTo>
                    <a:pt x="589" y="442"/>
                  </a:lnTo>
                  <a:lnTo>
                    <a:pt x="605" y="442"/>
                  </a:lnTo>
                  <a:lnTo>
                    <a:pt x="618" y="448"/>
                  </a:lnTo>
                  <a:lnTo>
                    <a:pt x="618" y="458"/>
                  </a:lnTo>
                  <a:lnTo>
                    <a:pt x="618" y="471"/>
                  </a:lnTo>
                  <a:lnTo>
                    <a:pt x="612" y="474"/>
                  </a:lnTo>
                  <a:lnTo>
                    <a:pt x="618" y="487"/>
                  </a:lnTo>
                  <a:lnTo>
                    <a:pt x="612" y="487"/>
                  </a:lnTo>
                  <a:lnTo>
                    <a:pt x="612" y="490"/>
                  </a:lnTo>
                  <a:lnTo>
                    <a:pt x="599" y="487"/>
                  </a:lnTo>
                  <a:lnTo>
                    <a:pt x="596" y="480"/>
                  </a:lnTo>
                  <a:lnTo>
                    <a:pt x="589" y="471"/>
                  </a:lnTo>
                  <a:lnTo>
                    <a:pt x="589" y="458"/>
                  </a:lnTo>
                  <a:lnTo>
                    <a:pt x="583" y="458"/>
                  </a:lnTo>
                  <a:lnTo>
                    <a:pt x="570" y="458"/>
                  </a:lnTo>
                  <a:lnTo>
                    <a:pt x="564" y="448"/>
                  </a:lnTo>
                  <a:lnTo>
                    <a:pt x="554" y="445"/>
                  </a:lnTo>
                  <a:lnTo>
                    <a:pt x="548" y="445"/>
                  </a:lnTo>
                  <a:lnTo>
                    <a:pt x="542" y="448"/>
                  </a:lnTo>
                  <a:lnTo>
                    <a:pt x="535" y="461"/>
                  </a:lnTo>
                  <a:lnTo>
                    <a:pt x="529" y="471"/>
                  </a:lnTo>
                  <a:lnTo>
                    <a:pt x="529" y="474"/>
                  </a:lnTo>
                  <a:lnTo>
                    <a:pt x="529" y="487"/>
                  </a:lnTo>
                  <a:lnTo>
                    <a:pt x="526" y="490"/>
                  </a:lnTo>
                  <a:lnTo>
                    <a:pt x="526" y="499"/>
                  </a:lnTo>
                  <a:lnTo>
                    <a:pt x="526" y="502"/>
                  </a:lnTo>
                  <a:lnTo>
                    <a:pt x="535" y="502"/>
                  </a:lnTo>
                  <a:lnTo>
                    <a:pt x="548" y="518"/>
                  </a:lnTo>
                  <a:lnTo>
                    <a:pt x="554" y="528"/>
                  </a:lnTo>
                  <a:lnTo>
                    <a:pt x="554" y="541"/>
                  </a:lnTo>
                  <a:lnTo>
                    <a:pt x="554" y="544"/>
                  </a:lnTo>
                  <a:lnTo>
                    <a:pt x="548" y="550"/>
                  </a:lnTo>
                  <a:lnTo>
                    <a:pt x="542" y="557"/>
                  </a:lnTo>
                  <a:lnTo>
                    <a:pt x="529" y="569"/>
                  </a:lnTo>
                  <a:lnTo>
                    <a:pt x="529" y="588"/>
                  </a:lnTo>
                  <a:lnTo>
                    <a:pt x="513" y="601"/>
                  </a:lnTo>
                  <a:lnTo>
                    <a:pt x="513" y="614"/>
                  </a:lnTo>
                  <a:lnTo>
                    <a:pt x="507" y="627"/>
                  </a:lnTo>
                  <a:lnTo>
                    <a:pt x="488" y="627"/>
                  </a:lnTo>
                  <a:lnTo>
                    <a:pt x="478" y="614"/>
                  </a:lnTo>
                  <a:lnTo>
                    <a:pt x="478" y="608"/>
                  </a:lnTo>
                  <a:lnTo>
                    <a:pt x="478" y="601"/>
                  </a:lnTo>
                  <a:lnTo>
                    <a:pt x="484" y="598"/>
                  </a:lnTo>
                  <a:lnTo>
                    <a:pt x="497" y="588"/>
                  </a:lnTo>
                  <a:lnTo>
                    <a:pt x="497" y="579"/>
                  </a:lnTo>
                  <a:lnTo>
                    <a:pt x="497" y="569"/>
                  </a:lnTo>
                  <a:lnTo>
                    <a:pt x="500" y="569"/>
                  </a:lnTo>
                  <a:lnTo>
                    <a:pt x="507" y="560"/>
                  </a:lnTo>
                  <a:lnTo>
                    <a:pt x="507" y="550"/>
                  </a:lnTo>
                  <a:lnTo>
                    <a:pt x="500" y="541"/>
                  </a:lnTo>
                  <a:lnTo>
                    <a:pt x="497" y="518"/>
                  </a:lnTo>
                  <a:lnTo>
                    <a:pt x="488" y="515"/>
                  </a:lnTo>
                  <a:lnTo>
                    <a:pt x="488" y="499"/>
                  </a:lnTo>
                  <a:lnTo>
                    <a:pt x="484" y="480"/>
                  </a:lnTo>
                  <a:lnTo>
                    <a:pt x="472" y="474"/>
                  </a:lnTo>
                  <a:lnTo>
                    <a:pt x="468" y="480"/>
                  </a:lnTo>
                  <a:lnTo>
                    <a:pt x="456" y="474"/>
                  </a:lnTo>
                  <a:lnTo>
                    <a:pt x="449" y="471"/>
                  </a:lnTo>
                  <a:lnTo>
                    <a:pt x="440" y="461"/>
                  </a:lnTo>
                  <a:lnTo>
                    <a:pt x="430" y="458"/>
                  </a:lnTo>
                  <a:lnTo>
                    <a:pt x="440" y="458"/>
                  </a:lnTo>
                  <a:lnTo>
                    <a:pt x="440" y="445"/>
                  </a:lnTo>
                  <a:lnTo>
                    <a:pt x="430" y="432"/>
                  </a:lnTo>
                  <a:lnTo>
                    <a:pt x="421" y="432"/>
                  </a:lnTo>
                  <a:lnTo>
                    <a:pt x="411" y="432"/>
                  </a:lnTo>
                  <a:lnTo>
                    <a:pt x="411" y="429"/>
                  </a:lnTo>
                  <a:lnTo>
                    <a:pt x="402" y="420"/>
                  </a:lnTo>
                  <a:lnTo>
                    <a:pt x="398" y="429"/>
                  </a:lnTo>
                  <a:lnTo>
                    <a:pt x="389" y="420"/>
                  </a:lnTo>
                  <a:lnTo>
                    <a:pt x="382" y="401"/>
                  </a:lnTo>
                  <a:lnTo>
                    <a:pt x="370" y="401"/>
                  </a:lnTo>
                  <a:lnTo>
                    <a:pt x="357" y="391"/>
                  </a:lnTo>
                  <a:lnTo>
                    <a:pt x="351" y="401"/>
                  </a:lnTo>
                  <a:lnTo>
                    <a:pt x="341" y="401"/>
                  </a:lnTo>
                  <a:lnTo>
                    <a:pt x="341" y="391"/>
                  </a:lnTo>
                  <a:lnTo>
                    <a:pt x="328" y="388"/>
                  </a:lnTo>
                  <a:lnTo>
                    <a:pt x="316" y="388"/>
                  </a:lnTo>
                  <a:lnTo>
                    <a:pt x="290" y="372"/>
                  </a:lnTo>
                  <a:lnTo>
                    <a:pt x="274" y="343"/>
                  </a:lnTo>
                  <a:lnTo>
                    <a:pt x="262" y="334"/>
                  </a:lnTo>
                  <a:lnTo>
                    <a:pt x="262" y="331"/>
                  </a:lnTo>
                  <a:lnTo>
                    <a:pt x="255" y="318"/>
                  </a:lnTo>
                  <a:lnTo>
                    <a:pt x="242" y="318"/>
                  </a:lnTo>
                  <a:lnTo>
                    <a:pt x="233" y="305"/>
                  </a:lnTo>
                  <a:lnTo>
                    <a:pt x="226" y="289"/>
                  </a:lnTo>
                  <a:lnTo>
                    <a:pt x="214" y="286"/>
                  </a:lnTo>
                  <a:lnTo>
                    <a:pt x="201" y="277"/>
                  </a:lnTo>
                  <a:lnTo>
                    <a:pt x="201" y="261"/>
                  </a:lnTo>
                  <a:lnTo>
                    <a:pt x="198" y="257"/>
                  </a:lnTo>
                  <a:lnTo>
                    <a:pt x="198" y="245"/>
                  </a:lnTo>
                  <a:lnTo>
                    <a:pt x="185" y="232"/>
                  </a:lnTo>
                  <a:lnTo>
                    <a:pt x="176" y="219"/>
                  </a:lnTo>
                  <a:lnTo>
                    <a:pt x="176" y="216"/>
                  </a:lnTo>
                  <a:lnTo>
                    <a:pt x="172" y="207"/>
                  </a:lnTo>
                  <a:lnTo>
                    <a:pt x="156" y="203"/>
                  </a:lnTo>
                  <a:lnTo>
                    <a:pt x="144" y="197"/>
                  </a:lnTo>
                  <a:lnTo>
                    <a:pt x="106" y="187"/>
                  </a:lnTo>
                  <a:lnTo>
                    <a:pt x="77" y="203"/>
                  </a:lnTo>
                  <a:lnTo>
                    <a:pt x="77" y="207"/>
                  </a:lnTo>
                  <a:lnTo>
                    <a:pt x="70" y="219"/>
                  </a:lnTo>
                  <a:lnTo>
                    <a:pt x="45" y="229"/>
                  </a:lnTo>
                  <a:close/>
                  <a:moveTo>
                    <a:pt x="86" y="413"/>
                  </a:moveTo>
                  <a:lnTo>
                    <a:pt x="86" y="413"/>
                  </a:lnTo>
                  <a:lnTo>
                    <a:pt x="86" y="404"/>
                  </a:lnTo>
                  <a:lnTo>
                    <a:pt x="90" y="401"/>
                  </a:lnTo>
                  <a:lnTo>
                    <a:pt x="90" y="391"/>
                  </a:lnTo>
                  <a:lnTo>
                    <a:pt x="86" y="401"/>
                  </a:lnTo>
                  <a:lnTo>
                    <a:pt x="86" y="404"/>
                  </a:lnTo>
                  <a:lnTo>
                    <a:pt x="86" y="413"/>
                  </a:lnTo>
                  <a:close/>
                  <a:moveTo>
                    <a:pt x="226" y="327"/>
                  </a:moveTo>
                  <a:lnTo>
                    <a:pt x="230" y="327"/>
                  </a:lnTo>
                  <a:lnTo>
                    <a:pt x="226" y="318"/>
                  </a:lnTo>
                  <a:lnTo>
                    <a:pt x="226" y="327"/>
                  </a:lnTo>
                  <a:close/>
                  <a:moveTo>
                    <a:pt x="176" y="289"/>
                  </a:moveTo>
                  <a:lnTo>
                    <a:pt x="172" y="292"/>
                  </a:lnTo>
                  <a:lnTo>
                    <a:pt x="176" y="292"/>
                  </a:lnTo>
                  <a:lnTo>
                    <a:pt x="188" y="292"/>
                  </a:lnTo>
                  <a:lnTo>
                    <a:pt x="201" y="292"/>
                  </a:lnTo>
                  <a:lnTo>
                    <a:pt x="201" y="289"/>
                  </a:lnTo>
                  <a:lnTo>
                    <a:pt x="198" y="286"/>
                  </a:lnTo>
                  <a:lnTo>
                    <a:pt x="188" y="286"/>
                  </a:lnTo>
                  <a:lnTo>
                    <a:pt x="176" y="289"/>
                  </a:lnTo>
                  <a:close/>
                  <a:moveTo>
                    <a:pt x="115" y="557"/>
                  </a:moveTo>
                  <a:lnTo>
                    <a:pt x="115" y="557"/>
                  </a:lnTo>
                  <a:lnTo>
                    <a:pt x="118" y="557"/>
                  </a:lnTo>
                  <a:lnTo>
                    <a:pt x="131" y="557"/>
                  </a:lnTo>
                  <a:lnTo>
                    <a:pt x="131" y="544"/>
                  </a:lnTo>
                  <a:lnTo>
                    <a:pt x="131" y="531"/>
                  </a:lnTo>
                  <a:lnTo>
                    <a:pt x="144" y="531"/>
                  </a:lnTo>
                  <a:lnTo>
                    <a:pt x="147" y="544"/>
                  </a:lnTo>
                  <a:lnTo>
                    <a:pt x="156" y="544"/>
                  </a:lnTo>
                  <a:lnTo>
                    <a:pt x="160" y="531"/>
                  </a:lnTo>
                  <a:lnTo>
                    <a:pt x="160" y="515"/>
                  </a:lnTo>
                  <a:lnTo>
                    <a:pt x="160" y="512"/>
                  </a:lnTo>
                  <a:lnTo>
                    <a:pt x="160" y="487"/>
                  </a:lnTo>
                  <a:lnTo>
                    <a:pt x="163" y="471"/>
                  </a:lnTo>
                  <a:lnTo>
                    <a:pt x="147" y="448"/>
                  </a:lnTo>
                  <a:lnTo>
                    <a:pt x="160" y="445"/>
                  </a:lnTo>
                  <a:lnTo>
                    <a:pt x="163" y="442"/>
                  </a:lnTo>
                  <a:lnTo>
                    <a:pt x="160" y="420"/>
                  </a:lnTo>
                  <a:lnTo>
                    <a:pt x="156" y="417"/>
                  </a:lnTo>
                  <a:lnTo>
                    <a:pt x="147" y="404"/>
                  </a:lnTo>
                  <a:lnTo>
                    <a:pt x="144" y="404"/>
                  </a:lnTo>
                  <a:lnTo>
                    <a:pt x="131" y="401"/>
                  </a:lnTo>
                  <a:lnTo>
                    <a:pt x="128" y="401"/>
                  </a:lnTo>
                  <a:lnTo>
                    <a:pt x="102" y="420"/>
                  </a:lnTo>
                  <a:lnTo>
                    <a:pt x="99" y="420"/>
                  </a:lnTo>
                  <a:lnTo>
                    <a:pt x="86" y="417"/>
                  </a:lnTo>
                  <a:lnTo>
                    <a:pt x="86" y="429"/>
                  </a:lnTo>
                  <a:lnTo>
                    <a:pt x="77" y="432"/>
                  </a:lnTo>
                  <a:lnTo>
                    <a:pt x="90" y="445"/>
                  </a:lnTo>
                  <a:lnTo>
                    <a:pt x="90" y="448"/>
                  </a:lnTo>
                  <a:lnTo>
                    <a:pt x="99" y="458"/>
                  </a:lnTo>
                  <a:lnTo>
                    <a:pt x="99" y="474"/>
                  </a:lnTo>
                  <a:lnTo>
                    <a:pt x="90" y="480"/>
                  </a:lnTo>
                  <a:lnTo>
                    <a:pt x="99" y="487"/>
                  </a:lnTo>
                  <a:lnTo>
                    <a:pt x="102" y="487"/>
                  </a:lnTo>
                  <a:lnTo>
                    <a:pt x="102" y="490"/>
                  </a:lnTo>
                  <a:lnTo>
                    <a:pt x="99" y="499"/>
                  </a:lnTo>
                  <a:lnTo>
                    <a:pt x="90" y="518"/>
                  </a:lnTo>
                  <a:lnTo>
                    <a:pt x="99" y="528"/>
                  </a:lnTo>
                  <a:lnTo>
                    <a:pt x="102" y="550"/>
                  </a:lnTo>
                  <a:lnTo>
                    <a:pt x="115" y="557"/>
                  </a:lnTo>
                  <a:close/>
                  <a:moveTo>
                    <a:pt x="456" y="700"/>
                  </a:moveTo>
                  <a:lnTo>
                    <a:pt x="456" y="690"/>
                  </a:lnTo>
                  <a:lnTo>
                    <a:pt x="459" y="684"/>
                  </a:lnTo>
                  <a:lnTo>
                    <a:pt x="459" y="671"/>
                  </a:lnTo>
                  <a:lnTo>
                    <a:pt x="449" y="655"/>
                  </a:lnTo>
                  <a:lnTo>
                    <a:pt x="459" y="630"/>
                  </a:lnTo>
                  <a:lnTo>
                    <a:pt x="472" y="620"/>
                  </a:lnTo>
                  <a:lnTo>
                    <a:pt x="472" y="608"/>
                  </a:lnTo>
                  <a:lnTo>
                    <a:pt x="468" y="598"/>
                  </a:lnTo>
                  <a:lnTo>
                    <a:pt x="449" y="608"/>
                  </a:lnTo>
                  <a:lnTo>
                    <a:pt x="443" y="608"/>
                  </a:lnTo>
                  <a:lnTo>
                    <a:pt x="430" y="601"/>
                  </a:lnTo>
                  <a:lnTo>
                    <a:pt x="421" y="614"/>
                  </a:lnTo>
                  <a:lnTo>
                    <a:pt x="398" y="614"/>
                  </a:lnTo>
                  <a:lnTo>
                    <a:pt x="373" y="620"/>
                  </a:lnTo>
                  <a:lnTo>
                    <a:pt x="360" y="614"/>
                  </a:lnTo>
                  <a:lnTo>
                    <a:pt x="351" y="608"/>
                  </a:lnTo>
                  <a:lnTo>
                    <a:pt x="341" y="608"/>
                  </a:lnTo>
                  <a:lnTo>
                    <a:pt x="332" y="614"/>
                  </a:lnTo>
                  <a:lnTo>
                    <a:pt x="328" y="608"/>
                  </a:lnTo>
                  <a:lnTo>
                    <a:pt x="316" y="614"/>
                  </a:lnTo>
                  <a:lnTo>
                    <a:pt x="316" y="636"/>
                  </a:lnTo>
                  <a:lnTo>
                    <a:pt x="328" y="643"/>
                  </a:lnTo>
                  <a:lnTo>
                    <a:pt x="341" y="643"/>
                  </a:lnTo>
                  <a:lnTo>
                    <a:pt x="357" y="655"/>
                  </a:lnTo>
                  <a:lnTo>
                    <a:pt x="370" y="658"/>
                  </a:lnTo>
                  <a:lnTo>
                    <a:pt x="382" y="671"/>
                  </a:lnTo>
                  <a:lnTo>
                    <a:pt x="402" y="684"/>
                  </a:lnTo>
                  <a:lnTo>
                    <a:pt x="411" y="678"/>
                  </a:lnTo>
                  <a:lnTo>
                    <a:pt x="421" y="684"/>
                  </a:lnTo>
                  <a:lnTo>
                    <a:pt x="421" y="697"/>
                  </a:lnTo>
                  <a:lnTo>
                    <a:pt x="449" y="706"/>
                  </a:lnTo>
                  <a:lnTo>
                    <a:pt x="456" y="700"/>
                  </a:lnTo>
                  <a:close/>
                </a:path>
              </a:pathLst>
            </a:custGeom>
            <a:solidFill>
              <a:schemeClr val="bg1"/>
            </a:solidFill>
            <a:ln w="6350">
              <a:solidFill>
                <a:schemeClr val="accent2"/>
              </a:solidFill>
              <a:round/>
              <a:headEnd/>
              <a:tailEnd/>
            </a:ln>
          </p:spPr>
          <p:txBody>
            <a:bodyPr/>
            <a:lstStyle/>
            <a:p>
              <a:endParaRPr lang="de-DE"/>
            </a:p>
          </p:txBody>
        </p:sp>
        <p:sp>
          <p:nvSpPr>
            <p:cNvPr id="237" name="Freeform 80"/>
            <p:cNvSpPr>
              <a:spLocks noEditPoints="1"/>
            </p:cNvSpPr>
            <p:nvPr/>
          </p:nvSpPr>
          <p:spPr bwMode="gray">
            <a:xfrm>
              <a:off x="1799" y="2110"/>
              <a:ext cx="682" cy="506"/>
            </a:xfrm>
            <a:custGeom>
              <a:avLst/>
              <a:gdLst>
                <a:gd name="T0" fmla="*/ 13491796 w 214"/>
                <a:gd name="T1" fmla="*/ 1074193 h 159"/>
                <a:gd name="T2" fmla="*/ 13832432 w 214"/>
                <a:gd name="T3" fmla="*/ 1903989 h 159"/>
                <a:gd name="T4" fmla="*/ 15462661 w 214"/>
                <a:gd name="T5" fmla="*/ 2439903 h 159"/>
                <a:gd name="T6" fmla="*/ 16854805 w 214"/>
                <a:gd name="T7" fmla="*/ 2684110 h 159"/>
                <a:gd name="T8" fmla="*/ 18279557 w 214"/>
                <a:gd name="T9" fmla="*/ 2439903 h 159"/>
                <a:gd name="T10" fmla="*/ 19569283 w 214"/>
                <a:gd name="T11" fmla="*/ 2882590 h 159"/>
                <a:gd name="T12" fmla="*/ 21195177 w 214"/>
                <a:gd name="T13" fmla="*/ 3176655 h 159"/>
                <a:gd name="T14" fmla="*/ 21195177 w 214"/>
                <a:gd name="T15" fmla="*/ 4155256 h 159"/>
                <a:gd name="T16" fmla="*/ 20206344 w 214"/>
                <a:gd name="T17" fmla="*/ 5322786 h 159"/>
                <a:gd name="T18" fmla="*/ 18577151 w 214"/>
                <a:gd name="T19" fmla="*/ 5953077 h 159"/>
                <a:gd name="T20" fmla="*/ 17832178 w 214"/>
                <a:gd name="T21" fmla="*/ 6690854 h 159"/>
                <a:gd name="T22" fmla="*/ 17398639 w 214"/>
                <a:gd name="T23" fmla="*/ 7134329 h 159"/>
                <a:gd name="T24" fmla="*/ 16854805 w 214"/>
                <a:gd name="T25" fmla="*/ 7867498 h 159"/>
                <a:gd name="T26" fmla="*/ 15462661 w 214"/>
                <a:gd name="T27" fmla="*/ 9573342 h 159"/>
                <a:gd name="T28" fmla="*/ 16109952 w 214"/>
                <a:gd name="T29" fmla="*/ 10542494 h 159"/>
                <a:gd name="T30" fmla="*/ 15662468 w 214"/>
                <a:gd name="T31" fmla="*/ 11719565 h 159"/>
                <a:gd name="T32" fmla="*/ 14917596 w 214"/>
                <a:gd name="T33" fmla="*/ 13425084 h 159"/>
                <a:gd name="T34" fmla="*/ 14279783 w 214"/>
                <a:gd name="T35" fmla="*/ 14066132 h 159"/>
                <a:gd name="T36" fmla="*/ 12650590 w 214"/>
                <a:gd name="T37" fmla="*/ 15570180 h 159"/>
                <a:gd name="T38" fmla="*/ 11662694 w 214"/>
                <a:gd name="T39" fmla="*/ 15435100 h 159"/>
                <a:gd name="T40" fmla="*/ 10917819 w 214"/>
                <a:gd name="T41" fmla="*/ 15435100 h 159"/>
                <a:gd name="T42" fmla="*/ 9491735 w 214"/>
                <a:gd name="T43" fmla="*/ 15232729 h 159"/>
                <a:gd name="T44" fmla="*/ 8003136 w 214"/>
                <a:gd name="T45" fmla="*/ 16201789 h 159"/>
                <a:gd name="T46" fmla="*/ 6914773 w 214"/>
                <a:gd name="T47" fmla="*/ 16736809 h 159"/>
                <a:gd name="T48" fmla="*/ 5192101 w 214"/>
                <a:gd name="T49" fmla="*/ 16400259 h 159"/>
                <a:gd name="T50" fmla="*/ 4203271 w 214"/>
                <a:gd name="T51" fmla="*/ 14602053 h 159"/>
                <a:gd name="T52" fmla="*/ 3255218 w 214"/>
                <a:gd name="T53" fmla="*/ 14066132 h 159"/>
                <a:gd name="T54" fmla="*/ 3799967 w 214"/>
                <a:gd name="T55" fmla="*/ 12455890 h 159"/>
                <a:gd name="T56" fmla="*/ 3255218 w 214"/>
                <a:gd name="T57" fmla="*/ 11521095 h 159"/>
                <a:gd name="T58" fmla="*/ 3459330 w 214"/>
                <a:gd name="T59" fmla="*/ 10016922 h 159"/>
                <a:gd name="T60" fmla="*/ 3566207 w 214"/>
                <a:gd name="T61" fmla="*/ 9067460 h 159"/>
                <a:gd name="T62" fmla="*/ 4203271 w 214"/>
                <a:gd name="T63" fmla="*/ 7669353 h 159"/>
                <a:gd name="T64" fmla="*/ 4978479 w 214"/>
                <a:gd name="T65" fmla="*/ 5322786 h 159"/>
                <a:gd name="T66" fmla="*/ 4978479 w 214"/>
                <a:gd name="T67" fmla="*/ 4356593 h 159"/>
                <a:gd name="T68" fmla="*/ 3566207 w 214"/>
                <a:gd name="T69" fmla="*/ 4155256 h 159"/>
                <a:gd name="T70" fmla="*/ 1829102 w 214"/>
                <a:gd name="T71" fmla="*/ 4155256 h 159"/>
                <a:gd name="T72" fmla="*/ 647584 w 214"/>
                <a:gd name="T73" fmla="*/ 3850708 h 159"/>
                <a:gd name="T74" fmla="*/ 851729 w 214"/>
                <a:gd name="T75" fmla="*/ 3176655 h 159"/>
                <a:gd name="T76" fmla="*/ 1085479 w 214"/>
                <a:gd name="T77" fmla="*/ 2439903 h 159"/>
                <a:gd name="T78" fmla="*/ 647584 w 214"/>
                <a:gd name="T79" fmla="*/ 2241815 h 159"/>
                <a:gd name="T80" fmla="*/ 203201 w 214"/>
                <a:gd name="T81" fmla="*/ 2145230 h 159"/>
                <a:gd name="T82" fmla="*/ 1085479 w 214"/>
                <a:gd name="T83" fmla="*/ 968159 h 159"/>
                <a:gd name="T84" fmla="*/ 2276484 w 214"/>
                <a:gd name="T85" fmla="*/ 737360 h 159"/>
                <a:gd name="T86" fmla="*/ 2574078 w 214"/>
                <a:gd name="T87" fmla="*/ 0 h 159"/>
                <a:gd name="T88" fmla="*/ 3459330 w 214"/>
                <a:gd name="T89" fmla="*/ 106066 h 159"/>
                <a:gd name="T90" fmla="*/ 4650650 w 214"/>
                <a:gd name="T91" fmla="*/ 337543 h 159"/>
                <a:gd name="T92" fmla="*/ 5936039 w 214"/>
                <a:gd name="T93" fmla="*/ 106066 h 159"/>
                <a:gd name="T94" fmla="*/ 8003136 w 214"/>
                <a:gd name="T95" fmla="*/ 737360 h 159"/>
                <a:gd name="T96" fmla="*/ 10173882 w 214"/>
                <a:gd name="T97" fmla="*/ 535924 h 159"/>
                <a:gd name="T98" fmla="*/ 11365202 w 214"/>
                <a:gd name="T99" fmla="*/ 737360 h 159"/>
                <a:gd name="T100" fmla="*/ 12650590 w 214"/>
                <a:gd name="T101" fmla="*/ 968159 h 159"/>
                <a:gd name="T102" fmla="*/ 22143584 w 214"/>
                <a:gd name="T103" fmla="*/ 8836984 h 159"/>
                <a:gd name="T104" fmla="*/ 23120957 w 214"/>
                <a:gd name="T105" fmla="*/ 8836984 h 159"/>
                <a:gd name="T106" fmla="*/ 22143584 w 214"/>
                <a:gd name="T107" fmla="*/ 8836984 h 159"/>
                <a:gd name="T108" fmla="*/ 21835569 w 214"/>
                <a:gd name="T109" fmla="*/ 9279276 h 159"/>
                <a:gd name="T110" fmla="*/ 20653726 w 214"/>
                <a:gd name="T111" fmla="*/ 9374862 h 159"/>
                <a:gd name="T112" fmla="*/ 21195177 w 214"/>
                <a:gd name="T113" fmla="*/ 10016922 h 159"/>
                <a:gd name="T114" fmla="*/ 19227741 w 214"/>
                <a:gd name="T115" fmla="*/ 10750412 h 159"/>
                <a:gd name="T116" fmla="*/ 18577151 w 214"/>
                <a:gd name="T117" fmla="*/ 10981788 h 15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14" h="159">
                  <a:moveTo>
                    <a:pt x="123" y="7"/>
                  </a:moveTo>
                  <a:cubicBezTo>
                    <a:pt x="125" y="9"/>
                    <a:pt x="125" y="9"/>
                    <a:pt x="125" y="9"/>
                  </a:cubicBezTo>
                  <a:cubicBezTo>
                    <a:pt x="125" y="10"/>
                    <a:pt x="125" y="10"/>
                    <a:pt x="125" y="10"/>
                  </a:cubicBezTo>
                  <a:cubicBezTo>
                    <a:pt x="128" y="10"/>
                    <a:pt x="128" y="10"/>
                    <a:pt x="128" y="10"/>
                  </a:cubicBezTo>
                  <a:cubicBezTo>
                    <a:pt x="128" y="14"/>
                    <a:pt x="128" y="14"/>
                    <a:pt x="128" y="14"/>
                  </a:cubicBezTo>
                  <a:cubicBezTo>
                    <a:pt x="128" y="18"/>
                    <a:pt x="128" y="18"/>
                    <a:pt x="128" y="18"/>
                  </a:cubicBezTo>
                  <a:cubicBezTo>
                    <a:pt x="132" y="16"/>
                    <a:pt x="132" y="16"/>
                    <a:pt x="132" y="16"/>
                  </a:cubicBezTo>
                  <a:cubicBezTo>
                    <a:pt x="139" y="20"/>
                    <a:pt x="139" y="20"/>
                    <a:pt x="139" y="20"/>
                  </a:cubicBezTo>
                  <a:cubicBezTo>
                    <a:pt x="143" y="23"/>
                    <a:pt x="143" y="23"/>
                    <a:pt x="143" y="23"/>
                  </a:cubicBezTo>
                  <a:cubicBezTo>
                    <a:pt x="147" y="21"/>
                    <a:pt x="147" y="21"/>
                    <a:pt x="147" y="21"/>
                  </a:cubicBezTo>
                  <a:cubicBezTo>
                    <a:pt x="150" y="25"/>
                    <a:pt x="150" y="25"/>
                    <a:pt x="150" y="25"/>
                  </a:cubicBezTo>
                  <a:cubicBezTo>
                    <a:pt x="156" y="25"/>
                    <a:pt x="156" y="25"/>
                    <a:pt x="156" y="25"/>
                  </a:cubicBezTo>
                  <a:cubicBezTo>
                    <a:pt x="158" y="25"/>
                    <a:pt x="158" y="25"/>
                    <a:pt x="158" y="25"/>
                  </a:cubicBezTo>
                  <a:cubicBezTo>
                    <a:pt x="160" y="23"/>
                    <a:pt x="160" y="23"/>
                    <a:pt x="160" y="23"/>
                  </a:cubicBezTo>
                  <a:cubicBezTo>
                    <a:pt x="169" y="23"/>
                    <a:pt x="169" y="23"/>
                    <a:pt x="169" y="23"/>
                  </a:cubicBezTo>
                  <a:cubicBezTo>
                    <a:pt x="170" y="25"/>
                    <a:pt x="170" y="25"/>
                    <a:pt x="170" y="25"/>
                  </a:cubicBezTo>
                  <a:cubicBezTo>
                    <a:pt x="176" y="23"/>
                    <a:pt x="176" y="23"/>
                    <a:pt x="176" y="23"/>
                  </a:cubicBezTo>
                  <a:cubicBezTo>
                    <a:pt x="181" y="27"/>
                    <a:pt x="181" y="27"/>
                    <a:pt x="181" y="27"/>
                  </a:cubicBezTo>
                  <a:cubicBezTo>
                    <a:pt x="189" y="25"/>
                    <a:pt x="189" y="25"/>
                    <a:pt x="189" y="25"/>
                  </a:cubicBezTo>
                  <a:cubicBezTo>
                    <a:pt x="194" y="29"/>
                    <a:pt x="194" y="29"/>
                    <a:pt x="194" y="29"/>
                  </a:cubicBezTo>
                  <a:cubicBezTo>
                    <a:pt x="196" y="30"/>
                    <a:pt x="196" y="30"/>
                    <a:pt x="196" y="30"/>
                  </a:cubicBezTo>
                  <a:cubicBezTo>
                    <a:pt x="198" y="32"/>
                    <a:pt x="198" y="32"/>
                    <a:pt x="198" y="32"/>
                  </a:cubicBezTo>
                  <a:cubicBezTo>
                    <a:pt x="194" y="34"/>
                    <a:pt x="194" y="34"/>
                    <a:pt x="194" y="34"/>
                  </a:cubicBezTo>
                  <a:cubicBezTo>
                    <a:pt x="196" y="39"/>
                    <a:pt x="196" y="39"/>
                    <a:pt x="196" y="39"/>
                  </a:cubicBezTo>
                  <a:cubicBezTo>
                    <a:pt x="194" y="43"/>
                    <a:pt x="194" y="43"/>
                    <a:pt x="194" y="43"/>
                  </a:cubicBezTo>
                  <a:cubicBezTo>
                    <a:pt x="192" y="47"/>
                    <a:pt x="192" y="47"/>
                    <a:pt x="192" y="47"/>
                  </a:cubicBezTo>
                  <a:cubicBezTo>
                    <a:pt x="187" y="50"/>
                    <a:pt x="187" y="50"/>
                    <a:pt x="187" y="50"/>
                  </a:cubicBezTo>
                  <a:cubicBezTo>
                    <a:pt x="183" y="54"/>
                    <a:pt x="183" y="54"/>
                    <a:pt x="183" y="54"/>
                  </a:cubicBezTo>
                  <a:cubicBezTo>
                    <a:pt x="178" y="56"/>
                    <a:pt x="178" y="56"/>
                    <a:pt x="178" y="56"/>
                  </a:cubicBezTo>
                  <a:cubicBezTo>
                    <a:pt x="172" y="56"/>
                    <a:pt x="172" y="56"/>
                    <a:pt x="172" y="56"/>
                  </a:cubicBezTo>
                  <a:cubicBezTo>
                    <a:pt x="167" y="59"/>
                    <a:pt x="167" y="59"/>
                    <a:pt x="167" y="59"/>
                  </a:cubicBezTo>
                  <a:cubicBezTo>
                    <a:pt x="163" y="61"/>
                    <a:pt x="163" y="61"/>
                    <a:pt x="163" y="61"/>
                  </a:cubicBezTo>
                  <a:cubicBezTo>
                    <a:pt x="165" y="63"/>
                    <a:pt x="165" y="63"/>
                    <a:pt x="165" y="63"/>
                  </a:cubicBezTo>
                  <a:cubicBezTo>
                    <a:pt x="165" y="67"/>
                    <a:pt x="165" y="67"/>
                    <a:pt x="165" y="67"/>
                  </a:cubicBezTo>
                  <a:cubicBezTo>
                    <a:pt x="161" y="68"/>
                    <a:pt x="161" y="68"/>
                    <a:pt x="161" y="68"/>
                  </a:cubicBezTo>
                  <a:cubicBezTo>
                    <a:pt x="161" y="67"/>
                    <a:pt x="161" y="67"/>
                    <a:pt x="161" y="67"/>
                  </a:cubicBezTo>
                  <a:cubicBezTo>
                    <a:pt x="161" y="67"/>
                    <a:pt x="161" y="67"/>
                    <a:pt x="161" y="67"/>
                  </a:cubicBezTo>
                  <a:cubicBezTo>
                    <a:pt x="160" y="67"/>
                    <a:pt x="160" y="67"/>
                    <a:pt x="160" y="67"/>
                  </a:cubicBezTo>
                  <a:cubicBezTo>
                    <a:pt x="156" y="74"/>
                    <a:pt x="156" y="74"/>
                    <a:pt x="156" y="74"/>
                  </a:cubicBezTo>
                  <a:cubicBezTo>
                    <a:pt x="152" y="76"/>
                    <a:pt x="152" y="76"/>
                    <a:pt x="152" y="76"/>
                  </a:cubicBezTo>
                  <a:cubicBezTo>
                    <a:pt x="145" y="87"/>
                    <a:pt x="145" y="87"/>
                    <a:pt x="145" y="87"/>
                  </a:cubicBezTo>
                  <a:cubicBezTo>
                    <a:pt x="143" y="90"/>
                    <a:pt x="143" y="90"/>
                    <a:pt x="143" y="90"/>
                  </a:cubicBezTo>
                  <a:cubicBezTo>
                    <a:pt x="147" y="96"/>
                    <a:pt x="147" y="96"/>
                    <a:pt x="147" y="96"/>
                  </a:cubicBezTo>
                  <a:cubicBezTo>
                    <a:pt x="147" y="97"/>
                    <a:pt x="147" y="97"/>
                    <a:pt x="147" y="97"/>
                  </a:cubicBezTo>
                  <a:cubicBezTo>
                    <a:pt x="149" y="99"/>
                    <a:pt x="149" y="99"/>
                    <a:pt x="149" y="99"/>
                  </a:cubicBezTo>
                  <a:cubicBezTo>
                    <a:pt x="154" y="105"/>
                    <a:pt x="154" y="105"/>
                    <a:pt x="154" y="105"/>
                  </a:cubicBezTo>
                  <a:cubicBezTo>
                    <a:pt x="150" y="108"/>
                    <a:pt x="150" y="108"/>
                    <a:pt x="150" y="108"/>
                  </a:cubicBezTo>
                  <a:cubicBezTo>
                    <a:pt x="145" y="110"/>
                    <a:pt x="145" y="110"/>
                    <a:pt x="145" y="110"/>
                  </a:cubicBezTo>
                  <a:cubicBezTo>
                    <a:pt x="145" y="114"/>
                    <a:pt x="145" y="114"/>
                    <a:pt x="145" y="114"/>
                  </a:cubicBezTo>
                  <a:cubicBezTo>
                    <a:pt x="139" y="123"/>
                    <a:pt x="139" y="123"/>
                    <a:pt x="139" y="123"/>
                  </a:cubicBezTo>
                  <a:cubicBezTo>
                    <a:pt x="138" y="126"/>
                    <a:pt x="138" y="126"/>
                    <a:pt x="138" y="126"/>
                  </a:cubicBezTo>
                  <a:cubicBezTo>
                    <a:pt x="139" y="128"/>
                    <a:pt x="139" y="128"/>
                    <a:pt x="139" y="128"/>
                  </a:cubicBezTo>
                  <a:cubicBezTo>
                    <a:pt x="138" y="130"/>
                    <a:pt x="138" y="130"/>
                    <a:pt x="138" y="130"/>
                  </a:cubicBezTo>
                  <a:cubicBezTo>
                    <a:pt x="132" y="132"/>
                    <a:pt x="132" y="132"/>
                    <a:pt x="132" y="132"/>
                  </a:cubicBezTo>
                  <a:cubicBezTo>
                    <a:pt x="121" y="136"/>
                    <a:pt x="121" y="136"/>
                    <a:pt x="121" y="136"/>
                  </a:cubicBezTo>
                  <a:cubicBezTo>
                    <a:pt x="121" y="139"/>
                    <a:pt x="121" y="139"/>
                    <a:pt x="121" y="139"/>
                  </a:cubicBezTo>
                  <a:cubicBezTo>
                    <a:pt x="117" y="146"/>
                    <a:pt x="117" y="146"/>
                    <a:pt x="117" y="146"/>
                  </a:cubicBezTo>
                  <a:cubicBezTo>
                    <a:pt x="114" y="145"/>
                    <a:pt x="114" y="145"/>
                    <a:pt x="114" y="145"/>
                  </a:cubicBezTo>
                  <a:cubicBezTo>
                    <a:pt x="110" y="141"/>
                    <a:pt x="110" y="141"/>
                    <a:pt x="110" y="141"/>
                  </a:cubicBezTo>
                  <a:cubicBezTo>
                    <a:pt x="108" y="145"/>
                    <a:pt x="108" y="145"/>
                    <a:pt x="108" y="145"/>
                  </a:cubicBezTo>
                  <a:cubicBezTo>
                    <a:pt x="106" y="146"/>
                    <a:pt x="106" y="146"/>
                    <a:pt x="106" y="146"/>
                  </a:cubicBezTo>
                  <a:cubicBezTo>
                    <a:pt x="103" y="145"/>
                    <a:pt x="103" y="145"/>
                    <a:pt x="103" y="145"/>
                  </a:cubicBezTo>
                  <a:cubicBezTo>
                    <a:pt x="101" y="145"/>
                    <a:pt x="101" y="145"/>
                    <a:pt x="101" y="145"/>
                  </a:cubicBezTo>
                  <a:cubicBezTo>
                    <a:pt x="99" y="146"/>
                    <a:pt x="99" y="146"/>
                    <a:pt x="99" y="146"/>
                  </a:cubicBezTo>
                  <a:cubicBezTo>
                    <a:pt x="96" y="145"/>
                    <a:pt x="96" y="145"/>
                    <a:pt x="96" y="145"/>
                  </a:cubicBezTo>
                  <a:cubicBezTo>
                    <a:pt x="88" y="143"/>
                    <a:pt x="88" y="143"/>
                    <a:pt x="88" y="143"/>
                  </a:cubicBezTo>
                  <a:cubicBezTo>
                    <a:pt x="85" y="145"/>
                    <a:pt x="85" y="145"/>
                    <a:pt x="85" y="145"/>
                  </a:cubicBezTo>
                  <a:cubicBezTo>
                    <a:pt x="79" y="146"/>
                    <a:pt x="79" y="146"/>
                    <a:pt x="79" y="146"/>
                  </a:cubicBezTo>
                  <a:cubicBezTo>
                    <a:pt x="74" y="152"/>
                    <a:pt x="74" y="152"/>
                    <a:pt x="74" y="152"/>
                  </a:cubicBezTo>
                  <a:cubicBezTo>
                    <a:pt x="66" y="152"/>
                    <a:pt x="66" y="152"/>
                    <a:pt x="66" y="152"/>
                  </a:cubicBezTo>
                  <a:cubicBezTo>
                    <a:pt x="64" y="154"/>
                    <a:pt x="64" y="154"/>
                    <a:pt x="64" y="154"/>
                  </a:cubicBezTo>
                  <a:cubicBezTo>
                    <a:pt x="64" y="157"/>
                    <a:pt x="64" y="157"/>
                    <a:pt x="64" y="157"/>
                  </a:cubicBezTo>
                  <a:cubicBezTo>
                    <a:pt x="59" y="159"/>
                    <a:pt x="59" y="159"/>
                    <a:pt x="59" y="159"/>
                  </a:cubicBezTo>
                  <a:cubicBezTo>
                    <a:pt x="53" y="159"/>
                    <a:pt x="53" y="159"/>
                    <a:pt x="53" y="159"/>
                  </a:cubicBezTo>
                  <a:cubicBezTo>
                    <a:pt x="48" y="154"/>
                    <a:pt x="48" y="154"/>
                    <a:pt x="48" y="154"/>
                  </a:cubicBezTo>
                  <a:cubicBezTo>
                    <a:pt x="44" y="145"/>
                    <a:pt x="44" y="145"/>
                    <a:pt x="44" y="145"/>
                  </a:cubicBezTo>
                  <a:cubicBezTo>
                    <a:pt x="44" y="145"/>
                    <a:pt x="44" y="145"/>
                    <a:pt x="44" y="145"/>
                  </a:cubicBezTo>
                  <a:cubicBezTo>
                    <a:pt x="39" y="137"/>
                    <a:pt x="39" y="137"/>
                    <a:pt x="39" y="137"/>
                  </a:cubicBezTo>
                  <a:cubicBezTo>
                    <a:pt x="33" y="137"/>
                    <a:pt x="33" y="137"/>
                    <a:pt x="33" y="137"/>
                  </a:cubicBezTo>
                  <a:cubicBezTo>
                    <a:pt x="30" y="136"/>
                    <a:pt x="30" y="136"/>
                    <a:pt x="30" y="136"/>
                  </a:cubicBezTo>
                  <a:cubicBezTo>
                    <a:pt x="30" y="132"/>
                    <a:pt x="30" y="132"/>
                    <a:pt x="30" y="132"/>
                  </a:cubicBezTo>
                  <a:cubicBezTo>
                    <a:pt x="28" y="128"/>
                    <a:pt x="28" y="128"/>
                    <a:pt x="28" y="128"/>
                  </a:cubicBezTo>
                  <a:cubicBezTo>
                    <a:pt x="32" y="121"/>
                    <a:pt x="32" y="121"/>
                    <a:pt x="32" y="121"/>
                  </a:cubicBezTo>
                  <a:cubicBezTo>
                    <a:pt x="35" y="117"/>
                    <a:pt x="35" y="117"/>
                    <a:pt x="35" y="117"/>
                  </a:cubicBezTo>
                  <a:cubicBezTo>
                    <a:pt x="37" y="114"/>
                    <a:pt x="37" y="114"/>
                    <a:pt x="37" y="114"/>
                  </a:cubicBezTo>
                  <a:cubicBezTo>
                    <a:pt x="33" y="114"/>
                    <a:pt x="33" y="114"/>
                    <a:pt x="33" y="114"/>
                  </a:cubicBezTo>
                  <a:cubicBezTo>
                    <a:pt x="30" y="108"/>
                    <a:pt x="30" y="108"/>
                    <a:pt x="30" y="108"/>
                  </a:cubicBezTo>
                  <a:cubicBezTo>
                    <a:pt x="35" y="103"/>
                    <a:pt x="35" y="103"/>
                    <a:pt x="35" y="103"/>
                  </a:cubicBezTo>
                  <a:cubicBezTo>
                    <a:pt x="35" y="96"/>
                    <a:pt x="35" y="96"/>
                    <a:pt x="35" y="96"/>
                  </a:cubicBezTo>
                  <a:cubicBezTo>
                    <a:pt x="32" y="94"/>
                    <a:pt x="32" y="94"/>
                    <a:pt x="32" y="94"/>
                  </a:cubicBezTo>
                  <a:cubicBezTo>
                    <a:pt x="26" y="85"/>
                    <a:pt x="26" y="85"/>
                    <a:pt x="26" y="85"/>
                  </a:cubicBezTo>
                  <a:cubicBezTo>
                    <a:pt x="32" y="85"/>
                    <a:pt x="32" y="85"/>
                    <a:pt x="32" y="85"/>
                  </a:cubicBezTo>
                  <a:cubicBezTo>
                    <a:pt x="33" y="85"/>
                    <a:pt x="33" y="85"/>
                    <a:pt x="33" y="85"/>
                  </a:cubicBezTo>
                  <a:cubicBezTo>
                    <a:pt x="39" y="79"/>
                    <a:pt x="39" y="79"/>
                    <a:pt x="39" y="79"/>
                  </a:cubicBezTo>
                  <a:cubicBezTo>
                    <a:pt x="35" y="76"/>
                    <a:pt x="35" y="76"/>
                    <a:pt x="35" y="76"/>
                  </a:cubicBezTo>
                  <a:cubicBezTo>
                    <a:pt x="39" y="72"/>
                    <a:pt x="39" y="72"/>
                    <a:pt x="39" y="72"/>
                  </a:cubicBezTo>
                  <a:cubicBezTo>
                    <a:pt x="41" y="61"/>
                    <a:pt x="41" y="61"/>
                    <a:pt x="41" y="61"/>
                  </a:cubicBezTo>
                  <a:cubicBezTo>
                    <a:pt x="39" y="58"/>
                    <a:pt x="39" y="58"/>
                    <a:pt x="39" y="58"/>
                  </a:cubicBezTo>
                  <a:cubicBezTo>
                    <a:pt x="46" y="50"/>
                    <a:pt x="46" y="50"/>
                    <a:pt x="46" y="50"/>
                  </a:cubicBezTo>
                  <a:cubicBezTo>
                    <a:pt x="48" y="50"/>
                    <a:pt x="48" y="50"/>
                    <a:pt x="48" y="50"/>
                  </a:cubicBezTo>
                  <a:cubicBezTo>
                    <a:pt x="50" y="47"/>
                    <a:pt x="50" y="47"/>
                    <a:pt x="50" y="47"/>
                  </a:cubicBezTo>
                  <a:cubicBezTo>
                    <a:pt x="46" y="41"/>
                    <a:pt x="46" y="41"/>
                    <a:pt x="46" y="41"/>
                  </a:cubicBezTo>
                  <a:cubicBezTo>
                    <a:pt x="44" y="38"/>
                    <a:pt x="44" y="38"/>
                    <a:pt x="44" y="38"/>
                  </a:cubicBezTo>
                  <a:cubicBezTo>
                    <a:pt x="37" y="38"/>
                    <a:pt x="37" y="38"/>
                    <a:pt x="37" y="38"/>
                  </a:cubicBezTo>
                  <a:cubicBezTo>
                    <a:pt x="33" y="39"/>
                    <a:pt x="33" y="39"/>
                    <a:pt x="33" y="39"/>
                  </a:cubicBezTo>
                  <a:cubicBezTo>
                    <a:pt x="24" y="38"/>
                    <a:pt x="24" y="38"/>
                    <a:pt x="24" y="38"/>
                  </a:cubicBezTo>
                  <a:cubicBezTo>
                    <a:pt x="19" y="41"/>
                    <a:pt x="19" y="41"/>
                    <a:pt x="19" y="41"/>
                  </a:cubicBezTo>
                  <a:cubicBezTo>
                    <a:pt x="17" y="39"/>
                    <a:pt x="17" y="39"/>
                    <a:pt x="17" y="39"/>
                  </a:cubicBezTo>
                  <a:cubicBezTo>
                    <a:pt x="17" y="36"/>
                    <a:pt x="17" y="36"/>
                    <a:pt x="17" y="36"/>
                  </a:cubicBezTo>
                  <a:cubicBezTo>
                    <a:pt x="15" y="34"/>
                    <a:pt x="15" y="34"/>
                    <a:pt x="15" y="34"/>
                  </a:cubicBezTo>
                  <a:cubicBezTo>
                    <a:pt x="6" y="36"/>
                    <a:pt x="6" y="36"/>
                    <a:pt x="6" y="36"/>
                  </a:cubicBezTo>
                  <a:cubicBezTo>
                    <a:pt x="6" y="34"/>
                    <a:pt x="6" y="34"/>
                    <a:pt x="6" y="34"/>
                  </a:cubicBezTo>
                  <a:cubicBezTo>
                    <a:pt x="11" y="30"/>
                    <a:pt x="11" y="30"/>
                    <a:pt x="11" y="30"/>
                  </a:cubicBezTo>
                  <a:cubicBezTo>
                    <a:pt x="8" y="30"/>
                    <a:pt x="8" y="30"/>
                    <a:pt x="8" y="30"/>
                  </a:cubicBezTo>
                  <a:cubicBezTo>
                    <a:pt x="10" y="29"/>
                    <a:pt x="10" y="29"/>
                    <a:pt x="10" y="29"/>
                  </a:cubicBezTo>
                  <a:cubicBezTo>
                    <a:pt x="8" y="27"/>
                    <a:pt x="8" y="27"/>
                    <a:pt x="8" y="27"/>
                  </a:cubicBezTo>
                  <a:cubicBezTo>
                    <a:pt x="10" y="23"/>
                    <a:pt x="10" y="23"/>
                    <a:pt x="10" y="23"/>
                  </a:cubicBezTo>
                  <a:cubicBezTo>
                    <a:pt x="6" y="27"/>
                    <a:pt x="6" y="27"/>
                    <a:pt x="6" y="27"/>
                  </a:cubicBezTo>
                  <a:cubicBezTo>
                    <a:pt x="6" y="25"/>
                    <a:pt x="6" y="25"/>
                    <a:pt x="6" y="25"/>
                  </a:cubicBezTo>
                  <a:cubicBezTo>
                    <a:pt x="6" y="21"/>
                    <a:pt x="6" y="21"/>
                    <a:pt x="6" y="21"/>
                  </a:cubicBezTo>
                  <a:cubicBezTo>
                    <a:pt x="4" y="20"/>
                    <a:pt x="4" y="20"/>
                    <a:pt x="4" y="20"/>
                  </a:cubicBezTo>
                  <a:cubicBezTo>
                    <a:pt x="4" y="18"/>
                    <a:pt x="4" y="18"/>
                    <a:pt x="4" y="18"/>
                  </a:cubicBezTo>
                  <a:cubicBezTo>
                    <a:pt x="2" y="20"/>
                    <a:pt x="2" y="20"/>
                    <a:pt x="2" y="20"/>
                  </a:cubicBezTo>
                  <a:cubicBezTo>
                    <a:pt x="0" y="16"/>
                    <a:pt x="0" y="16"/>
                    <a:pt x="0" y="16"/>
                  </a:cubicBezTo>
                  <a:cubicBezTo>
                    <a:pt x="2" y="12"/>
                    <a:pt x="2" y="12"/>
                    <a:pt x="2" y="12"/>
                  </a:cubicBezTo>
                  <a:cubicBezTo>
                    <a:pt x="10" y="9"/>
                    <a:pt x="10" y="9"/>
                    <a:pt x="10" y="9"/>
                  </a:cubicBezTo>
                  <a:cubicBezTo>
                    <a:pt x="11" y="10"/>
                    <a:pt x="11" y="10"/>
                    <a:pt x="11" y="10"/>
                  </a:cubicBezTo>
                  <a:cubicBezTo>
                    <a:pt x="17" y="10"/>
                    <a:pt x="17" y="10"/>
                    <a:pt x="17" y="10"/>
                  </a:cubicBezTo>
                  <a:cubicBezTo>
                    <a:pt x="21" y="7"/>
                    <a:pt x="21" y="7"/>
                    <a:pt x="21" y="7"/>
                  </a:cubicBezTo>
                  <a:cubicBezTo>
                    <a:pt x="17" y="7"/>
                    <a:pt x="17" y="7"/>
                    <a:pt x="17" y="7"/>
                  </a:cubicBezTo>
                  <a:cubicBezTo>
                    <a:pt x="17" y="3"/>
                    <a:pt x="17" y="3"/>
                    <a:pt x="17" y="3"/>
                  </a:cubicBezTo>
                  <a:cubicBezTo>
                    <a:pt x="24" y="0"/>
                    <a:pt x="24" y="0"/>
                    <a:pt x="24" y="0"/>
                  </a:cubicBezTo>
                  <a:cubicBezTo>
                    <a:pt x="24" y="1"/>
                    <a:pt x="24" y="1"/>
                    <a:pt x="24" y="1"/>
                  </a:cubicBezTo>
                  <a:cubicBezTo>
                    <a:pt x="28" y="0"/>
                    <a:pt x="28" y="0"/>
                    <a:pt x="28" y="0"/>
                  </a:cubicBezTo>
                  <a:cubicBezTo>
                    <a:pt x="32" y="1"/>
                    <a:pt x="32" y="1"/>
                    <a:pt x="32" y="1"/>
                  </a:cubicBezTo>
                  <a:cubicBezTo>
                    <a:pt x="35" y="5"/>
                    <a:pt x="35" y="5"/>
                    <a:pt x="35" y="5"/>
                  </a:cubicBezTo>
                  <a:cubicBezTo>
                    <a:pt x="39" y="3"/>
                    <a:pt x="39" y="3"/>
                    <a:pt x="39" y="3"/>
                  </a:cubicBezTo>
                  <a:cubicBezTo>
                    <a:pt x="43" y="3"/>
                    <a:pt x="43" y="3"/>
                    <a:pt x="43" y="3"/>
                  </a:cubicBezTo>
                  <a:cubicBezTo>
                    <a:pt x="46" y="5"/>
                    <a:pt x="46" y="5"/>
                    <a:pt x="46" y="5"/>
                  </a:cubicBezTo>
                  <a:cubicBezTo>
                    <a:pt x="50" y="3"/>
                    <a:pt x="50" y="3"/>
                    <a:pt x="50" y="3"/>
                  </a:cubicBezTo>
                  <a:cubicBezTo>
                    <a:pt x="55" y="1"/>
                    <a:pt x="55" y="1"/>
                    <a:pt x="55" y="1"/>
                  </a:cubicBezTo>
                  <a:cubicBezTo>
                    <a:pt x="57" y="3"/>
                    <a:pt x="57" y="3"/>
                    <a:pt x="57" y="3"/>
                  </a:cubicBezTo>
                  <a:cubicBezTo>
                    <a:pt x="61" y="5"/>
                    <a:pt x="61" y="5"/>
                    <a:pt x="61" y="5"/>
                  </a:cubicBezTo>
                  <a:cubicBezTo>
                    <a:pt x="74" y="7"/>
                    <a:pt x="74" y="7"/>
                    <a:pt x="74" y="7"/>
                  </a:cubicBezTo>
                  <a:cubicBezTo>
                    <a:pt x="79" y="9"/>
                    <a:pt x="79" y="9"/>
                    <a:pt x="79" y="9"/>
                  </a:cubicBezTo>
                  <a:cubicBezTo>
                    <a:pt x="88" y="5"/>
                    <a:pt x="88" y="5"/>
                    <a:pt x="88" y="5"/>
                  </a:cubicBezTo>
                  <a:cubicBezTo>
                    <a:pt x="94" y="5"/>
                    <a:pt x="94" y="5"/>
                    <a:pt x="94" y="5"/>
                  </a:cubicBezTo>
                  <a:cubicBezTo>
                    <a:pt x="96" y="9"/>
                    <a:pt x="96" y="9"/>
                    <a:pt x="96" y="9"/>
                  </a:cubicBezTo>
                  <a:cubicBezTo>
                    <a:pt x="101" y="9"/>
                    <a:pt x="101" y="9"/>
                    <a:pt x="101" y="9"/>
                  </a:cubicBezTo>
                  <a:cubicBezTo>
                    <a:pt x="105" y="7"/>
                    <a:pt x="105" y="7"/>
                    <a:pt x="105" y="7"/>
                  </a:cubicBezTo>
                  <a:cubicBezTo>
                    <a:pt x="106" y="7"/>
                    <a:pt x="106" y="7"/>
                    <a:pt x="106" y="7"/>
                  </a:cubicBezTo>
                  <a:cubicBezTo>
                    <a:pt x="116" y="10"/>
                    <a:pt x="116" y="10"/>
                    <a:pt x="116" y="10"/>
                  </a:cubicBezTo>
                  <a:cubicBezTo>
                    <a:pt x="117" y="9"/>
                    <a:pt x="117" y="9"/>
                    <a:pt x="117" y="9"/>
                  </a:cubicBezTo>
                  <a:cubicBezTo>
                    <a:pt x="121" y="9"/>
                    <a:pt x="121" y="9"/>
                    <a:pt x="121" y="9"/>
                  </a:cubicBezTo>
                  <a:cubicBezTo>
                    <a:pt x="123" y="7"/>
                    <a:pt x="123" y="7"/>
                    <a:pt x="123" y="7"/>
                  </a:cubicBezTo>
                  <a:close/>
                  <a:moveTo>
                    <a:pt x="205" y="83"/>
                  </a:moveTo>
                  <a:cubicBezTo>
                    <a:pt x="211" y="83"/>
                    <a:pt x="211" y="83"/>
                    <a:pt x="211" y="83"/>
                  </a:cubicBezTo>
                  <a:cubicBezTo>
                    <a:pt x="214" y="85"/>
                    <a:pt x="214" y="85"/>
                    <a:pt x="214" y="85"/>
                  </a:cubicBezTo>
                  <a:cubicBezTo>
                    <a:pt x="214" y="83"/>
                    <a:pt x="214" y="83"/>
                    <a:pt x="214" y="83"/>
                  </a:cubicBezTo>
                  <a:cubicBezTo>
                    <a:pt x="211" y="79"/>
                    <a:pt x="211" y="79"/>
                    <a:pt x="211" y="79"/>
                  </a:cubicBezTo>
                  <a:cubicBezTo>
                    <a:pt x="207" y="81"/>
                    <a:pt x="207" y="81"/>
                    <a:pt x="207" y="81"/>
                  </a:cubicBezTo>
                  <a:cubicBezTo>
                    <a:pt x="205" y="83"/>
                    <a:pt x="205" y="83"/>
                    <a:pt x="205" y="83"/>
                  </a:cubicBezTo>
                  <a:close/>
                  <a:moveTo>
                    <a:pt x="196" y="94"/>
                  </a:moveTo>
                  <a:cubicBezTo>
                    <a:pt x="198" y="90"/>
                    <a:pt x="198" y="90"/>
                    <a:pt x="198" y="90"/>
                  </a:cubicBezTo>
                  <a:cubicBezTo>
                    <a:pt x="202" y="87"/>
                    <a:pt x="202" y="87"/>
                    <a:pt x="202" y="87"/>
                  </a:cubicBezTo>
                  <a:cubicBezTo>
                    <a:pt x="198" y="87"/>
                    <a:pt x="198" y="87"/>
                    <a:pt x="198" y="87"/>
                  </a:cubicBezTo>
                  <a:cubicBezTo>
                    <a:pt x="194" y="85"/>
                    <a:pt x="194" y="85"/>
                    <a:pt x="194" y="85"/>
                  </a:cubicBezTo>
                  <a:cubicBezTo>
                    <a:pt x="191" y="88"/>
                    <a:pt x="191" y="88"/>
                    <a:pt x="191" y="88"/>
                  </a:cubicBezTo>
                  <a:cubicBezTo>
                    <a:pt x="189" y="90"/>
                    <a:pt x="189" y="90"/>
                    <a:pt x="189" y="90"/>
                  </a:cubicBezTo>
                  <a:cubicBezTo>
                    <a:pt x="192" y="92"/>
                    <a:pt x="192" y="92"/>
                    <a:pt x="192" y="92"/>
                  </a:cubicBezTo>
                  <a:cubicBezTo>
                    <a:pt x="196" y="94"/>
                    <a:pt x="196" y="94"/>
                    <a:pt x="196" y="94"/>
                  </a:cubicBezTo>
                  <a:close/>
                  <a:moveTo>
                    <a:pt x="174" y="105"/>
                  </a:moveTo>
                  <a:cubicBezTo>
                    <a:pt x="176" y="103"/>
                    <a:pt x="176" y="103"/>
                    <a:pt x="176" y="103"/>
                  </a:cubicBezTo>
                  <a:cubicBezTo>
                    <a:pt x="178" y="101"/>
                    <a:pt x="178" y="101"/>
                    <a:pt x="178" y="101"/>
                  </a:cubicBezTo>
                  <a:cubicBezTo>
                    <a:pt x="178" y="99"/>
                    <a:pt x="178" y="99"/>
                    <a:pt x="178" y="99"/>
                  </a:cubicBezTo>
                  <a:cubicBezTo>
                    <a:pt x="172" y="99"/>
                    <a:pt x="172" y="99"/>
                    <a:pt x="172" y="99"/>
                  </a:cubicBezTo>
                  <a:cubicBezTo>
                    <a:pt x="172" y="103"/>
                    <a:pt x="172" y="103"/>
                    <a:pt x="172" y="103"/>
                  </a:cubicBezTo>
                  <a:cubicBezTo>
                    <a:pt x="174" y="105"/>
                    <a:pt x="174" y="105"/>
                    <a:pt x="174" y="105"/>
                  </a:cubicBezTo>
                  <a:cubicBezTo>
                    <a:pt x="174" y="105"/>
                    <a:pt x="174" y="105"/>
                    <a:pt x="174" y="105"/>
                  </a:cubicBezTo>
                  <a:close/>
                </a:path>
              </a:pathLst>
            </a:custGeom>
            <a:solidFill>
              <a:schemeClr val="bg1"/>
            </a:solidFill>
            <a:ln w="6350">
              <a:solidFill>
                <a:schemeClr val="accent2"/>
              </a:solidFill>
              <a:round/>
              <a:headEnd/>
              <a:tailEnd/>
            </a:ln>
          </p:spPr>
          <p:txBody>
            <a:bodyPr/>
            <a:lstStyle/>
            <a:p>
              <a:endParaRPr lang="de-DE"/>
            </a:p>
          </p:txBody>
        </p:sp>
        <p:sp>
          <p:nvSpPr>
            <p:cNvPr id="238" name="Freeform 81"/>
            <p:cNvSpPr>
              <a:spLocks/>
            </p:cNvSpPr>
            <p:nvPr/>
          </p:nvSpPr>
          <p:spPr bwMode="gray">
            <a:xfrm>
              <a:off x="1783" y="2215"/>
              <a:ext cx="176" cy="344"/>
            </a:xfrm>
            <a:custGeom>
              <a:avLst/>
              <a:gdLst>
                <a:gd name="T0" fmla="*/ 112 w 176"/>
                <a:gd name="T1" fmla="*/ 315 h 344"/>
                <a:gd name="T2" fmla="*/ 118 w 176"/>
                <a:gd name="T3" fmla="*/ 283 h 344"/>
                <a:gd name="T4" fmla="*/ 134 w 176"/>
                <a:gd name="T5" fmla="*/ 258 h 344"/>
                <a:gd name="T6" fmla="*/ 112 w 176"/>
                <a:gd name="T7" fmla="*/ 242 h 344"/>
                <a:gd name="T8" fmla="*/ 131 w 176"/>
                <a:gd name="T9" fmla="*/ 200 h 344"/>
                <a:gd name="T10" fmla="*/ 102 w 176"/>
                <a:gd name="T11" fmla="*/ 165 h 344"/>
                <a:gd name="T12" fmla="*/ 121 w 176"/>
                <a:gd name="T13" fmla="*/ 165 h 344"/>
                <a:gd name="T14" fmla="*/ 131 w 176"/>
                <a:gd name="T15" fmla="*/ 137 h 344"/>
                <a:gd name="T16" fmla="*/ 147 w 176"/>
                <a:gd name="T17" fmla="*/ 89 h 344"/>
                <a:gd name="T18" fmla="*/ 163 w 176"/>
                <a:gd name="T19" fmla="*/ 54 h 344"/>
                <a:gd name="T20" fmla="*/ 176 w 176"/>
                <a:gd name="T21" fmla="*/ 41 h 344"/>
                <a:gd name="T22" fmla="*/ 160 w 176"/>
                <a:gd name="T23" fmla="*/ 13 h 344"/>
                <a:gd name="T24" fmla="*/ 121 w 176"/>
                <a:gd name="T25" fmla="*/ 22 h 344"/>
                <a:gd name="T26" fmla="*/ 77 w 176"/>
                <a:gd name="T27" fmla="*/ 25 h 344"/>
                <a:gd name="T28" fmla="*/ 71 w 176"/>
                <a:gd name="T29" fmla="*/ 9 h 344"/>
                <a:gd name="T30" fmla="*/ 35 w 176"/>
                <a:gd name="T31" fmla="*/ 9 h 344"/>
                <a:gd name="T32" fmla="*/ 48 w 176"/>
                <a:gd name="T33" fmla="*/ 38 h 344"/>
                <a:gd name="T34" fmla="*/ 48 w 176"/>
                <a:gd name="T35" fmla="*/ 79 h 344"/>
                <a:gd name="T36" fmla="*/ 48 w 176"/>
                <a:gd name="T37" fmla="*/ 98 h 344"/>
                <a:gd name="T38" fmla="*/ 35 w 176"/>
                <a:gd name="T39" fmla="*/ 124 h 344"/>
                <a:gd name="T40" fmla="*/ 23 w 176"/>
                <a:gd name="T41" fmla="*/ 159 h 344"/>
                <a:gd name="T42" fmla="*/ 7 w 176"/>
                <a:gd name="T43" fmla="*/ 188 h 344"/>
                <a:gd name="T44" fmla="*/ 0 w 176"/>
                <a:gd name="T45" fmla="*/ 229 h 344"/>
                <a:gd name="T46" fmla="*/ 20 w 176"/>
                <a:gd name="T47" fmla="*/ 223 h 344"/>
                <a:gd name="T48" fmla="*/ 32 w 176"/>
                <a:gd name="T49" fmla="*/ 223 h 344"/>
                <a:gd name="T50" fmla="*/ 13 w 176"/>
                <a:gd name="T51" fmla="*/ 235 h 344"/>
                <a:gd name="T52" fmla="*/ 20 w 176"/>
                <a:gd name="T53" fmla="*/ 251 h 344"/>
                <a:gd name="T54" fmla="*/ 42 w 176"/>
                <a:gd name="T55" fmla="*/ 245 h 344"/>
                <a:gd name="T56" fmla="*/ 42 w 176"/>
                <a:gd name="T57" fmla="*/ 270 h 344"/>
                <a:gd name="T58" fmla="*/ 35 w 176"/>
                <a:gd name="T59" fmla="*/ 312 h 344"/>
                <a:gd name="T60" fmla="*/ 23 w 176"/>
                <a:gd name="T61" fmla="*/ 331 h 344"/>
                <a:gd name="T62" fmla="*/ 48 w 176"/>
                <a:gd name="T63" fmla="*/ 328 h 344"/>
                <a:gd name="T64" fmla="*/ 77 w 176"/>
                <a:gd name="T65" fmla="*/ 344 h 344"/>
                <a:gd name="T66" fmla="*/ 112 w 176"/>
                <a:gd name="T67" fmla="*/ 331 h 344"/>
                <a:gd name="T68" fmla="*/ 112 w 176"/>
                <a:gd name="T69" fmla="*/ 328 h 344"/>
                <a:gd name="T70" fmla="*/ 112 w 176"/>
                <a:gd name="T71" fmla="*/ 328 h 34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76" h="344">
                  <a:moveTo>
                    <a:pt x="112" y="328"/>
                  </a:moveTo>
                  <a:lnTo>
                    <a:pt x="112" y="315"/>
                  </a:lnTo>
                  <a:lnTo>
                    <a:pt x="106" y="302"/>
                  </a:lnTo>
                  <a:lnTo>
                    <a:pt x="118" y="283"/>
                  </a:lnTo>
                  <a:lnTo>
                    <a:pt x="131" y="270"/>
                  </a:lnTo>
                  <a:lnTo>
                    <a:pt x="134" y="258"/>
                  </a:lnTo>
                  <a:lnTo>
                    <a:pt x="121" y="258"/>
                  </a:lnTo>
                  <a:lnTo>
                    <a:pt x="112" y="242"/>
                  </a:lnTo>
                  <a:lnTo>
                    <a:pt x="131" y="223"/>
                  </a:lnTo>
                  <a:lnTo>
                    <a:pt x="131" y="200"/>
                  </a:lnTo>
                  <a:lnTo>
                    <a:pt x="118" y="194"/>
                  </a:lnTo>
                  <a:lnTo>
                    <a:pt x="102" y="165"/>
                  </a:lnTo>
                  <a:lnTo>
                    <a:pt x="118" y="165"/>
                  </a:lnTo>
                  <a:lnTo>
                    <a:pt x="121" y="165"/>
                  </a:lnTo>
                  <a:lnTo>
                    <a:pt x="141" y="146"/>
                  </a:lnTo>
                  <a:lnTo>
                    <a:pt x="131" y="137"/>
                  </a:lnTo>
                  <a:lnTo>
                    <a:pt x="141" y="124"/>
                  </a:lnTo>
                  <a:lnTo>
                    <a:pt x="147" y="89"/>
                  </a:lnTo>
                  <a:lnTo>
                    <a:pt x="141" y="79"/>
                  </a:lnTo>
                  <a:lnTo>
                    <a:pt x="163" y="54"/>
                  </a:lnTo>
                  <a:lnTo>
                    <a:pt x="172" y="54"/>
                  </a:lnTo>
                  <a:lnTo>
                    <a:pt x="176" y="41"/>
                  </a:lnTo>
                  <a:lnTo>
                    <a:pt x="163" y="25"/>
                  </a:lnTo>
                  <a:lnTo>
                    <a:pt x="160" y="13"/>
                  </a:lnTo>
                  <a:lnTo>
                    <a:pt x="134" y="13"/>
                  </a:lnTo>
                  <a:lnTo>
                    <a:pt x="121" y="22"/>
                  </a:lnTo>
                  <a:lnTo>
                    <a:pt x="93" y="13"/>
                  </a:lnTo>
                  <a:lnTo>
                    <a:pt x="77" y="25"/>
                  </a:lnTo>
                  <a:lnTo>
                    <a:pt x="71" y="22"/>
                  </a:lnTo>
                  <a:lnTo>
                    <a:pt x="71" y="9"/>
                  </a:lnTo>
                  <a:lnTo>
                    <a:pt x="64" y="0"/>
                  </a:lnTo>
                  <a:lnTo>
                    <a:pt x="35" y="9"/>
                  </a:lnTo>
                  <a:lnTo>
                    <a:pt x="42" y="22"/>
                  </a:lnTo>
                  <a:lnTo>
                    <a:pt x="48" y="38"/>
                  </a:lnTo>
                  <a:lnTo>
                    <a:pt x="42" y="70"/>
                  </a:lnTo>
                  <a:lnTo>
                    <a:pt x="48" y="79"/>
                  </a:lnTo>
                  <a:lnTo>
                    <a:pt x="42" y="89"/>
                  </a:lnTo>
                  <a:lnTo>
                    <a:pt x="48" y="98"/>
                  </a:lnTo>
                  <a:lnTo>
                    <a:pt x="42" y="108"/>
                  </a:lnTo>
                  <a:lnTo>
                    <a:pt x="35" y="124"/>
                  </a:lnTo>
                  <a:lnTo>
                    <a:pt x="35" y="140"/>
                  </a:lnTo>
                  <a:lnTo>
                    <a:pt x="23" y="159"/>
                  </a:lnTo>
                  <a:lnTo>
                    <a:pt x="23" y="172"/>
                  </a:lnTo>
                  <a:lnTo>
                    <a:pt x="7" y="188"/>
                  </a:lnTo>
                  <a:lnTo>
                    <a:pt x="0" y="223"/>
                  </a:lnTo>
                  <a:lnTo>
                    <a:pt x="0" y="229"/>
                  </a:lnTo>
                  <a:lnTo>
                    <a:pt x="13" y="229"/>
                  </a:lnTo>
                  <a:lnTo>
                    <a:pt x="20" y="223"/>
                  </a:lnTo>
                  <a:lnTo>
                    <a:pt x="32" y="216"/>
                  </a:lnTo>
                  <a:lnTo>
                    <a:pt x="32" y="223"/>
                  </a:lnTo>
                  <a:lnTo>
                    <a:pt x="32" y="229"/>
                  </a:lnTo>
                  <a:lnTo>
                    <a:pt x="13" y="235"/>
                  </a:lnTo>
                  <a:lnTo>
                    <a:pt x="13" y="245"/>
                  </a:lnTo>
                  <a:lnTo>
                    <a:pt x="20" y="251"/>
                  </a:lnTo>
                  <a:lnTo>
                    <a:pt x="32" y="245"/>
                  </a:lnTo>
                  <a:lnTo>
                    <a:pt x="42" y="245"/>
                  </a:lnTo>
                  <a:lnTo>
                    <a:pt x="35" y="251"/>
                  </a:lnTo>
                  <a:lnTo>
                    <a:pt x="42" y="270"/>
                  </a:lnTo>
                  <a:lnTo>
                    <a:pt x="35" y="283"/>
                  </a:lnTo>
                  <a:lnTo>
                    <a:pt x="35" y="312"/>
                  </a:lnTo>
                  <a:lnTo>
                    <a:pt x="32" y="328"/>
                  </a:lnTo>
                  <a:lnTo>
                    <a:pt x="23" y="331"/>
                  </a:lnTo>
                  <a:lnTo>
                    <a:pt x="32" y="340"/>
                  </a:lnTo>
                  <a:lnTo>
                    <a:pt x="48" y="328"/>
                  </a:lnTo>
                  <a:lnTo>
                    <a:pt x="71" y="340"/>
                  </a:lnTo>
                  <a:lnTo>
                    <a:pt x="77" y="344"/>
                  </a:lnTo>
                  <a:lnTo>
                    <a:pt x="93" y="331"/>
                  </a:lnTo>
                  <a:lnTo>
                    <a:pt x="112" y="331"/>
                  </a:lnTo>
                  <a:lnTo>
                    <a:pt x="112" y="328"/>
                  </a:lnTo>
                  <a:close/>
                </a:path>
              </a:pathLst>
            </a:custGeom>
            <a:solidFill>
              <a:schemeClr val="bg1"/>
            </a:solidFill>
            <a:ln w="6350">
              <a:solidFill>
                <a:schemeClr val="accent2"/>
              </a:solidFill>
              <a:round/>
              <a:headEnd/>
              <a:tailEnd/>
            </a:ln>
          </p:spPr>
          <p:txBody>
            <a:bodyPr/>
            <a:lstStyle/>
            <a:p>
              <a:endParaRPr lang="de-DE"/>
            </a:p>
          </p:txBody>
        </p:sp>
        <p:sp>
          <p:nvSpPr>
            <p:cNvPr id="239" name="Freeform 83"/>
            <p:cNvSpPr>
              <a:spLocks noEditPoints="1"/>
            </p:cNvSpPr>
            <p:nvPr/>
          </p:nvSpPr>
          <p:spPr bwMode="gray">
            <a:xfrm>
              <a:off x="3283" y="2234"/>
              <a:ext cx="474" cy="458"/>
            </a:xfrm>
            <a:custGeom>
              <a:avLst/>
              <a:gdLst>
                <a:gd name="T0" fmla="*/ 9641262 w 149"/>
                <a:gd name="T1" fmla="*/ 1162585 h 144"/>
                <a:gd name="T2" fmla="*/ 6376331 w 149"/>
                <a:gd name="T3" fmla="*/ 1603630 h 144"/>
                <a:gd name="T4" fmla="*/ 2433424 w 149"/>
                <a:gd name="T5" fmla="*/ 2867433 h 144"/>
                <a:gd name="T6" fmla="*/ 1697757 w 149"/>
                <a:gd name="T7" fmla="*/ 6127331 h 144"/>
                <a:gd name="T8" fmla="*/ 4038976 w 149"/>
                <a:gd name="T9" fmla="*/ 8260873 h 144"/>
                <a:gd name="T10" fmla="*/ 5937878 w 149"/>
                <a:gd name="T11" fmla="*/ 8890308 h 144"/>
                <a:gd name="T12" fmla="*/ 2875227 w 149"/>
                <a:gd name="T13" fmla="*/ 8890308 h 144"/>
                <a:gd name="T14" fmla="*/ 4468118 w 149"/>
                <a:gd name="T15" fmla="*/ 11559831 h 144"/>
                <a:gd name="T16" fmla="*/ 5506805 w 149"/>
                <a:gd name="T17" fmla="*/ 11760632 h 144"/>
                <a:gd name="T18" fmla="*/ 5736822 w 149"/>
                <a:gd name="T19" fmla="*/ 10291750 h 144"/>
                <a:gd name="T20" fmla="*/ 6911047 w 149"/>
                <a:gd name="T21" fmla="*/ 10291750 h 144"/>
                <a:gd name="T22" fmla="*/ 7540182 w 149"/>
                <a:gd name="T23" fmla="*/ 9331352 h 144"/>
                <a:gd name="T24" fmla="*/ 6376331 w 149"/>
                <a:gd name="T25" fmla="*/ 7529816 h 144"/>
                <a:gd name="T26" fmla="*/ 5736822 w 149"/>
                <a:gd name="T27" fmla="*/ 6031968 h 144"/>
                <a:gd name="T28" fmla="*/ 5506805 w 149"/>
                <a:gd name="T29" fmla="*/ 4964749 h 144"/>
                <a:gd name="T30" fmla="*/ 5506805 w 149"/>
                <a:gd name="T31" fmla="*/ 3298987 h 144"/>
                <a:gd name="T32" fmla="*/ 6911047 w 149"/>
                <a:gd name="T33" fmla="*/ 3927512 h 144"/>
                <a:gd name="T34" fmla="*/ 8078073 w 149"/>
                <a:gd name="T35" fmla="*/ 3697666 h 144"/>
                <a:gd name="T36" fmla="*/ 8704256 w 149"/>
                <a:gd name="T37" fmla="*/ 2334312 h 144"/>
                <a:gd name="T38" fmla="*/ 11579158 w 149"/>
                <a:gd name="T39" fmla="*/ 1801152 h 144"/>
                <a:gd name="T40" fmla="*/ 7540182 w 149"/>
                <a:gd name="T41" fmla="*/ 14522576 h 144"/>
                <a:gd name="T42" fmla="*/ 10174944 w 149"/>
                <a:gd name="T43" fmla="*/ 15257497 h 144"/>
                <a:gd name="T44" fmla="*/ 12315140 w 149"/>
                <a:gd name="T45" fmla="*/ 14522576 h 144"/>
                <a:gd name="T46" fmla="*/ 10814514 w 149"/>
                <a:gd name="T47" fmla="*/ 14282393 h 144"/>
                <a:gd name="T48" fmla="*/ 8474226 w 149"/>
                <a:gd name="T49" fmla="*/ 13884009 h 144"/>
                <a:gd name="T50" fmla="*/ 7847022 w 149"/>
                <a:gd name="T51" fmla="*/ 14084871 h 144"/>
                <a:gd name="T52" fmla="*/ 198059 w 149"/>
                <a:gd name="T53" fmla="*/ 5393411 h 144"/>
                <a:gd name="T54" fmla="*/ 2140196 w 149"/>
                <a:gd name="T55" fmla="*/ 7194553 h 144"/>
                <a:gd name="T56" fmla="*/ 2140196 w 149"/>
                <a:gd name="T57" fmla="*/ 8260873 h 144"/>
                <a:gd name="T58" fmla="*/ 1697757 w 149"/>
                <a:gd name="T59" fmla="*/ 8692398 h 144"/>
                <a:gd name="T60" fmla="*/ 2337354 w 149"/>
                <a:gd name="T61" fmla="*/ 9624228 h 144"/>
                <a:gd name="T62" fmla="*/ 13917534 w 149"/>
                <a:gd name="T63" fmla="*/ 13350846 h 144"/>
                <a:gd name="T64" fmla="*/ 13917534 w 149"/>
                <a:gd name="T65" fmla="*/ 14282393 h 144"/>
                <a:gd name="T66" fmla="*/ 15816317 w 149"/>
                <a:gd name="T67" fmla="*/ 12188264 h 144"/>
                <a:gd name="T68" fmla="*/ 14652466 w 149"/>
                <a:gd name="T69" fmla="*/ 13350846 h 144"/>
                <a:gd name="T70" fmla="*/ 12513291 w 149"/>
                <a:gd name="T71" fmla="*/ 9331352 h 144"/>
                <a:gd name="T72" fmla="*/ 12513291 w 149"/>
                <a:gd name="T73" fmla="*/ 9624228 h 144"/>
                <a:gd name="T74" fmla="*/ 11151362 w 149"/>
                <a:gd name="T75" fmla="*/ 8158338 h 144"/>
                <a:gd name="T76" fmla="*/ 10814514 w 149"/>
                <a:gd name="T77" fmla="*/ 6358086 h 144"/>
                <a:gd name="T78" fmla="*/ 12114187 w 149"/>
                <a:gd name="T79" fmla="*/ 6795884 h 144"/>
                <a:gd name="T80" fmla="*/ 11151362 w 149"/>
                <a:gd name="T81" fmla="*/ 6565131 h 144"/>
                <a:gd name="T82" fmla="*/ 9439885 w 149"/>
                <a:gd name="T83" fmla="*/ 4230826 h 144"/>
                <a:gd name="T84" fmla="*/ 9439885 w 149"/>
                <a:gd name="T85" fmla="*/ 4658448 h 144"/>
                <a:gd name="T86" fmla="*/ 8474226 w 149"/>
                <a:gd name="T87" fmla="*/ 2867433 h 144"/>
                <a:gd name="T88" fmla="*/ 6670551 w 149"/>
                <a:gd name="T89" fmla="*/ 6127331 h 144"/>
                <a:gd name="T90" fmla="*/ 9010874 w 149"/>
                <a:gd name="T91" fmla="*/ 7299032 h 144"/>
                <a:gd name="T92" fmla="*/ 11579158 w 149"/>
                <a:gd name="T93" fmla="*/ 10291750 h 144"/>
                <a:gd name="T94" fmla="*/ 8809847 w 149"/>
                <a:gd name="T95" fmla="*/ 11026713 h 144"/>
                <a:gd name="T96" fmla="*/ 8474226 w 149"/>
                <a:gd name="T97" fmla="*/ 9854083 h 144"/>
                <a:gd name="T98" fmla="*/ 10613490 w 149"/>
                <a:gd name="T99" fmla="*/ 11227472 h 144"/>
                <a:gd name="T100" fmla="*/ 10613490 w 149"/>
                <a:gd name="T101" fmla="*/ 10291750 h 144"/>
                <a:gd name="T102" fmla="*/ 9242116 w 149"/>
                <a:gd name="T103" fmla="*/ 9120030 h 144"/>
                <a:gd name="T104" fmla="*/ 5937878 w 149"/>
                <a:gd name="T105" fmla="*/ 6795884 h 144"/>
                <a:gd name="T106" fmla="*/ 8276135 w 149"/>
                <a:gd name="T107" fmla="*/ 7957448 h 144"/>
                <a:gd name="T108" fmla="*/ 8474226 w 149"/>
                <a:gd name="T109" fmla="*/ 9120030 h 144"/>
                <a:gd name="T110" fmla="*/ 6911047 w 149"/>
                <a:gd name="T111" fmla="*/ 7529816 h 144"/>
                <a:gd name="T112" fmla="*/ 6376331 w 149"/>
                <a:gd name="T113" fmla="*/ 12389154 h 144"/>
                <a:gd name="T114" fmla="*/ 6376331 w 149"/>
                <a:gd name="T115" fmla="*/ 12188264 h 14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49" h="144">
                  <a:moveTo>
                    <a:pt x="111" y="0"/>
                  </a:moveTo>
                  <a:cubicBezTo>
                    <a:pt x="109" y="0"/>
                    <a:pt x="109" y="0"/>
                    <a:pt x="109" y="0"/>
                  </a:cubicBezTo>
                  <a:cubicBezTo>
                    <a:pt x="105" y="4"/>
                    <a:pt x="105" y="4"/>
                    <a:pt x="105" y="4"/>
                  </a:cubicBezTo>
                  <a:cubicBezTo>
                    <a:pt x="105" y="7"/>
                    <a:pt x="105" y="7"/>
                    <a:pt x="105" y="7"/>
                  </a:cubicBezTo>
                  <a:cubicBezTo>
                    <a:pt x="105" y="11"/>
                    <a:pt x="105" y="11"/>
                    <a:pt x="105" y="11"/>
                  </a:cubicBezTo>
                  <a:cubicBezTo>
                    <a:pt x="103" y="13"/>
                    <a:pt x="103" y="13"/>
                    <a:pt x="103" y="13"/>
                  </a:cubicBezTo>
                  <a:cubicBezTo>
                    <a:pt x="96" y="13"/>
                    <a:pt x="96" y="13"/>
                    <a:pt x="96" y="13"/>
                  </a:cubicBezTo>
                  <a:cubicBezTo>
                    <a:pt x="92" y="13"/>
                    <a:pt x="92" y="13"/>
                    <a:pt x="92" y="13"/>
                  </a:cubicBezTo>
                  <a:cubicBezTo>
                    <a:pt x="91" y="11"/>
                    <a:pt x="91" y="11"/>
                    <a:pt x="91" y="11"/>
                  </a:cubicBezTo>
                  <a:cubicBezTo>
                    <a:pt x="87" y="11"/>
                    <a:pt x="87" y="11"/>
                    <a:pt x="87" y="11"/>
                  </a:cubicBezTo>
                  <a:cubicBezTo>
                    <a:pt x="85" y="15"/>
                    <a:pt x="85" y="15"/>
                    <a:pt x="85" y="15"/>
                  </a:cubicBezTo>
                  <a:cubicBezTo>
                    <a:pt x="82" y="13"/>
                    <a:pt x="82" y="13"/>
                    <a:pt x="82" y="13"/>
                  </a:cubicBezTo>
                  <a:cubicBezTo>
                    <a:pt x="80" y="11"/>
                    <a:pt x="80" y="11"/>
                    <a:pt x="80" y="11"/>
                  </a:cubicBezTo>
                  <a:cubicBezTo>
                    <a:pt x="76" y="11"/>
                    <a:pt x="76" y="11"/>
                    <a:pt x="76" y="11"/>
                  </a:cubicBezTo>
                  <a:cubicBezTo>
                    <a:pt x="72" y="9"/>
                    <a:pt x="72" y="9"/>
                    <a:pt x="72" y="9"/>
                  </a:cubicBezTo>
                  <a:cubicBezTo>
                    <a:pt x="69" y="13"/>
                    <a:pt x="69" y="13"/>
                    <a:pt x="69" y="13"/>
                  </a:cubicBezTo>
                  <a:cubicBezTo>
                    <a:pt x="65" y="15"/>
                    <a:pt x="65" y="15"/>
                    <a:pt x="65" y="15"/>
                  </a:cubicBezTo>
                  <a:cubicBezTo>
                    <a:pt x="60" y="15"/>
                    <a:pt x="60" y="15"/>
                    <a:pt x="60" y="15"/>
                  </a:cubicBezTo>
                  <a:cubicBezTo>
                    <a:pt x="58" y="13"/>
                    <a:pt x="58" y="13"/>
                    <a:pt x="58" y="13"/>
                  </a:cubicBezTo>
                  <a:cubicBezTo>
                    <a:pt x="54" y="15"/>
                    <a:pt x="54" y="15"/>
                    <a:pt x="54" y="15"/>
                  </a:cubicBezTo>
                  <a:cubicBezTo>
                    <a:pt x="52" y="15"/>
                    <a:pt x="52" y="15"/>
                    <a:pt x="52" y="15"/>
                  </a:cubicBezTo>
                  <a:cubicBezTo>
                    <a:pt x="47" y="18"/>
                    <a:pt x="47" y="18"/>
                    <a:pt x="47" y="18"/>
                  </a:cubicBezTo>
                  <a:cubicBezTo>
                    <a:pt x="40" y="17"/>
                    <a:pt x="40" y="17"/>
                    <a:pt x="40" y="17"/>
                  </a:cubicBezTo>
                  <a:cubicBezTo>
                    <a:pt x="36" y="20"/>
                    <a:pt x="36" y="20"/>
                    <a:pt x="36" y="20"/>
                  </a:cubicBezTo>
                  <a:cubicBezTo>
                    <a:pt x="36" y="20"/>
                    <a:pt x="36" y="20"/>
                    <a:pt x="36" y="20"/>
                  </a:cubicBezTo>
                  <a:cubicBezTo>
                    <a:pt x="31" y="22"/>
                    <a:pt x="31" y="22"/>
                    <a:pt x="31" y="22"/>
                  </a:cubicBezTo>
                  <a:cubicBezTo>
                    <a:pt x="23" y="27"/>
                    <a:pt x="23" y="27"/>
                    <a:pt x="23" y="27"/>
                  </a:cubicBezTo>
                  <a:cubicBezTo>
                    <a:pt x="23" y="31"/>
                    <a:pt x="23" y="31"/>
                    <a:pt x="23" y="31"/>
                  </a:cubicBezTo>
                  <a:cubicBezTo>
                    <a:pt x="20" y="37"/>
                    <a:pt x="20" y="37"/>
                    <a:pt x="20" y="37"/>
                  </a:cubicBezTo>
                  <a:cubicBezTo>
                    <a:pt x="14" y="38"/>
                    <a:pt x="14" y="38"/>
                    <a:pt x="14" y="38"/>
                  </a:cubicBezTo>
                  <a:cubicBezTo>
                    <a:pt x="13" y="42"/>
                    <a:pt x="13" y="42"/>
                    <a:pt x="13" y="42"/>
                  </a:cubicBezTo>
                  <a:cubicBezTo>
                    <a:pt x="11" y="47"/>
                    <a:pt x="11" y="47"/>
                    <a:pt x="11" y="47"/>
                  </a:cubicBezTo>
                  <a:cubicBezTo>
                    <a:pt x="9" y="49"/>
                    <a:pt x="9" y="49"/>
                    <a:pt x="9" y="49"/>
                  </a:cubicBezTo>
                  <a:cubicBezTo>
                    <a:pt x="9" y="49"/>
                    <a:pt x="9" y="49"/>
                    <a:pt x="9" y="49"/>
                  </a:cubicBezTo>
                  <a:cubicBezTo>
                    <a:pt x="9" y="55"/>
                    <a:pt x="9" y="55"/>
                    <a:pt x="9" y="55"/>
                  </a:cubicBezTo>
                  <a:cubicBezTo>
                    <a:pt x="16" y="58"/>
                    <a:pt x="16" y="58"/>
                    <a:pt x="16" y="58"/>
                  </a:cubicBezTo>
                  <a:cubicBezTo>
                    <a:pt x="20" y="64"/>
                    <a:pt x="20" y="64"/>
                    <a:pt x="20" y="64"/>
                  </a:cubicBezTo>
                  <a:cubicBezTo>
                    <a:pt x="22" y="64"/>
                    <a:pt x="22" y="64"/>
                    <a:pt x="22" y="64"/>
                  </a:cubicBezTo>
                  <a:cubicBezTo>
                    <a:pt x="20" y="66"/>
                    <a:pt x="20" y="66"/>
                    <a:pt x="20" y="66"/>
                  </a:cubicBezTo>
                  <a:cubicBezTo>
                    <a:pt x="25" y="73"/>
                    <a:pt x="25" y="73"/>
                    <a:pt x="25" y="73"/>
                  </a:cubicBezTo>
                  <a:cubicBezTo>
                    <a:pt x="27" y="77"/>
                    <a:pt x="27" y="77"/>
                    <a:pt x="27" y="77"/>
                  </a:cubicBezTo>
                  <a:cubicBezTo>
                    <a:pt x="29" y="78"/>
                    <a:pt x="29" y="78"/>
                    <a:pt x="29" y="78"/>
                  </a:cubicBezTo>
                  <a:cubicBezTo>
                    <a:pt x="31" y="75"/>
                    <a:pt x="31" y="75"/>
                    <a:pt x="31" y="75"/>
                  </a:cubicBezTo>
                  <a:cubicBezTo>
                    <a:pt x="34" y="78"/>
                    <a:pt x="34" y="78"/>
                    <a:pt x="34" y="78"/>
                  </a:cubicBezTo>
                  <a:cubicBezTo>
                    <a:pt x="38" y="78"/>
                    <a:pt x="38" y="78"/>
                    <a:pt x="38" y="78"/>
                  </a:cubicBezTo>
                  <a:cubicBezTo>
                    <a:pt x="40" y="77"/>
                    <a:pt x="40" y="77"/>
                    <a:pt x="40" y="77"/>
                  </a:cubicBezTo>
                  <a:cubicBezTo>
                    <a:pt x="43" y="77"/>
                    <a:pt x="43" y="77"/>
                    <a:pt x="43" y="77"/>
                  </a:cubicBezTo>
                  <a:cubicBezTo>
                    <a:pt x="47" y="78"/>
                    <a:pt x="47" y="78"/>
                    <a:pt x="47" y="78"/>
                  </a:cubicBezTo>
                  <a:cubicBezTo>
                    <a:pt x="51" y="78"/>
                    <a:pt x="51" y="78"/>
                    <a:pt x="51" y="78"/>
                  </a:cubicBezTo>
                  <a:cubicBezTo>
                    <a:pt x="51" y="80"/>
                    <a:pt x="51" y="80"/>
                    <a:pt x="51" y="80"/>
                  </a:cubicBezTo>
                  <a:cubicBezTo>
                    <a:pt x="52" y="80"/>
                    <a:pt x="52" y="80"/>
                    <a:pt x="52" y="80"/>
                  </a:cubicBezTo>
                  <a:cubicBezTo>
                    <a:pt x="54" y="82"/>
                    <a:pt x="54" y="82"/>
                    <a:pt x="54" y="82"/>
                  </a:cubicBezTo>
                  <a:cubicBezTo>
                    <a:pt x="58" y="82"/>
                    <a:pt x="58" y="82"/>
                    <a:pt x="58" y="82"/>
                  </a:cubicBezTo>
                  <a:cubicBezTo>
                    <a:pt x="56" y="84"/>
                    <a:pt x="56" y="84"/>
                    <a:pt x="56" y="84"/>
                  </a:cubicBezTo>
                  <a:cubicBezTo>
                    <a:pt x="52" y="86"/>
                    <a:pt x="52" y="86"/>
                    <a:pt x="52" y="86"/>
                  </a:cubicBezTo>
                  <a:cubicBezTo>
                    <a:pt x="51" y="84"/>
                    <a:pt x="51" y="84"/>
                    <a:pt x="51" y="84"/>
                  </a:cubicBezTo>
                  <a:cubicBezTo>
                    <a:pt x="47" y="84"/>
                    <a:pt x="47" y="84"/>
                    <a:pt x="47" y="84"/>
                  </a:cubicBezTo>
                  <a:cubicBezTo>
                    <a:pt x="42" y="78"/>
                    <a:pt x="42" y="78"/>
                    <a:pt x="42" y="78"/>
                  </a:cubicBezTo>
                  <a:cubicBezTo>
                    <a:pt x="38" y="80"/>
                    <a:pt x="38" y="80"/>
                    <a:pt x="38" y="80"/>
                  </a:cubicBezTo>
                  <a:cubicBezTo>
                    <a:pt x="34" y="82"/>
                    <a:pt x="34" y="82"/>
                    <a:pt x="34" y="82"/>
                  </a:cubicBezTo>
                  <a:cubicBezTo>
                    <a:pt x="33" y="80"/>
                    <a:pt x="33" y="80"/>
                    <a:pt x="33" y="80"/>
                  </a:cubicBezTo>
                  <a:cubicBezTo>
                    <a:pt x="29" y="84"/>
                    <a:pt x="29" y="84"/>
                    <a:pt x="29" y="84"/>
                  </a:cubicBezTo>
                  <a:cubicBezTo>
                    <a:pt x="27" y="84"/>
                    <a:pt x="27" y="84"/>
                    <a:pt x="27" y="84"/>
                  </a:cubicBezTo>
                  <a:cubicBezTo>
                    <a:pt x="27" y="86"/>
                    <a:pt x="27" y="86"/>
                    <a:pt x="27" y="86"/>
                  </a:cubicBezTo>
                  <a:cubicBezTo>
                    <a:pt x="31" y="91"/>
                    <a:pt x="31" y="91"/>
                    <a:pt x="31" y="91"/>
                  </a:cubicBezTo>
                  <a:cubicBezTo>
                    <a:pt x="34" y="93"/>
                    <a:pt x="34" y="93"/>
                    <a:pt x="34" y="93"/>
                  </a:cubicBezTo>
                  <a:cubicBezTo>
                    <a:pt x="38" y="97"/>
                    <a:pt x="38" y="97"/>
                    <a:pt x="38" y="97"/>
                  </a:cubicBezTo>
                  <a:cubicBezTo>
                    <a:pt x="38" y="98"/>
                    <a:pt x="38" y="98"/>
                    <a:pt x="38" y="98"/>
                  </a:cubicBezTo>
                  <a:cubicBezTo>
                    <a:pt x="36" y="100"/>
                    <a:pt x="36" y="100"/>
                    <a:pt x="36" y="100"/>
                  </a:cubicBezTo>
                  <a:cubicBezTo>
                    <a:pt x="36" y="104"/>
                    <a:pt x="36" y="104"/>
                    <a:pt x="36" y="104"/>
                  </a:cubicBezTo>
                  <a:cubicBezTo>
                    <a:pt x="40" y="108"/>
                    <a:pt x="40" y="108"/>
                    <a:pt x="40" y="108"/>
                  </a:cubicBezTo>
                  <a:cubicBezTo>
                    <a:pt x="42" y="109"/>
                    <a:pt x="42" y="109"/>
                    <a:pt x="42" y="109"/>
                  </a:cubicBezTo>
                  <a:cubicBezTo>
                    <a:pt x="43" y="108"/>
                    <a:pt x="43" y="108"/>
                    <a:pt x="43" y="108"/>
                  </a:cubicBezTo>
                  <a:cubicBezTo>
                    <a:pt x="42" y="106"/>
                    <a:pt x="42" y="106"/>
                    <a:pt x="42" y="106"/>
                  </a:cubicBezTo>
                  <a:cubicBezTo>
                    <a:pt x="43" y="102"/>
                    <a:pt x="43" y="102"/>
                    <a:pt x="43" y="102"/>
                  </a:cubicBezTo>
                  <a:cubicBezTo>
                    <a:pt x="45" y="108"/>
                    <a:pt x="45" y="108"/>
                    <a:pt x="45" y="108"/>
                  </a:cubicBezTo>
                  <a:cubicBezTo>
                    <a:pt x="49" y="109"/>
                    <a:pt x="49" y="109"/>
                    <a:pt x="49" y="109"/>
                  </a:cubicBezTo>
                  <a:cubicBezTo>
                    <a:pt x="51" y="111"/>
                    <a:pt x="51" y="111"/>
                    <a:pt x="51" y="111"/>
                  </a:cubicBezTo>
                  <a:cubicBezTo>
                    <a:pt x="49" y="115"/>
                    <a:pt x="49" y="115"/>
                    <a:pt x="49" y="115"/>
                  </a:cubicBezTo>
                  <a:cubicBezTo>
                    <a:pt x="52" y="117"/>
                    <a:pt x="52" y="117"/>
                    <a:pt x="52" y="117"/>
                  </a:cubicBezTo>
                  <a:cubicBezTo>
                    <a:pt x="52" y="111"/>
                    <a:pt x="52" y="111"/>
                    <a:pt x="52" y="111"/>
                  </a:cubicBezTo>
                  <a:cubicBezTo>
                    <a:pt x="52" y="108"/>
                    <a:pt x="52" y="108"/>
                    <a:pt x="52" y="108"/>
                  </a:cubicBezTo>
                  <a:cubicBezTo>
                    <a:pt x="56" y="108"/>
                    <a:pt x="56" y="108"/>
                    <a:pt x="56" y="108"/>
                  </a:cubicBezTo>
                  <a:cubicBezTo>
                    <a:pt x="58" y="111"/>
                    <a:pt x="58" y="111"/>
                    <a:pt x="58" y="111"/>
                  </a:cubicBezTo>
                  <a:cubicBezTo>
                    <a:pt x="63" y="115"/>
                    <a:pt x="63" y="115"/>
                    <a:pt x="63" y="115"/>
                  </a:cubicBezTo>
                  <a:cubicBezTo>
                    <a:pt x="60" y="111"/>
                    <a:pt x="60" y="111"/>
                    <a:pt x="60" y="111"/>
                  </a:cubicBezTo>
                  <a:cubicBezTo>
                    <a:pt x="62" y="108"/>
                    <a:pt x="62" y="108"/>
                    <a:pt x="62" y="108"/>
                  </a:cubicBezTo>
                  <a:cubicBezTo>
                    <a:pt x="60" y="106"/>
                    <a:pt x="60" y="106"/>
                    <a:pt x="60" y="106"/>
                  </a:cubicBezTo>
                  <a:cubicBezTo>
                    <a:pt x="56" y="98"/>
                    <a:pt x="56" y="98"/>
                    <a:pt x="56" y="98"/>
                  </a:cubicBezTo>
                  <a:cubicBezTo>
                    <a:pt x="54" y="97"/>
                    <a:pt x="54" y="97"/>
                    <a:pt x="54" y="97"/>
                  </a:cubicBezTo>
                  <a:cubicBezTo>
                    <a:pt x="54" y="95"/>
                    <a:pt x="54" y="95"/>
                    <a:pt x="54" y="95"/>
                  </a:cubicBezTo>
                  <a:cubicBezTo>
                    <a:pt x="56" y="95"/>
                    <a:pt x="56" y="95"/>
                    <a:pt x="56" y="95"/>
                  </a:cubicBezTo>
                  <a:cubicBezTo>
                    <a:pt x="62" y="97"/>
                    <a:pt x="62" y="97"/>
                    <a:pt x="62" y="97"/>
                  </a:cubicBezTo>
                  <a:cubicBezTo>
                    <a:pt x="60" y="98"/>
                    <a:pt x="60" y="98"/>
                    <a:pt x="60" y="98"/>
                  </a:cubicBezTo>
                  <a:cubicBezTo>
                    <a:pt x="62" y="98"/>
                    <a:pt x="62" y="98"/>
                    <a:pt x="62" y="98"/>
                  </a:cubicBezTo>
                  <a:cubicBezTo>
                    <a:pt x="63" y="97"/>
                    <a:pt x="63" y="97"/>
                    <a:pt x="63" y="97"/>
                  </a:cubicBezTo>
                  <a:cubicBezTo>
                    <a:pt x="67" y="98"/>
                    <a:pt x="67" y="98"/>
                    <a:pt x="67" y="98"/>
                  </a:cubicBezTo>
                  <a:cubicBezTo>
                    <a:pt x="67" y="97"/>
                    <a:pt x="67" y="97"/>
                    <a:pt x="67" y="97"/>
                  </a:cubicBezTo>
                  <a:cubicBezTo>
                    <a:pt x="65" y="97"/>
                    <a:pt x="65" y="97"/>
                    <a:pt x="65" y="97"/>
                  </a:cubicBezTo>
                  <a:cubicBezTo>
                    <a:pt x="65" y="95"/>
                    <a:pt x="65" y="95"/>
                    <a:pt x="65" y="95"/>
                  </a:cubicBezTo>
                  <a:cubicBezTo>
                    <a:pt x="63" y="95"/>
                    <a:pt x="63" y="95"/>
                    <a:pt x="63" y="95"/>
                  </a:cubicBezTo>
                  <a:cubicBezTo>
                    <a:pt x="60" y="93"/>
                    <a:pt x="60" y="93"/>
                    <a:pt x="60" y="93"/>
                  </a:cubicBezTo>
                  <a:cubicBezTo>
                    <a:pt x="62" y="91"/>
                    <a:pt x="62" y="91"/>
                    <a:pt x="62" y="91"/>
                  </a:cubicBezTo>
                  <a:cubicBezTo>
                    <a:pt x="58" y="88"/>
                    <a:pt x="58" y="88"/>
                    <a:pt x="58" y="88"/>
                  </a:cubicBezTo>
                  <a:cubicBezTo>
                    <a:pt x="62" y="86"/>
                    <a:pt x="62" y="86"/>
                    <a:pt x="62" y="86"/>
                  </a:cubicBezTo>
                  <a:cubicBezTo>
                    <a:pt x="63" y="86"/>
                    <a:pt x="63" y="86"/>
                    <a:pt x="63" y="86"/>
                  </a:cubicBezTo>
                  <a:cubicBezTo>
                    <a:pt x="65" y="86"/>
                    <a:pt x="65" y="86"/>
                    <a:pt x="65" y="86"/>
                  </a:cubicBezTo>
                  <a:cubicBezTo>
                    <a:pt x="71" y="88"/>
                    <a:pt x="71" y="88"/>
                    <a:pt x="71" y="88"/>
                  </a:cubicBezTo>
                  <a:cubicBezTo>
                    <a:pt x="71" y="89"/>
                    <a:pt x="71" y="89"/>
                    <a:pt x="71" y="89"/>
                  </a:cubicBezTo>
                  <a:cubicBezTo>
                    <a:pt x="74" y="89"/>
                    <a:pt x="74" y="89"/>
                    <a:pt x="74" y="89"/>
                  </a:cubicBezTo>
                  <a:cubicBezTo>
                    <a:pt x="74" y="88"/>
                    <a:pt x="74" y="88"/>
                    <a:pt x="74" y="88"/>
                  </a:cubicBezTo>
                  <a:cubicBezTo>
                    <a:pt x="72" y="84"/>
                    <a:pt x="72" y="84"/>
                    <a:pt x="72" y="84"/>
                  </a:cubicBezTo>
                  <a:cubicBezTo>
                    <a:pt x="72" y="80"/>
                    <a:pt x="72" y="80"/>
                    <a:pt x="72" y="80"/>
                  </a:cubicBezTo>
                  <a:cubicBezTo>
                    <a:pt x="72" y="78"/>
                    <a:pt x="72" y="78"/>
                    <a:pt x="72" y="78"/>
                  </a:cubicBezTo>
                  <a:cubicBezTo>
                    <a:pt x="63" y="73"/>
                    <a:pt x="63" y="73"/>
                    <a:pt x="63" y="73"/>
                  </a:cubicBezTo>
                  <a:cubicBezTo>
                    <a:pt x="62" y="73"/>
                    <a:pt x="62" y="73"/>
                    <a:pt x="62" y="73"/>
                  </a:cubicBezTo>
                  <a:cubicBezTo>
                    <a:pt x="60" y="71"/>
                    <a:pt x="60" y="71"/>
                    <a:pt x="60" y="71"/>
                  </a:cubicBezTo>
                  <a:cubicBezTo>
                    <a:pt x="58" y="71"/>
                    <a:pt x="58" y="71"/>
                    <a:pt x="58" y="71"/>
                  </a:cubicBezTo>
                  <a:cubicBezTo>
                    <a:pt x="56" y="69"/>
                    <a:pt x="56" y="69"/>
                    <a:pt x="56" y="69"/>
                  </a:cubicBezTo>
                  <a:cubicBezTo>
                    <a:pt x="52" y="68"/>
                    <a:pt x="52" y="68"/>
                    <a:pt x="52" y="68"/>
                  </a:cubicBezTo>
                  <a:cubicBezTo>
                    <a:pt x="49" y="66"/>
                    <a:pt x="49" y="66"/>
                    <a:pt x="49" y="66"/>
                  </a:cubicBezTo>
                  <a:cubicBezTo>
                    <a:pt x="52" y="64"/>
                    <a:pt x="52" y="64"/>
                    <a:pt x="52" y="64"/>
                  </a:cubicBezTo>
                  <a:cubicBezTo>
                    <a:pt x="56" y="62"/>
                    <a:pt x="56" y="62"/>
                    <a:pt x="56" y="62"/>
                  </a:cubicBezTo>
                  <a:cubicBezTo>
                    <a:pt x="56" y="60"/>
                    <a:pt x="56" y="60"/>
                    <a:pt x="56" y="60"/>
                  </a:cubicBezTo>
                  <a:cubicBezTo>
                    <a:pt x="52" y="60"/>
                    <a:pt x="52" y="60"/>
                    <a:pt x="52" y="60"/>
                  </a:cubicBezTo>
                  <a:cubicBezTo>
                    <a:pt x="54" y="57"/>
                    <a:pt x="54" y="57"/>
                    <a:pt x="54" y="57"/>
                  </a:cubicBezTo>
                  <a:cubicBezTo>
                    <a:pt x="54" y="55"/>
                    <a:pt x="54" y="55"/>
                    <a:pt x="54" y="55"/>
                  </a:cubicBezTo>
                  <a:cubicBezTo>
                    <a:pt x="56" y="57"/>
                    <a:pt x="56" y="57"/>
                    <a:pt x="56" y="57"/>
                  </a:cubicBezTo>
                  <a:cubicBezTo>
                    <a:pt x="58" y="58"/>
                    <a:pt x="58" y="58"/>
                    <a:pt x="58" y="58"/>
                  </a:cubicBezTo>
                  <a:cubicBezTo>
                    <a:pt x="58" y="60"/>
                    <a:pt x="58" y="60"/>
                    <a:pt x="58" y="60"/>
                  </a:cubicBezTo>
                  <a:cubicBezTo>
                    <a:pt x="58" y="62"/>
                    <a:pt x="58" y="62"/>
                    <a:pt x="58" y="62"/>
                  </a:cubicBezTo>
                  <a:cubicBezTo>
                    <a:pt x="60" y="62"/>
                    <a:pt x="60" y="62"/>
                    <a:pt x="60" y="62"/>
                  </a:cubicBezTo>
                  <a:cubicBezTo>
                    <a:pt x="62" y="57"/>
                    <a:pt x="62" y="57"/>
                    <a:pt x="62" y="57"/>
                  </a:cubicBezTo>
                  <a:cubicBezTo>
                    <a:pt x="58" y="55"/>
                    <a:pt x="58" y="55"/>
                    <a:pt x="58" y="55"/>
                  </a:cubicBezTo>
                  <a:cubicBezTo>
                    <a:pt x="52" y="47"/>
                    <a:pt x="52" y="47"/>
                    <a:pt x="52" y="47"/>
                  </a:cubicBezTo>
                  <a:cubicBezTo>
                    <a:pt x="51" y="46"/>
                    <a:pt x="51" y="46"/>
                    <a:pt x="51" y="46"/>
                  </a:cubicBezTo>
                  <a:cubicBezTo>
                    <a:pt x="51" y="44"/>
                    <a:pt x="51" y="44"/>
                    <a:pt x="51" y="44"/>
                  </a:cubicBezTo>
                  <a:cubicBezTo>
                    <a:pt x="47" y="40"/>
                    <a:pt x="47" y="40"/>
                    <a:pt x="47" y="40"/>
                  </a:cubicBezTo>
                  <a:cubicBezTo>
                    <a:pt x="49" y="38"/>
                    <a:pt x="49" y="38"/>
                    <a:pt x="49" y="38"/>
                  </a:cubicBezTo>
                  <a:cubicBezTo>
                    <a:pt x="47" y="33"/>
                    <a:pt x="47" y="33"/>
                    <a:pt x="47" y="33"/>
                  </a:cubicBezTo>
                  <a:cubicBezTo>
                    <a:pt x="49" y="29"/>
                    <a:pt x="49" y="29"/>
                    <a:pt x="49" y="29"/>
                  </a:cubicBezTo>
                  <a:cubicBezTo>
                    <a:pt x="54" y="27"/>
                    <a:pt x="54" y="27"/>
                    <a:pt x="54" y="27"/>
                  </a:cubicBezTo>
                  <a:cubicBezTo>
                    <a:pt x="54" y="31"/>
                    <a:pt x="54" y="31"/>
                    <a:pt x="54" y="31"/>
                  </a:cubicBezTo>
                  <a:cubicBezTo>
                    <a:pt x="52" y="31"/>
                    <a:pt x="52" y="31"/>
                    <a:pt x="52" y="31"/>
                  </a:cubicBezTo>
                  <a:cubicBezTo>
                    <a:pt x="52" y="33"/>
                    <a:pt x="52" y="33"/>
                    <a:pt x="52" y="33"/>
                  </a:cubicBezTo>
                  <a:cubicBezTo>
                    <a:pt x="58" y="35"/>
                    <a:pt x="58" y="35"/>
                    <a:pt x="58" y="35"/>
                  </a:cubicBezTo>
                  <a:cubicBezTo>
                    <a:pt x="58" y="40"/>
                    <a:pt x="58" y="40"/>
                    <a:pt x="58" y="40"/>
                  </a:cubicBezTo>
                  <a:cubicBezTo>
                    <a:pt x="62" y="42"/>
                    <a:pt x="62" y="42"/>
                    <a:pt x="62" y="42"/>
                  </a:cubicBezTo>
                  <a:cubicBezTo>
                    <a:pt x="65" y="42"/>
                    <a:pt x="65" y="42"/>
                    <a:pt x="65" y="42"/>
                  </a:cubicBezTo>
                  <a:cubicBezTo>
                    <a:pt x="63" y="40"/>
                    <a:pt x="63" y="40"/>
                    <a:pt x="63" y="40"/>
                  </a:cubicBezTo>
                  <a:cubicBezTo>
                    <a:pt x="62" y="38"/>
                    <a:pt x="62" y="38"/>
                    <a:pt x="62" y="38"/>
                  </a:cubicBezTo>
                  <a:cubicBezTo>
                    <a:pt x="62" y="35"/>
                    <a:pt x="62" y="35"/>
                    <a:pt x="62" y="35"/>
                  </a:cubicBezTo>
                  <a:cubicBezTo>
                    <a:pt x="65" y="37"/>
                    <a:pt x="65" y="37"/>
                    <a:pt x="65" y="37"/>
                  </a:cubicBezTo>
                  <a:cubicBezTo>
                    <a:pt x="69" y="40"/>
                    <a:pt x="69" y="40"/>
                    <a:pt x="69" y="40"/>
                  </a:cubicBezTo>
                  <a:cubicBezTo>
                    <a:pt x="71" y="42"/>
                    <a:pt x="71" y="42"/>
                    <a:pt x="71" y="42"/>
                  </a:cubicBezTo>
                  <a:cubicBezTo>
                    <a:pt x="72" y="38"/>
                    <a:pt x="72" y="38"/>
                    <a:pt x="72" y="38"/>
                  </a:cubicBezTo>
                  <a:cubicBezTo>
                    <a:pt x="69" y="37"/>
                    <a:pt x="69" y="37"/>
                    <a:pt x="69" y="37"/>
                  </a:cubicBezTo>
                  <a:cubicBezTo>
                    <a:pt x="67" y="37"/>
                    <a:pt x="67" y="37"/>
                    <a:pt x="67" y="37"/>
                  </a:cubicBezTo>
                  <a:cubicBezTo>
                    <a:pt x="67" y="35"/>
                    <a:pt x="67" y="35"/>
                    <a:pt x="67" y="35"/>
                  </a:cubicBezTo>
                  <a:cubicBezTo>
                    <a:pt x="74" y="35"/>
                    <a:pt x="74" y="35"/>
                    <a:pt x="74" y="35"/>
                  </a:cubicBezTo>
                  <a:cubicBezTo>
                    <a:pt x="76" y="37"/>
                    <a:pt x="76" y="37"/>
                    <a:pt x="76" y="37"/>
                  </a:cubicBezTo>
                  <a:cubicBezTo>
                    <a:pt x="76" y="35"/>
                    <a:pt x="76" y="35"/>
                    <a:pt x="76" y="35"/>
                  </a:cubicBezTo>
                  <a:cubicBezTo>
                    <a:pt x="72" y="33"/>
                    <a:pt x="72" y="33"/>
                    <a:pt x="72" y="33"/>
                  </a:cubicBezTo>
                  <a:cubicBezTo>
                    <a:pt x="69" y="31"/>
                    <a:pt x="69" y="31"/>
                    <a:pt x="69" y="31"/>
                  </a:cubicBezTo>
                  <a:cubicBezTo>
                    <a:pt x="67" y="27"/>
                    <a:pt x="67" y="27"/>
                    <a:pt x="67" y="27"/>
                  </a:cubicBezTo>
                  <a:cubicBezTo>
                    <a:pt x="69" y="26"/>
                    <a:pt x="69" y="26"/>
                    <a:pt x="69" y="26"/>
                  </a:cubicBezTo>
                  <a:cubicBezTo>
                    <a:pt x="71" y="27"/>
                    <a:pt x="71" y="27"/>
                    <a:pt x="71" y="27"/>
                  </a:cubicBezTo>
                  <a:cubicBezTo>
                    <a:pt x="74" y="26"/>
                    <a:pt x="74" y="26"/>
                    <a:pt x="74" y="26"/>
                  </a:cubicBezTo>
                  <a:cubicBezTo>
                    <a:pt x="76" y="20"/>
                    <a:pt x="76" y="20"/>
                    <a:pt x="76" y="20"/>
                  </a:cubicBezTo>
                  <a:cubicBezTo>
                    <a:pt x="78" y="20"/>
                    <a:pt x="78" y="20"/>
                    <a:pt x="78" y="20"/>
                  </a:cubicBezTo>
                  <a:cubicBezTo>
                    <a:pt x="82" y="22"/>
                    <a:pt x="82" y="22"/>
                    <a:pt x="82" y="22"/>
                  </a:cubicBezTo>
                  <a:cubicBezTo>
                    <a:pt x="85" y="24"/>
                    <a:pt x="85" y="24"/>
                    <a:pt x="85" y="24"/>
                  </a:cubicBezTo>
                  <a:cubicBezTo>
                    <a:pt x="87" y="20"/>
                    <a:pt x="87" y="20"/>
                    <a:pt x="87" y="20"/>
                  </a:cubicBezTo>
                  <a:cubicBezTo>
                    <a:pt x="89" y="18"/>
                    <a:pt x="89" y="18"/>
                    <a:pt x="89" y="18"/>
                  </a:cubicBezTo>
                  <a:cubicBezTo>
                    <a:pt x="89" y="18"/>
                    <a:pt x="89" y="18"/>
                    <a:pt x="89" y="18"/>
                  </a:cubicBezTo>
                  <a:cubicBezTo>
                    <a:pt x="92" y="20"/>
                    <a:pt x="92" y="20"/>
                    <a:pt x="92" y="20"/>
                  </a:cubicBezTo>
                  <a:cubicBezTo>
                    <a:pt x="98" y="20"/>
                    <a:pt x="98" y="20"/>
                    <a:pt x="98" y="20"/>
                  </a:cubicBezTo>
                  <a:cubicBezTo>
                    <a:pt x="103" y="22"/>
                    <a:pt x="103" y="22"/>
                    <a:pt x="103" y="22"/>
                  </a:cubicBezTo>
                  <a:cubicBezTo>
                    <a:pt x="107" y="22"/>
                    <a:pt x="107" y="22"/>
                    <a:pt x="107" y="22"/>
                  </a:cubicBezTo>
                  <a:cubicBezTo>
                    <a:pt x="109" y="17"/>
                    <a:pt x="109" y="17"/>
                    <a:pt x="109" y="17"/>
                  </a:cubicBezTo>
                  <a:cubicBezTo>
                    <a:pt x="109" y="13"/>
                    <a:pt x="109" y="13"/>
                    <a:pt x="109" y="13"/>
                  </a:cubicBezTo>
                  <a:cubicBezTo>
                    <a:pt x="114" y="11"/>
                    <a:pt x="114" y="11"/>
                    <a:pt x="114" y="11"/>
                  </a:cubicBezTo>
                  <a:cubicBezTo>
                    <a:pt x="114" y="7"/>
                    <a:pt x="114" y="7"/>
                    <a:pt x="114" y="7"/>
                  </a:cubicBezTo>
                  <a:cubicBezTo>
                    <a:pt x="111" y="6"/>
                    <a:pt x="111" y="6"/>
                    <a:pt x="111" y="6"/>
                  </a:cubicBezTo>
                  <a:cubicBezTo>
                    <a:pt x="111" y="0"/>
                    <a:pt x="111" y="0"/>
                    <a:pt x="111" y="0"/>
                  </a:cubicBezTo>
                  <a:close/>
                  <a:moveTo>
                    <a:pt x="72" y="135"/>
                  </a:moveTo>
                  <a:cubicBezTo>
                    <a:pt x="71" y="131"/>
                    <a:pt x="71" y="131"/>
                    <a:pt x="71" y="131"/>
                  </a:cubicBezTo>
                  <a:cubicBezTo>
                    <a:pt x="71" y="135"/>
                    <a:pt x="71" y="135"/>
                    <a:pt x="71" y="135"/>
                  </a:cubicBezTo>
                  <a:cubicBezTo>
                    <a:pt x="71" y="137"/>
                    <a:pt x="71" y="137"/>
                    <a:pt x="71" y="137"/>
                  </a:cubicBezTo>
                  <a:cubicBezTo>
                    <a:pt x="71" y="139"/>
                    <a:pt x="71" y="139"/>
                    <a:pt x="71" y="139"/>
                  </a:cubicBezTo>
                  <a:cubicBezTo>
                    <a:pt x="72" y="140"/>
                    <a:pt x="72" y="140"/>
                    <a:pt x="72" y="140"/>
                  </a:cubicBezTo>
                  <a:cubicBezTo>
                    <a:pt x="78" y="140"/>
                    <a:pt x="78" y="140"/>
                    <a:pt x="78" y="140"/>
                  </a:cubicBezTo>
                  <a:cubicBezTo>
                    <a:pt x="82" y="140"/>
                    <a:pt x="82" y="140"/>
                    <a:pt x="82" y="140"/>
                  </a:cubicBezTo>
                  <a:cubicBezTo>
                    <a:pt x="83" y="139"/>
                    <a:pt x="83" y="139"/>
                    <a:pt x="83" y="139"/>
                  </a:cubicBezTo>
                  <a:cubicBezTo>
                    <a:pt x="87" y="140"/>
                    <a:pt x="87" y="140"/>
                    <a:pt x="87" y="140"/>
                  </a:cubicBezTo>
                  <a:cubicBezTo>
                    <a:pt x="91" y="142"/>
                    <a:pt x="91" y="142"/>
                    <a:pt x="91" y="142"/>
                  </a:cubicBezTo>
                  <a:cubicBezTo>
                    <a:pt x="91" y="144"/>
                    <a:pt x="91" y="144"/>
                    <a:pt x="91" y="144"/>
                  </a:cubicBezTo>
                  <a:cubicBezTo>
                    <a:pt x="96" y="144"/>
                    <a:pt x="96" y="144"/>
                    <a:pt x="96" y="144"/>
                  </a:cubicBezTo>
                  <a:cubicBezTo>
                    <a:pt x="98" y="142"/>
                    <a:pt x="98" y="142"/>
                    <a:pt x="98" y="142"/>
                  </a:cubicBezTo>
                  <a:cubicBezTo>
                    <a:pt x="103" y="142"/>
                    <a:pt x="103" y="142"/>
                    <a:pt x="103" y="142"/>
                  </a:cubicBezTo>
                  <a:cubicBezTo>
                    <a:pt x="109" y="142"/>
                    <a:pt x="109" y="142"/>
                    <a:pt x="109" y="142"/>
                  </a:cubicBezTo>
                  <a:cubicBezTo>
                    <a:pt x="112" y="142"/>
                    <a:pt x="112" y="142"/>
                    <a:pt x="112" y="142"/>
                  </a:cubicBezTo>
                  <a:cubicBezTo>
                    <a:pt x="116" y="140"/>
                    <a:pt x="116" y="140"/>
                    <a:pt x="116" y="140"/>
                  </a:cubicBezTo>
                  <a:cubicBezTo>
                    <a:pt x="116" y="139"/>
                    <a:pt x="116" y="139"/>
                    <a:pt x="116" y="139"/>
                  </a:cubicBezTo>
                  <a:cubicBezTo>
                    <a:pt x="116" y="137"/>
                    <a:pt x="116" y="137"/>
                    <a:pt x="116" y="137"/>
                  </a:cubicBezTo>
                  <a:cubicBezTo>
                    <a:pt x="116" y="135"/>
                    <a:pt x="116" y="135"/>
                    <a:pt x="116" y="135"/>
                  </a:cubicBezTo>
                  <a:cubicBezTo>
                    <a:pt x="116" y="137"/>
                    <a:pt x="116" y="137"/>
                    <a:pt x="116" y="137"/>
                  </a:cubicBezTo>
                  <a:cubicBezTo>
                    <a:pt x="116" y="139"/>
                    <a:pt x="116" y="139"/>
                    <a:pt x="116" y="139"/>
                  </a:cubicBezTo>
                  <a:cubicBezTo>
                    <a:pt x="112" y="140"/>
                    <a:pt x="112" y="140"/>
                    <a:pt x="112" y="140"/>
                  </a:cubicBezTo>
                  <a:cubicBezTo>
                    <a:pt x="112" y="139"/>
                    <a:pt x="112" y="139"/>
                    <a:pt x="112" y="139"/>
                  </a:cubicBezTo>
                  <a:cubicBezTo>
                    <a:pt x="111" y="139"/>
                    <a:pt x="111" y="139"/>
                    <a:pt x="111" y="139"/>
                  </a:cubicBezTo>
                  <a:cubicBezTo>
                    <a:pt x="109" y="139"/>
                    <a:pt x="109" y="139"/>
                    <a:pt x="109" y="139"/>
                  </a:cubicBezTo>
                  <a:cubicBezTo>
                    <a:pt x="109" y="137"/>
                    <a:pt x="109" y="137"/>
                    <a:pt x="109" y="137"/>
                  </a:cubicBezTo>
                  <a:cubicBezTo>
                    <a:pt x="107" y="135"/>
                    <a:pt x="107" y="135"/>
                    <a:pt x="107" y="135"/>
                  </a:cubicBezTo>
                  <a:cubicBezTo>
                    <a:pt x="105" y="135"/>
                    <a:pt x="105" y="135"/>
                    <a:pt x="105" y="135"/>
                  </a:cubicBezTo>
                  <a:cubicBezTo>
                    <a:pt x="102" y="135"/>
                    <a:pt x="102" y="135"/>
                    <a:pt x="102" y="135"/>
                  </a:cubicBezTo>
                  <a:cubicBezTo>
                    <a:pt x="98" y="133"/>
                    <a:pt x="98" y="133"/>
                    <a:pt x="98" y="133"/>
                  </a:cubicBezTo>
                  <a:cubicBezTo>
                    <a:pt x="92" y="133"/>
                    <a:pt x="92" y="133"/>
                    <a:pt x="92" y="133"/>
                  </a:cubicBezTo>
                  <a:cubicBezTo>
                    <a:pt x="89" y="135"/>
                    <a:pt x="89" y="135"/>
                    <a:pt x="89" y="135"/>
                  </a:cubicBezTo>
                  <a:cubicBezTo>
                    <a:pt x="85" y="137"/>
                    <a:pt x="85" y="137"/>
                    <a:pt x="85" y="137"/>
                  </a:cubicBezTo>
                  <a:cubicBezTo>
                    <a:pt x="83" y="135"/>
                    <a:pt x="83" y="135"/>
                    <a:pt x="83" y="135"/>
                  </a:cubicBezTo>
                  <a:cubicBezTo>
                    <a:pt x="82" y="133"/>
                    <a:pt x="82" y="133"/>
                    <a:pt x="82" y="133"/>
                  </a:cubicBezTo>
                  <a:cubicBezTo>
                    <a:pt x="80" y="133"/>
                    <a:pt x="80" y="133"/>
                    <a:pt x="80" y="133"/>
                  </a:cubicBezTo>
                  <a:cubicBezTo>
                    <a:pt x="82" y="133"/>
                    <a:pt x="82" y="133"/>
                    <a:pt x="82" y="133"/>
                  </a:cubicBezTo>
                  <a:cubicBezTo>
                    <a:pt x="80" y="131"/>
                    <a:pt x="80" y="131"/>
                    <a:pt x="80" y="131"/>
                  </a:cubicBezTo>
                  <a:cubicBezTo>
                    <a:pt x="78" y="131"/>
                    <a:pt x="78" y="131"/>
                    <a:pt x="78" y="131"/>
                  </a:cubicBezTo>
                  <a:cubicBezTo>
                    <a:pt x="78" y="131"/>
                    <a:pt x="78" y="131"/>
                    <a:pt x="78" y="131"/>
                  </a:cubicBezTo>
                  <a:cubicBezTo>
                    <a:pt x="78" y="133"/>
                    <a:pt x="78" y="133"/>
                    <a:pt x="78" y="133"/>
                  </a:cubicBezTo>
                  <a:cubicBezTo>
                    <a:pt x="78" y="133"/>
                    <a:pt x="78" y="133"/>
                    <a:pt x="78" y="133"/>
                  </a:cubicBezTo>
                  <a:cubicBezTo>
                    <a:pt x="74" y="133"/>
                    <a:pt x="74" y="133"/>
                    <a:pt x="74" y="133"/>
                  </a:cubicBezTo>
                  <a:cubicBezTo>
                    <a:pt x="74" y="131"/>
                    <a:pt x="74" y="131"/>
                    <a:pt x="74" y="131"/>
                  </a:cubicBezTo>
                  <a:cubicBezTo>
                    <a:pt x="74" y="131"/>
                    <a:pt x="74" y="131"/>
                    <a:pt x="74" y="131"/>
                  </a:cubicBezTo>
                  <a:cubicBezTo>
                    <a:pt x="72" y="131"/>
                    <a:pt x="72" y="131"/>
                    <a:pt x="72" y="131"/>
                  </a:cubicBezTo>
                  <a:cubicBezTo>
                    <a:pt x="74" y="133"/>
                    <a:pt x="74" y="133"/>
                    <a:pt x="74" y="133"/>
                  </a:cubicBezTo>
                  <a:cubicBezTo>
                    <a:pt x="72" y="135"/>
                    <a:pt x="72" y="135"/>
                    <a:pt x="72" y="135"/>
                  </a:cubicBezTo>
                  <a:close/>
                  <a:moveTo>
                    <a:pt x="3" y="47"/>
                  </a:moveTo>
                  <a:cubicBezTo>
                    <a:pt x="3" y="51"/>
                    <a:pt x="3" y="51"/>
                    <a:pt x="3" y="51"/>
                  </a:cubicBezTo>
                  <a:cubicBezTo>
                    <a:pt x="5" y="53"/>
                    <a:pt x="5" y="53"/>
                    <a:pt x="5" y="53"/>
                  </a:cubicBezTo>
                  <a:cubicBezTo>
                    <a:pt x="7" y="53"/>
                    <a:pt x="7" y="53"/>
                    <a:pt x="7" y="53"/>
                  </a:cubicBezTo>
                  <a:cubicBezTo>
                    <a:pt x="9" y="55"/>
                    <a:pt x="9" y="55"/>
                    <a:pt x="9" y="55"/>
                  </a:cubicBezTo>
                  <a:cubicBezTo>
                    <a:pt x="7" y="55"/>
                    <a:pt x="7" y="55"/>
                    <a:pt x="7" y="55"/>
                  </a:cubicBezTo>
                  <a:cubicBezTo>
                    <a:pt x="5" y="55"/>
                    <a:pt x="5" y="55"/>
                    <a:pt x="5" y="55"/>
                  </a:cubicBezTo>
                  <a:cubicBezTo>
                    <a:pt x="2" y="51"/>
                    <a:pt x="2" y="51"/>
                    <a:pt x="2" y="51"/>
                  </a:cubicBezTo>
                  <a:cubicBezTo>
                    <a:pt x="2" y="49"/>
                    <a:pt x="2" y="49"/>
                    <a:pt x="2" y="49"/>
                  </a:cubicBezTo>
                  <a:cubicBezTo>
                    <a:pt x="0" y="49"/>
                    <a:pt x="0" y="49"/>
                    <a:pt x="0" y="49"/>
                  </a:cubicBezTo>
                  <a:cubicBezTo>
                    <a:pt x="0" y="47"/>
                    <a:pt x="0" y="47"/>
                    <a:pt x="0" y="47"/>
                  </a:cubicBezTo>
                  <a:cubicBezTo>
                    <a:pt x="2" y="46"/>
                    <a:pt x="2" y="46"/>
                    <a:pt x="2" y="46"/>
                  </a:cubicBezTo>
                  <a:cubicBezTo>
                    <a:pt x="3" y="47"/>
                    <a:pt x="3" y="47"/>
                    <a:pt x="3" y="47"/>
                  </a:cubicBezTo>
                  <a:close/>
                  <a:moveTo>
                    <a:pt x="18" y="71"/>
                  </a:moveTo>
                  <a:cubicBezTo>
                    <a:pt x="16" y="71"/>
                    <a:pt x="16" y="71"/>
                    <a:pt x="16" y="71"/>
                  </a:cubicBezTo>
                  <a:cubicBezTo>
                    <a:pt x="18" y="68"/>
                    <a:pt x="18" y="68"/>
                    <a:pt x="18" y="68"/>
                  </a:cubicBezTo>
                  <a:cubicBezTo>
                    <a:pt x="20" y="68"/>
                    <a:pt x="20" y="68"/>
                    <a:pt x="20" y="68"/>
                  </a:cubicBezTo>
                  <a:cubicBezTo>
                    <a:pt x="20" y="71"/>
                    <a:pt x="20" y="71"/>
                    <a:pt x="20" y="71"/>
                  </a:cubicBezTo>
                  <a:cubicBezTo>
                    <a:pt x="20" y="71"/>
                    <a:pt x="20" y="71"/>
                    <a:pt x="20" y="71"/>
                  </a:cubicBezTo>
                  <a:cubicBezTo>
                    <a:pt x="18" y="73"/>
                    <a:pt x="18" y="73"/>
                    <a:pt x="18" y="73"/>
                  </a:cubicBezTo>
                  <a:cubicBezTo>
                    <a:pt x="18" y="71"/>
                    <a:pt x="18" y="71"/>
                    <a:pt x="18" y="71"/>
                  </a:cubicBezTo>
                  <a:close/>
                  <a:moveTo>
                    <a:pt x="18" y="77"/>
                  </a:moveTo>
                  <a:cubicBezTo>
                    <a:pt x="18" y="73"/>
                    <a:pt x="18" y="73"/>
                    <a:pt x="18" y="73"/>
                  </a:cubicBezTo>
                  <a:cubicBezTo>
                    <a:pt x="20" y="75"/>
                    <a:pt x="20" y="75"/>
                    <a:pt x="20" y="75"/>
                  </a:cubicBezTo>
                  <a:cubicBezTo>
                    <a:pt x="20" y="77"/>
                    <a:pt x="20" y="77"/>
                    <a:pt x="20" y="77"/>
                  </a:cubicBezTo>
                  <a:cubicBezTo>
                    <a:pt x="20" y="78"/>
                    <a:pt x="20" y="78"/>
                    <a:pt x="20" y="78"/>
                  </a:cubicBezTo>
                  <a:cubicBezTo>
                    <a:pt x="22" y="80"/>
                    <a:pt x="22" y="80"/>
                    <a:pt x="22" y="80"/>
                  </a:cubicBezTo>
                  <a:cubicBezTo>
                    <a:pt x="22" y="82"/>
                    <a:pt x="22" y="82"/>
                    <a:pt x="22" y="82"/>
                  </a:cubicBezTo>
                  <a:cubicBezTo>
                    <a:pt x="23" y="82"/>
                    <a:pt x="23" y="82"/>
                    <a:pt x="23" y="82"/>
                  </a:cubicBezTo>
                  <a:cubicBezTo>
                    <a:pt x="22" y="84"/>
                    <a:pt x="22" y="84"/>
                    <a:pt x="22" y="84"/>
                  </a:cubicBezTo>
                  <a:cubicBezTo>
                    <a:pt x="20" y="84"/>
                    <a:pt x="20" y="84"/>
                    <a:pt x="20" y="84"/>
                  </a:cubicBezTo>
                  <a:cubicBezTo>
                    <a:pt x="18" y="84"/>
                    <a:pt x="18" y="84"/>
                    <a:pt x="18" y="84"/>
                  </a:cubicBezTo>
                  <a:cubicBezTo>
                    <a:pt x="18" y="80"/>
                    <a:pt x="18" y="80"/>
                    <a:pt x="18" y="80"/>
                  </a:cubicBezTo>
                  <a:cubicBezTo>
                    <a:pt x="16" y="80"/>
                    <a:pt x="16" y="80"/>
                    <a:pt x="16" y="80"/>
                  </a:cubicBezTo>
                  <a:cubicBezTo>
                    <a:pt x="16" y="82"/>
                    <a:pt x="16" y="82"/>
                    <a:pt x="16" y="82"/>
                  </a:cubicBezTo>
                  <a:cubicBezTo>
                    <a:pt x="16" y="82"/>
                    <a:pt x="16" y="82"/>
                    <a:pt x="16" y="82"/>
                  </a:cubicBezTo>
                  <a:cubicBezTo>
                    <a:pt x="14" y="82"/>
                    <a:pt x="14" y="82"/>
                    <a:pt x="14" y="82"/>
                  </a:cubicBezTo>
                  <a:cubicBezTo>
                    <a:pt x="14" y="78"/>
                    <a:pt x="14" y="78"/>
                    <a:pt x="14" y="78"/>
                  </a:cubicBezTo>
                  <a:cubicBezTo>
                    <a:pt x="16" y="77"/>
                    <a:pt x="16" y="77"/>
                    <a:pt x="16" y="77"/>
                  </a:cubicBezTo>
                  <a:cubicBezTo>
                    <a:pt x="18" y="77"/>
                    <a:pt x="18" y="77"/>
                    <a:pt x="18" y="77"/>
                  </a:cubicBezTo>
                  <a:close/>
                  <a:moveTo>
                    <a:pt x="23" y="89"/>
                  </a:moveTo>
                  <a:cubicBezTo>
                    <a:pt x="25" y="91"/>
                    <a:pt x="25" y="91"/>
                    <a:pt x="25" y="91"/>
                  </a:cubicBezTo>
                  <a:cubicBezTo>
                    <a:pt x="23" y="91"/>
                    <a:pt x="23" y="91"/>
                    <a:pt x="23" y="91"/>
                  </a:cubicBezTo>
                  <a:cubicBezTo>
                    <a:pt x="22" y="91"/>
                    <a:pt x="22" y="91"/>
                    <a:pt x="22" y="91"/>
                  </a:cubicBezTo>
                  <a:cubicBezTo>
                    <a:pt x="20" y="91"/>
                    <a:pt x="20" y="91"/>
                    <a:pt x="20" y="91"/>
                  </a:cubicBezTo>
                  <a:cubicBezTo>
                    <a:pt x="18" y="89"/>
                    <a:pt x="18" y="89"/>
                    <a:pt x="18" y="89"/>
                  </a:cubicBezTo>
                  <a:cubicBezTo>
                    <a:pt x="18" y="88"/>
                    <a:pt x="18" y="88"/>
                    <a:pt x="18" y="88"/>
                  </a:cubicBezTo>
                  <a:cubicBezTo>
                    <a:pt x="20" y="86"/>
                    <a:pt x="20" y="86"/>
                    <a:pt x="20" y="86"/>
                  </a:cubicBezTo>
                  <a:cubicBezTo>
                    <a:pt x="22" y="88"/>
                    <a:pt x="22" y="88"/>
                    <a:pt x="22" y="88"/>
                  </a:cubicBezTo>
                  <a:cubicBezTo>
                    <a:pt x="23" y="89"/>
                    <a:pt x="23" y="89"/>
                    <a:pt x="23" y="89"/>
                  </a:cubicBezTo>
                  <a:close/>
                  <a:moveTo>
                    <a:pt x="131" y="128"/>
                  </a:moveTo>
                  <a:cubicBezTo>
                    <a:pt x="131" y="126"/>
                    <a:pt x="131" y="126"/>
                    <a:pt x="131" y="126"/>
                  </a:cubicBezTo>
                  <a:cubicBezTo>
                    <a:pt x="131" y="126"/>
                    <a:pt x="131" y="126"/>
                    <a:pt x="131" y="126"/>
                  </a:cubicBezTo>
                  <a:cubicBezTo>
                    <a:pt x="131" y="128"/>
                    <a:pt x="131" y="128"/>
                    <a:pt x="131" y="128"/>
                  </a:cubicBezTo>
                  <a:cubicBezTo>
                    <a:pt x="131" y="128"/>
                    <a:pt x="131" y="128"/>
                    <a:pt x="131" y="128"/>
                  </a:cubicBezTo>
                  <a:close/>
                  <a:moveTo>
                    <a:pt x="129" y="137"/>
                  </a:moveTo>
                  <a:cubicBezTo>
                    <a:pt x="129" y="133"/>
                    <a:pt x="129" y="133"/>
                    <a:pt x="129" y="133"/>
                  </a:cubicBezTo>
                  <a:cubicBezTo>
                    <a:pt x="129" y="131"/>
                    <a:pt x="129" y="131"/>
                    <a:pt x="129" y="131"/>
                  </a:cubicBezTo>
                  <a:cubicBezTo>
                    <a:pt x="131" y="128"/>
                    <a:pt x="131" y="128"/>
                    <a:pt x="131" y="128"/>
                  </a:cubicBezTo>
                  <a:cubicBezTo>
                    <a:pt x="131" y="129"/>
                    <a:pt x="131" y="129"/>
                    <a:pt x="131" y="129"/>
                  </a:cubicBezTo>
                  <a:cubicBezTo>
                    <a:pt x="132" y="133"/>
                    <a:pt x="132" y="133"/>
                    <a:pt x="132" y="133"/>
                  </a:cubicBezTo>
                  <a:cubicBezTo>
                    <a:pt x="131" y="135"/>
                    <a:pt x="131" y="135"/>
                    <a:pt x="131" y="135"/>
                  </a:cubicBezTo>
                  <a:cubicBezTo>
                    <a:pt x="129" y="137"/>
                    <a:pt x="129" y="137"/>
                    <a:pt x="129" y="137"/>
                  </a:cubicBezTo>
                  <a:close/>
                  <a:moveTo>
                    <a:pt x="138" y="126"/>
                  </a:moveTo>
                  <a:cubicBezTo>
                    <a:pt x="138" y="124"/>
                    <a:pt x="138" y="124"/>
                    <a:pt x="138" y="124"/>
                  </a:cubicBezTo>
                  <a:cubicBezTo>
                    <a:pt x="138" y="122"/>
                    <a:pt x="138" y="122"/>
                    <a:pt x="138" y="122"/>
                  </a:cubicBezTo>
                  <a:cubicBezTo>
                    <a:pt x="138" y="122"/>
                    <a:pt x="138" y="122"/>
                    <a:pt x="138" y="122"/>
                  </a:cubicBezTo>
                  <a:cubicBezTo>
                    <a:pt x="138" y="120"/>
                    <a:pt x="138" y="120"/>
                    <a:pt x="138" y="120"/>
                  </a:cubicBezTo>
                  <a:cubicBezTo>
                    <a:pt x="141" y="117"/>
                    <a:pt x="141" y="117"/>
                    <a:pt x="141" y="117"/>
                  </a:cubicBezTo>
                  <a:cubicBezTo>
                    <a:pt x="145" y="115"/>
                    <a:pt x="145" y="115"/>
                    <a:pt x="145" y="115"/>
                  </a:cubicBezTo>
                  <a:cubicBezTo>
                    <a:pt x="149" y="115"/>
                    <a:pt x="149" y="115"/>
                    <a:pt x="149" y="115"/>
                  </a:cubicBezTo>
                  <a:cubicBezTo>
                    <a:pt x="147" y="117"/>
                    <a:pt x="147" y="117"/>
                    <a:pt x="147" y="117"/>
                  </a:cubicBezTo>
                  <a:cubicBezTo>
                    <a:pt x="147" y="117"/>
                    <a:pt x="147" y="117"/>
                    <a:pt x="147" y="117"/>
                  </a:cubicBezTo>
                  <a:cubicBezTo>
                    <a:pt x="145" y="119"/>
                    <a:pt x="145" y="119"/>
                    <a:pt x="145" y="119"/>
                  </a:cubicBezTo>
                  <a:cubicBezTo>
                    <a:pt x="145" y="120"/>
                    <a:pt x="145" y="120"/>
                    <a:pt x="145" y="120"/>
                  </a:cubicBezTo>
                  <a:cubicBezTo>
                    <a:pt x="145" y="122"/>
                    <a:pt x="145" y="122"/>
                    <a:pt x="145" y="122"/>
                  </a:cubicBezTo>
                  <a:cubicBezTo>
                    <a:pt x="143" y="122"/>
                    <a:pt x="143" y="122"/>
                    <a:pt x="143" y="122"/>
                  </a:cubicBezTo>
                  <a:cubicBezTo>
                    <a:pt x="141" y="124"/>
                    <a:pt x="141" y="124"/>
                    <a:pt x="141" y="124"/>
                  </a:cubicBezTo>
                  <a:cubicBezTo>
                    <a:pt x="140" y="126"/>
                    <a:pt x="140" y="126"/>
                    <a:pt x="140" y="126"/>
                  </a:cubicBezTo>
                  <a:cubicBezTo>
                    <a:pt x="138" y="126"/>
                    <a:pt x="138" y="126"/>
                    <a:pt x="138" y="126"/>
                  </a:cubicBezTo>
                  <a:close/>
                  <a:moveTo>
                    <a:pt x="116" y="115"/>
                  </a:moveTo>
                  <a:cubicBezTo>
                    <a:pt x="114" y="113"/>
                    <a:pt x="114" y="113"/>
                    <a:pt x="114" y="113"/>
                  </a:cubicBezTo>
                  <a:cubicBezTo>
                    <a:pt x="114" y="113"/>
                    <a:pt x="114" y="113"/>
                    <a:pt x="114" y="113"/>
                  </a:cubicBezTo>
                  <a:cubicBezTo>
                    <a:pt x="118" y="111"/>
                    <a:pt x="118" y="111"/>
                    <a:pt x="118" y="111"/>
                  </a:cubicBezTo>
                  <a:cubicBezTo>
                    <a:pt x="120" y="111"/>
                    <a:pt x="120" y="111"/>
                    <a:pt x="120" y="111"/>
                  </a:cubicBezTo>
                  <a:cubicBezTo>
                    <a:pt x="118" y="113"/>
                    <a:pt x="118" y="113"/>
                    <a:pt x="118" y="113"/>
                  </a:cubicBezTo>
                  <a:cubicBezTo>
                    <a:pt x="116" y="115"/>
                    <a:pt x="116" y="115"/>
                    <a:pt x="116" y="115"/>
                  </a:cubicBezTo>
                  <a:close/>
                  <a:moveTo>
                    <a:pt x="116" y="89"/>
                  </a:moveTo>
                  <a:cubicBezTo>
                    <a:pt x="118" y="88"/>
                    <a:pt x="118" y="88"/>
                    <a:pt x="118" y="88"/>
                  </a:cubicBezTo>
                  <a:cubicBezTo>
                    <a:pt x="120" y="88"/>
                    <a:pt x="120" y="88"/>
                    <a:pt x="120" y="88"/>
                  </a:cubicBezTo>
                  <a:cubicBezTo>
                    <a:pt x="121" y="89"/>
                    <a:pt x="121" y="89"/>
                    <a:pt x="121" y="89"/>
                  </a:cubicBezTo>
                  <a:cubicBezTo>
                    <a:pt x="123" y="89"/>
                    <a:pt x="123" y="89"/>
                    <a:pt x="123" y="89"/>
                  </a:cubicBezTo>
                  <a:cubicBezTo>
                    <a:pt x="123" y="89"/>
                    <a:pt x="123" y="89"/>
                    <a:pt x="123" y="89"/>
                  </a:cubicBezTo>
                  <a:cubicBezTo>
                    <a:pt x="123" y="91"/>
                    <a:pt x="123" y="91"/>
                    <a:pt x="123" y="91"/>
                  </a:cubicBezTo>
                  <a:cubicBezTo>
                    <a:pt x="121" y="91"/>
                    <a:pt x="121" y="91"/>
                    <a:pt x="121" y="91"/>
                  </a:cubicBezTo>
                  <a:cubicBezTo>
                    <a:pt x="121" y="93"/>
                    <a:pt x="121" y="93"/>
                    <a:pt x="121" y="93"/>
                  </a:cubicBezTo>
                  <a:cubicBezTo>
                    <a:pt x="120" y="93"/>
                    <a:pt x="120" y="93"/>
                    <a:pt x="120" y="93"/>
                  </a:cubicBezTo>
                  <a:cubicBezTo>
                    <a:pt x="118" y="91"/>
                    <a:pt x="118" y="91"/>
                    <a:pt x="118" y="91"/>
                  </a:cubicBezTo>
                  <a:cubicBezTo>
                    <a:pt x="116" y="91"/>
                    <a:pt x="116" y="91"/>
                    <a:pt x="116" y="91"/>
                  </a:cubicBezTo>
                  <a:cubicBezTo>
                    <a:pt x="114" y="91"/>
                    <a:pt x="114" y="91"/>
                    <a:pt x="114" y="91"/>
                  </a:cubicBezTo>
                  <a:cubicBezTo>
                    <a:pt x="116" y="89"/>
                    <a:pt x="116" y="89"/>
                    <a:pt x="116" y="89"/>
                  </a:cubicBezTo>
                  <a:close/>
                  <a:moveTo>
                    <a:pt x="109" y="71"/>
                  </a:moveTo>
                  <a:cubicBezTo>
                    <a:pt x="111" y="77"/>
                    <a:pt x="111" y="77"/>
                    <a:pt x="111" y="77"/>
                  </a:cubicBezTo>
                  <a:cubicBezTo>
                    <a:pt x="109" y="78"/>
                    <a:pt x="109" y="78"/>
                    <a:pt x="109" y="78"/>
                  </a:cubicBezTo>
                  <a:cubicBezTo>
                    <a:pt x="107" y="80"/>
                    <a:pt x="107" y="80"/>
                    <a:pt x="107" y="80"/>
                  </a:cubicBezTo>
                  <a:cubicBezTo>
                    <a:pt x="105" y="78"/>
                    <a:pt x="105" y="78"/>
                    <a:pt x="105" y="78"/>
                  </a:cubicBezTo>
                  <a:cubicBezTo>
                    <a:pt x="105" y="77"/>
                    <a:pt x="105" y="77"/>
                    <a:pt x="105" y="77"/>
                  </a:cubicBezTo>
                  <a:cubicBezTo>
                    <a:pt x="107" y="77"/>
                    <a:pt x="107" y="77"/>
                    <a:pt x="107" y="77"/>
                  </a:cubicBezTo>
                  <a:cubicBezTo>
                    <a:pt x="107" y="75"/>
                    <a:pt x="107" y="75"/>
                    <a:pt x="107" y="75"/>
                  </a:cubicBezTo>
                  <a:cubicBezTo>
                    <a:pt x="105" y="73"/>
                    <a:pt x="105" y="73"/>
                    <a:pt x="105" y="73"/>
                  </a:cubicBezTo>
                  <a:cubicBezTo>
                    <a:pt x="105" y="71"/>
                    <a:pt x="105" y="71"/>
                    <a:pt x="105" y="71"/>
                  </a:cubicBezTo>
                  <a:cubicBezTo>
                    <a:pt x="107" y="71"/>
                    <a:pt x="107" y="71"/>
                    <a:pt x="107" y="71"/>
                  </a:cubicBezTo>
                  <a:cubicBezTo>
                    <a:pt x="109" y="71"/>
                    <a:pt x="109" y="71"/>
                    <a:pt x="109" y="71"/>
                  </a:cubicBezTo>
                  <a:cubicBezTo>
                    <a:pt x="109" y="71"/>
                    <a:pt x="109" y="71"/>
                    <a:pt x="109" y="71"/>
                  </a:cubicBezTo>
                  <a:close/>
                  <a:moveTo>
                    <a:pt x="105" y="62"/>
                  </a:moveTo>
                  <a:cubicBezTo>
                    <a:pt x="102" y="60"/>
                    <a:pt x="102" y="60"/>
                    <a:pt x="102" y="60"/>
                  </a:cubicBezTo>
                  <a:cubicBezTo>
                    <a:pt x="103" y="57"/>
                    <a:pt x="103" y="57"/>
                    <a:pt x="103" y="57"/>
                  </a:cubicBezTo>
                  <a:cubicBezTo>
                    <a:pt x="107" y="57"/>
                    <a:pt x="107" y="57"/>
                    <a:pt x="107" y="57"/>
                  </a:cubicBezTo>
                  <a:cubicBezTo>
                    <a:pt x="109" y="55"/>
                    <a:pt x="109" y="55"/>
                    <a:pt x="109" y="55"/>
                  </a:cubicBezTo>
                  <a:cubicBezTo>
                    <a:pt x="112" y="55"/>
                    <a:pt x="112" y="55"/>
                    <a:pt x="112" y="55"/>
                  </a:cubicBezTo>
                  <a:cubicBezTo>
                    <a:pt x="114" y="55"/>
                    <a:pt x="114" y="55"/>
                    <a:pt x="114" y="55"/>
                  </a:cubicBezTo>
                  <a:cubicBezTo>
                    <a:pt x="112" y="57"/>
                    <a:pt x="112" y="57"/>
                    <a:pt x="112" y="57"/>
                  </a:cubicBezTo>
                  <a:cubicBezTo>
                    <a:pt x="114" y="57"/>
                    <a:pt x="114" y="57"/>
                    <a:pt x="114" y="57"/>
                  </a:cubicBezTo>
                  <a:cubicBezTo>
                    <a:pt x="114" y="60"/>
                    <a:pt x="114" y="60"/>
                    <a:pt x="114" y="60"/>
                  </a:cubicBezTo>
                  <a:cubicBezTo>
                    <a:pt x="114" y="64"/>
                    <a:pt x="114" y="64"/>
                    <a:pt x="114" y="64"/>
                  </a:cubicBezTo>
                  <a:cubicBezTo>
                    <a:pt x="111" y="64"/>
                    <a:pt x="111" y="64"/>
                    <a:pt x="111" y="64"/>
                  </a:cubicBezTo>
                  <a:cubicBezTo>
                    <a:pt x="109" y="62"/>
                    <a:pt x="109" y="62"/>
                    <a:pt x="109" y="62"/>
                  </a:cubicBezTo>
                  <a:cubicBezTo>
                    <a:pt x="109" y="60"/>
                    <a:pt x="109" y="60"/>
                    <a:pt x="109" y="60"/>
                  </a:cubicBezTo>
                  <a:cubicBezTo>
                    <a:pt x="111" y="60"/>
                    <a:pt x="111" y="60"/>
                    <a:pt x="111" y="60"/>
                  </a:cubicBezTo>
                  <a:cubicBezTo>
                    <a:pt x="111" y="58"/>
                    <a:pt x="111" y="58"/>
                    <a:pt x="111" y="58"/>
                  </a:cubicBezTo>
                  <a:cubicBezTo>
                    <a:pt x="109" y="58"/>
                    <a:pt x="109" y="58"/>
                    <a:pt x="109" y="58"/>
                  </a:cubicBezTo>
                  <a:cubicBezTo>
                    <a:pt x="109" y="60"/>
                    <a:pt x="109" y="60"/>
                    <a:pt x="109" y="60"/>
                  </a:cubicBezTo>
                  <a:cubicBezTo>
                    <a:pt x="107" y="62"/>
                    <a:pt x="107" y="62"/>
                    <a:pt x="107" y="62"/>
                  </a:cubicBezTo>
                  <a:cubicBezTo>
                    <a:pt x="105" y="62"/>
                    <a:pt x="105" y="62"/>
                    <a:pt x="105" y="62"/>
                  </a:cubicBezTo>
                  <a:cubicBezTo>
                    <a:pt x="105" y="62"/>
                    <a:pt x="105" y="62"/>
                    <a:pt x="105" y="62"/>
                  </a:cubicBezTo>
                  <a:close/>
                  <a:moveTo>
                    <a:pt x="96" y="31"/>
                  </a:moveTo>
                  <a:cubicBezTo>
                    <a:pt x="96" y="29"/>
                    <a:pt x="96" y="29"/>
                    <a:pt x="96" y="29"/>
                  </a:cubicBezTo>
                  <a:cubicBezTo>
                    <a:pt x="100" y="29"/>
                    <a:pt x="100" y="29"/>
                    <a:pt x="100" y="29"/>
                  </a:cubicBezTo>
                  <a:cubicBezTo>
                    <a:pt x="102" y="29"/>
                    <a:pt x="102" y="29"/>
                    <a:pt x="102" y="29"/>
                  </a:cubicBezTo>
                  <a:cubicBezTo>
                    <a:pt x="102" y="31"/>
                    <a:pt x="102" y="31"/>
                    <a:pt x="102" y="31"/>
                  </a:cubicBezTo>
                  <a:cubicBezTo>
                    <a:pt x="100" y="31"/>
                    <a:pt x="100" y="31"/>
                    <a:pt x="100" y="31"/>
                  </a:cubicBezTo>
                  <a:cubicBezTo>
                    <a:pt x="96" y="31"/>
                    <a:pt x="96" y="31"/>
                    <a:pt x="96" y="31"/>
                  </a:cubicBezTo>
                  <a:close/>
                  <a:moveTo>
                    <a:pt x="89" y="40"/>
                  </a:moveTo>
                  <a:cubicBezTo>
                    <a:pt x="92" y="40"/>
                    <a:pt x="92" y="40"/>
                    <a:pt x="92" y="40"/>
                  </a:cubicBezTo>
                  <a:cubicBezTo>
                    <a:pt x="92" y="40"/>
                    <a:pt x="92" y="40"/>
                    <a:pt x="92" y="40"/>
                  </a:cubicBezTo>
                  <a:cubicBezTo>
                    <a:pt x="94" y="38"/>
                    <a:pt x="94" y="38"/>
                    <a:pt x="94" y="38"/>
                  </a:cubicBezTo>
                  <a:cubicBezTo>
                    <a:pt x="96" y="40"/>
                    <a:pt x="96" y="40"/>
                    <a:pt x="96" y="40"/>
                  </a:cubicBezTo>
                  <a:cubicBezTo>
                    <a:pt x="94" y="42"/>
                    <a:pt x="94" y="42"/>
                    <a:pt x="94" y="42"/>
                  </a:cubicBezTo>
                  <a:cubicBezTo>
                    <a:pt x="94" y="46"/>
                    <a:pt x="94" y="46"/>
                    <a:pt x="94" y="46"/>
                  </a:cubicBezTo>
                  <a:cubicBezTo>
                    <a:pt x="92" y="44"/>
                    <a:pt x="92" y="44"/>
                    <a:pt x="92" y="44"/>
                  </a:cubicBezTo>
                  <a:cubicBezTo>
                    <a:pt x="91" y="46"/>
                    <a:pt x="91" y="46"/>
                    <a:pt x="91" y="46"/>
                  </a:cubicBezTo>
                  <a:cubicBezTo>
                    <a:pt x="89" y="44"/>
                    <a:pt x="89" y="44"/>
                    <a:pt x="89" y="44"/>
                  </a:cubicBezTo>
                  <a:cubicBezTo>
                    <a:pt x="89" y="40"/>
                    <a:pt x="89" y="40"/>
                    <a:pt x="89" y="40"/>
                  </a:cubicBezTo>
                  <a:cubicBezTo>
                    <a:pt x="89" y="40"/>
                    <a:pt x="89" y="40"/>
                    <a:pt x="89" y="40"/>
                  </a:cubicBezTo>
                  <a:close/>
                  <a:moveTo>
                    <a:pt x="80" y="26"/>
                  </a:moveTo>
                  <a:cubicBezTo>
                    <a:pt x="82" y="24"/>
                    <a:pt x="82" y="24"/>
                    <a:pt x="82" y="24"/>
                  </a:cubicBezTo>
                  <a:cubicBezTo>
                    <a:pt x="83" y="26"/>
                    <a:pt x="83" y="26"/>
                    <a:pt x="83" y="26"/>
                  </a:cubicBezTo>
                  <a:cubicBezTo>
                    <a:pt x="85" y="27"/>
                    <a:pt x="85" y="27"/>
                    <a:pt x="85" y="27"/>
                  </a:cubicBezTo>
                  <a:cubicBezTo>
                    <a:pt x="82" y="27"/>
                    <a:pt x="82" y="27"/>
                    <a:pt x="82" y="27"/>
                  </a:cubicBezTo>
                  <a:cubicBezTo>
                    <a:pt x="82" y="27"/>
                    <a:pt x="82" y="27"/>
                    <a:pt x="82" y="27"/>
                  </a:cubicBezTo>
                  <a:cubicBezTo>
                    <a:pt x="80" y="27"/>
                    <a:pt x="80" y="27"/>
                    <a:pt x="80" y="27"/>
                  </a:cubicBezTo>
                  <a:cubicBezTo>
                    <a:pt x="80" y="26"/>
                    <a:pt x="80" y="26"/>
                    <a:pt x="80" y="26"/>
                  </a:cubicBezTo>
                  <a:close/>
                  <a:moveTo>
                    <a:pt x="65" y="60"/>
                  </a:moveTo>
                  <a:cubicBezTo>
                    <a:pt x="65" y="58"/>
                    <a:pt x="65" y="58"/>
                    <a:pt x="65" y="58"/>
                  </a:cubicBezTo>
                  <a:cubicBezTo>
                    <a:pt x="67" y="60"/>
                    <a:pt x="67" y="60"/>
                    <a:pt x="67" y="60"/>
                  </a:cubicBezTo>
                  <a:cubicBezTo>
                    <a:pt x="69" y="62"/>
                    <a:pt x="69" y="62"/>
                    <a:pt x="69" y="62"/>
                  </a:cubicBezTo>
                  <a:cubicBezTo>
                    <a:pt x="67" y="64"/>
                    <a:pt x="67" y="64"/>
                    <a:pt x="67" y="64"/>
                  </a:cubicBezTo>
                  <a:cubicBezTo>
                    <a:pt x="65" y="60"/>
                    <a:pt x="65" y="60"/>
                    <a:pt x="65" y="60"/>
                  </a:cubicBezTo>
                  <a:close/>
                  <a:moveTo>
                    <a:pt x="62" y="60"/>
                  </a:moveTo>
                  <a:cubicBezTo>
                    <a:pt x="63" y="58"/>
                    <a:pt x="63" y="58"/>
                    <a:pt x="63" y="58"/>
                  </a:cubicBezTo>
                  <a:cubicBezTo>
                    <a:pt x="63" y="60"/>
                    <a:pt x="63" y="60"/>
                    <a:pt x="63" y="60"/>
                  </a:cubicBezTo>
                  <a:cubicBezTo>
                    <a:pt x="63" y="60"/>
                    <a:pt x="63" y="60"/>
                    <a:pt x="63" y="60"/>
                  </a:cubicBezTo>
                  <a:cubicBezTo>
                    <a:pt x="62" y="60"/>
                    <a:pt x="62" y="60"/>
                    <a:pt x="62" y="60"/>
                  </a:cubicBezTo>
                  <a:close/>
                  <a:moveTo>
                    <a:pt x="82" y="64"/>
                  </a:moveTo>
                  <a:cubicBezTo>
                    <a:pt x="83" y="62"/>
                    <a:pt x="83" y="62"/>
                    <a:pt x="83" y="62"/>
                  </a:cubicBezTo>
                  <a:cubicBezTo>
                    <a:pt x="83" y="64"/>
                    <a:pt x="83" y="64"/>
                    <a:pt x="83" y="64"/>
                  </a:cubicBezTo>
                  <a:cubicBezTo>
                    <a:pt x="85" y="66"/>
                    <a:pt x="85" y="66"/>
                    <a:pt x="85" y="66"/>
                  </a:cubicBezTo>
                  <a:cubicBezTo>
                    <a:pt x="85" y="68"/>
                    <a:pt x="85" y="68"/>
                    <a:pt x="85" y="68"/>
                  </a:cubicBezTo>
                  <a:cubicBezTo>
                    <a:pt x="85" y="69"/>
                    <a:pt x="85" y="69"/>
                    <a:pt x="85" y="69"/>
                  </a:cubicBezTo>
                  <a:cubicBezTo>
                    <a:pt x="83" y="66"/>
                    <a:pt x="83" y="66"/>
                    <a:pt x="83" y="66"/>
                  </a:cubicBezTo>
                  <a:cubicBezTo>
                    <a:pt x="83" y="66"/>
                    <a:pt x="83" y="66"/>
                    <a:pt x="83" y="66"/>
                  </a:cubicBezTo>
                  <a:cubicBezTo>
                    <a:pt x="82" y="64"/>
                    <a:pt x="82" y="64"/>
                    <a:pt x="82" y="64"/>
                  </a:cubicBezTo>
                  <a:close/>
                  <a:moveTo>
                    <a:pt x="109" y="97"/>
                  </a:moveTo>
                  <a:cubicBezTo>
                    <a:pt x="109" y="95"/>
                    <a:pt x="109" y="95"/>
                    <a:pt x="109" y="95"/>
                  </a:cubicBezTo>
                  <a:cubicBezTo>
                    <a:pt x="109" y="93"/>
                    <a:pt x="109" y="93"/>
                    <a:pt x="109" y="93"/>
                  </a:cubicBezTo>
                  <a:cubicBezTo>
                    <a:pt x="112" y="93"/>
                    <a:pt x="112" y="93"/>
                    <a:pt x="112" y="93"/>
                  </a:cubicBezTo>
                  <a:cubicBezTo>
                    <a:pt x="112" y="95"/>
                    <a:pt x="112" y="95"/>
                    <a:pt x="112" y="95"/>
                  </a:cubicBezTo>
                  <a:cubicBezTo>
                    <a:pt x="109" y="97"/>
                    <a:pt x="109" y="97"/>
                    <a:pt x="109" y="97"/>
                  </a:cubicBezTo>
                  <a:close/>
                  <a:moveTo>
                    <a:pt x="82" y="113"/>
                  </a:moveTo>
                  <a:cubicBezTo>
                    <a:pt x="83" y="111"/>
                    <a:pt x="83" y="111"/>
                    <a:pt x="83" y="111"/>
                  </a:cubicBezTo>
                  <a:cubicBezTo>
                    <a:pt x="85" y="111"/>
                    <a:pt x="85" y="111"/>
                    <a:pt x="85" y="111"/>
                  </a:cubicBezTo>
                  <a:cubicBezTo>
                    <a:pt x="85" y="113"/>
                    <a:pt x="85" y="113"/>
                    <a:pt x="85" y="113"/>
                  </a:cubicBezTo>
                  <a:cubicBezTo>
                    <a:pt x="83" y="113"/>
                    <a:pt x="83" y="113"/>
                    <a:pt x="83" y="113"/>
                  </a:cubicBezTo>
                  <a:cubicBezTo>
                    <a:pt x="82" y="113"/>
                    <a:pt x="82" y="113"/>
                    <a:pt x="82" y="113"/>
                  </a:cubicBezTo>
                  <a:close/>
                  <a:moveTo>
                    <a:pt x="82" y="102"/>
                  </a:moveTo>
                  <a:cubicBezTo>
                    <a:pt x="83" y="102"/>
                    <a:pt x="83" y="102"/>
                    <a:pt x="83" y="102"/>
                  </a:cubicBezTo>
                  <a:cubicBezTo>
                    <a:pt x="83" y="104"/>
                    <a:pt x="83" y="104"/>
                    <a:pt x="83" y="104"/>
                  </a:cubicBezTo>
                  <a:cubicBezTo>
                    <a:pt x="82" y="102"/>
                    <a:pt x="82" y="102"/>
                    <a:pt x="82" y="102"/>
                  </a:cubicBezTo>
                  <a:close/>
                  <a:moveTo>
                    <a:pt x="82" y="100"/>
                  </a:moveTo>
                  <a:cubicBezTo>
                    <a:pt x="82" y="97"/>
                    <a:pt x="82" y="97"/>
                    <a:pt x="82" y="97"/>
                  </a:cubicBezTo>
                  <a:cubicBezTo>
                    <a:pt x="83" y="97"/>
                    <a:pt x="83" y="97"/>
                    <a:pt x="83" y="97"/>
                  </a:cubicBezTo>
                  <a:cubicBezTo>
                    <a:pt x="83" y="98"/>
                    <a:pt x="83" y="98"/>
                    <a:pt x="83" y="98"/>
                  </a:cubicBezTo>
                  <a:cubicBezTo>
                    <a:pt x="82" y="100"/>
                    <a:pt x="82" y="100"/>
                    <a:pt x="82" y="100"/>
                  </a:cubicBezTo>
                  <a:close/>
                  <a:moveTo>
                    <a:pt x="80" y="95"/>
                  </a:moveTo>
                  <a:cubicBezTo>
                    <a:pt x="80" y="95"/>
                    <a:pt x="80" y="95"/>
                    <a:pt x="80" y="95"/>
                  </a:cubicBezTo>
                  <a:cubicBezTo>
                    <a:pt x="80" y="93"/>
                    <a:pt x="80" y="93"/>
                    <a:pt x="80" y="93"/>
                  </a:cubicBezTo>
                  <a:cubicBezTo>
                    <a:pt x="82" y="95"/>
                    <a:pt x="82" y="95"/>
                    <a:pt x="82" y="95"/>
                  </a:cubicBezTo>
                  <a:cubicBezTo>
                    <a:pt x="80" y="95"/>
                    <a:pt x="80" y="95"/>
                    <a:pt x="80" y="95"/>
                  </a:cubicBezTo>
                  <a:close/>
                  <a:moveTo>
                    <a:pt x="96" y="106"/>
                  </a:moveTo>
                  <a:cubicBezTo>
                    <a:pt x="94" y="104"/>
                    <a:pt x="94" y="104"/>
                    <a:pt x="94" y="104"/>
                  </a:cubicBezTo>
                  <a:cubicBezTo>
                    <a:pt x="94" y="102"/>
                    <a:pt x="94" y="102"/>
                    <a:pt x="94" y="102"/>
                  </a:cubicBezTo>
                  <a:cubicBezTo>
                    <a:pt x="96" y="102"/>
                    <a:pt x="96" y="102"/>
                    <a:pt x="96" y="102"/>
                  </a:cubicBezTo>
                  <a:cubicBezTo>
                    <a:pt x="98" y="104"/>
                    <a:pt x="98" y="104"/>
                    <a:pt x="98" y="104"/>
                  </a:cubicBezTo>
                  <a:cubicBezTo>
                    <a:pt x="96" y="106"/>
                    <a:pt x="96" y="106"/>
                    <a:pt x="96" y="106"/>
                  </a:cubicBezTo>
                  <a:close/>
                  <a:moveTo>
                    <a:pt x="100" y="106"/>
                  </a:moveTo>
                  <a:cubicBezTo>
                    <a:pt x="98" y="104"/>
                    <a:pt x="98" y="104"/>
                    <a:pt x="98" y="104"/>
                  </a:cubicBezTo>
                  <a:cubicBezTo>
                    <a:pt x="102" y="100"/>
                    <a:pt x="102" y="100"/>
                    <a:pt x="102" y="100"/>
                  </a:cubicBezTo>
                  <a:cubicBezTo>
                    <a:pt x="103" y="102"/>
                    <a:pt x="103" y="102"/>
                    <a:pt x="103" y="102"/>
                  </a:cubicBezTo>
                  <a:cubicBezTo>
                    <a:pt x="103" y="104"/>
                    <a:pt x="103" y="104"/>
                    <a:pt x="103" y="104"/>
                  </a:cubicBezTo>
                  <a:cubicBezTo>
                    <a:pt x="102" y="106"/>
                    <a:pt x="102" y="106"/>
                    <a:pt x="102" y="106"/>
                  </a:cubicBezTo>
                  <a:cubicBezTo>
                    <a:pt x="100" y="106"/>
                    <a:pt x="100" y="106"/>
                    <a:pt x="100" y="106"/>
                  </a:cubicBezTo>
                  <a:close/>
                  <a:moveTo>
                    <a:pt x="100" y="98"/>
                  </a:moveTo>
                  <a:cubicBezTo>
                    <a:pt x="100" y="97"/>
                    <a:pt x="100" y="97"/>
                    <a:pt x="100" y="97"/>
                  </a:cubicBezTo>
                  <a:cubicBezTo>
                    <a:pt x="100" y="97"/>
                    <a:pt x="100" y="97"/>
                    <a:pt x="100" y="97"/>
                  </a:cubicBezTo>
                  <a:cubicBezTo>
                    <a:pt x="100" y="98"/>
                    <a:pt x="100" y="98"/>
                    <a:pt x="100" y="98"/>
                  </a:cubicBezTo>
                  <a:close/>
                  <a:moveTo>
                    <a:pt x="94" y="93"/>
                  </a:moveTo>
                  <a:cubicBezTo>
                    <a:pt x="96" y="93"/>
                    <a:pt x="96" y="93"/>
                    <a:pt x="96" y="93"/>
                  </a:cubicBezTo>
                  <a:cubicBezTo>
                    <a:pt x="96" y="95"/>
                    <a:pt x="96" y="95"/>
                    <a:pt x="96" y="95"/>
                  </a:cubicBezTo>
                  <a:cubicBezTo>
                    <a:pt x="98" y="97"/>
                    <a:pt x="98" y="97"/>
                    <a:pt x="98" y="97"/>
                  </a:cubicBezTo>
                  <a:cubicBezTo>
                    <a:pt x="96" y="95"/>
                    <a:pt x="96" y="95"/>
                    <a:pt x="96" y="95"/>
                  </a:cubicBezTo>
                  <a:cubicBezTo>
                    <a:pt x="94" y="93"/>
                    <a:pt x="94" y="93"/>
                    <a:pt x="94" y="93"/>
                  </a:cubicBezTo>
                  <a:close/>
                  <a:moveTo>
                    <a:pt x="87" y="86"/>
                  </a:moveTo>
                  <a:cubicBezTo>
                    <a:pt x="87" y="86"/>
                    <a:pt x="87" y="86"/>
                    <a:pt x="87" y="86"/>
                  </a:cubicBezTo>
                  <a:cubicBezTo>
                    <a:pt x="89" y="89"/>
                    <a:pt x="89" y="89"/>
                    <a:pt x="89" y="89"/>
                  </a:cubicBezTo>
                  <a:cubicBezTo>
                    <a:pt x="92" y="91"/>
                    <a:pt x="92" y="91"/>
                    <a:pt x="92" y="91"/>
                  </a:cubicBezTo>
                  <a:cubicBezTo>
                    <a:pt x="92" y="93"/>
                    <a:pt x="92" y="93"/>
                    <a:pt x="92" y="93"/>
                  </a:cubicBezTo>
                  <a:cubicBezTo>
                    <a:pt x="91" y="93"/>
                    <a:pt x="91" y="93"/>
                    <a:pt x="91" y="93"/>
                  </a:cubicBezTo>
                  <a:cubicBezTo>
                    <a:pt x="87" y="89"/>
                    <a:pt x="87" y="89"/>
                    <a:pt x="87" y="89"/>
                  </a:cubicBezTo>
                  <a:cubicBezTo>
                    <a:pt x="85" y="88"/>
                    <a:pt x="85" y="88"/>
                    <a:pt x="85" y="88"/>
                  </a:cubicBezTo>
                  <a:cubicBezTo>
                    <a:pt x="87" y="86"/>
                    <a:pt x="87" y="86"/>
                    <a:pt x="87" y="86"/>
                  </a:cubicBezTo>
                  <a:close/>
                  <a:moveTo>
                    <a:pt x="54" y="66"/>
                  </a:moveTo>
                  <a:cubicBezTo>
                    <a:pt x="56" y="64"/>
                    <a:pt x="56" y="64"/>
                    <a:pt x="56" y="64"/>
                  </a:cubicBezTo>
                  <a:cubicBezTo>
                    <a:pt x="62" y="62"/>
                    <a:pt x="62" y="62"/>
                    <a:pt x="62" y="62"/>
                  </a:cubicBezTo>
                  <a:cubicBezTo>
                    <a:pt x="63" y="66"/>
                    <a:pt x="63" y="66"/>
                    <a:pt x="63" y="66"/>
                  </a:cubicBezTo>
                  <a:cubicBezTo>
                    <a:pt x="67" y="68"/>
                    <a:pt x="67" y="68"/>
                    <a:pt x="67" y="68"/>
                  </a:cubicBezTo>
                  <a:cubicBezTo>
                    <a:pt x="69" y="68"/>
                    <a:pt x="69" y="68"/>
                    <a:pt x="69" y="68"/>
                  </a:cubicBezTo>
                  <a:cubicBezTo>
                    <a:pt x="71" y="69"/>
                    <a:pt x="71" y="69"/>
                    <a:pt x="71" y="69"/>
                  </a:cubicBezTo>
                  <a:cubicBezTo>
                    <a:pt x="72" y="69"/>
                    <a:pt x="72" y="69"/>
                    <a:pt x="72" y="69"/>
                  </a:cubicBezTo>
                  <a:cubicBezTo>
                    <a:pt x="72" y="69"/>
                    <a:pt x="72" y="69"/>
                    <a:pt x="72" y="69"/>
                  </a:cubicBezTo>
                  <a:cubicBezTo>
                    <a:pt x="76" y="73"/>
                    <a:pt x="76" y="73"/>
                    <a:pt x="76" y="73"/>
                  </a:cubicBezTo>
                  <a:cubicBezTo>
                    <a:pt x="78" y="75"/>
                    <a:pt x="78" y="75"/>
                    <a:pt x="78" y="75"/>
                  </a:cubicBezTo>
                  <a:cubicBezTo>
                    <a:pt x="78" y="77"/>
                    <a:pt x="78" y="77"/>
                    <a:pt x="78" y="77"/>
                  </a:cubicBezTo>
                  <a:cubicBezTo>
                    <a:pt x="78" y="78"/>
                    <a:pt x="78" y="78"/>
                    <a:pt x="78" y="78"/>
                  </a:cubicBezTo>
                  <a:cubicBezTo>
                    <a:pt x="78" y="80"/>
                    <a:pt x="78" y="80"/>
                    <a:pt x="78" y="80"/>
                  </a:cubicBezTo>
                  <a:cubicBezTo>
                    <a:pt x="80" y="84"/>
                    <a:pt x="80" y="84"/>
                    <a:pt x="80" y="84"/>
                  </a:cubicBezTo>
                  <a:cubicBezTo>
                    <a:pt x="82" y="82"/>
                    <a:pt x="82" y="82"/>
                    <a:pt x="82" y="82"/>
                  </a:cubicBezTo>
                  <a:cubicBezTo>
                    <a:pt x="85" y="82"/>
                    <a:pt x="85" y="82"/>
                    <a:pt x="85" y="82"/>
                  </a:cubicBezTo>
                  <a:cubicBezTo>
                    <a:pt x="83" y="86"/>
                    <a:pt x="83" y="86"/>
                    <a:pt x="83" y="86"/>
                  </a:cubicBezTo>
                  <a:cubicBezTo>
                    <a:pt x="82" y="86"/>
                    <a:pt x="82" y="86"/>
                    <a:pt x="82" y="86"/>
                  </a:cubicBezTo>
                  <a:cubicBezTo>
                    <a:pt x="80" y="86"/>
                    <a:pt x="80" y="86"/>
                    <a:pt x="80" y="86"/>
                  </a:cubicBezTo>
                  <a:cubicBezTo>
                    <a:pt x="78" y="84"/>
                    <a:pt x="78" y="84"/>
                    <a:pt x="78" y="84"/>
                  </a:cubicBezTo>
                  <a:cubicBezTo>
                    <a:pt x="76" y="82"/>
                    <a:pt x="76" y="82"/>
                    <a:pt x="76" y="82"/>
                  </a:cubicBezTo>
                  <a:cubicBezTo>
                    <a:pt x="78" y="80"/>
                    <a:pt x="78" y="80"/>
                    <a:pt x="78" y="80"/>
                  </a:cubicBezTo>
                  <a:cubicBezTo>
                    <a:pt x="76" y="80"/>
                    <a:pt x="76" y="80"/>
                    <a:pt x="76" y="80"/>
                  </a:cubicBezTo>
                  <a:cubicBezTo>
                    <a:pt x="74" y="77"/>
                    <a:pt x="74" y="77"/>
                    <a:pt x="74" y="77"/>
                  </a:cubicBezTo>
                  <a:cubicBezTo>
                    <a:pt x="72" y="75"/>
                    <a:pt x="72" y="75"/>
                    <a:pt x="72" y="75"/>
                  </a:cubicBezTo>
                  <a:cubicBezTo>
                    <a:pt x="71" y="75"/>
                    <a:pt x="71" y="75"/>
                    <a:pt x="71" y="75"/>
                  </a:cubicBezTo>
                  <a:cubicBezTo>
                    <a:pt x="67" y="73"/>
                    <a:pt x="67" y="73"/>
                    <a:pt x="67" y="73"/>
                  </a:cubicBezTo>
                  <a:cubicBezTo>
                    <a:pt x="65" y="71"/>
                    <a:pt x="65" y="71"/>
                    <a:pt x="65" y="71"/>
                  </a:cubicBezTo>
                  <a:cubicBezTo>
                    <a:pt x="63" y="71"/>
                    <a:pt x="63" y="71"/>
                    <a:pt x="63" y="71"/>
                  </a:cubicBezTo>
                  <a:cubicBezTo>
                    <a:pt x="63" y="69"/>
                    <a:pt x="63" y="69"/>
                    <a:pt x="63" y="69"/>
                  </a:cubicBezTo>
                  <a:cubicBezTo>
                    <a:pt x="62" y="68"/>
                    <a:pt x="62" y="68"/>
                    <a:pt x="62" y="68"/>
                  </a:cubicBezTo>
                  <a:cubicBezTo>
                    <a:pt x="60" y="68"/>
                    <a:pt x="60" y="68"/>
                    <a:pt x="60" y="68"/>
                  </a:cubicBezTo>
                  <a:cubicBezTo>
                    <a:pt x="58" y="66"/>
                    <a:pt x="58" y="66"/>
                    <a:pt x="58" y="66"/>
                  </a:cubicBezTo>
                  <a:cubicBezTo>
                    <a:pt x="56" y="66"/>
                    <a:pt x="56" y="66"/>
                    <a:pt x="56" y="66"/>
                  </a:cubicBezTo>
                  <a:cubicBezTo>
                    <a:pt x="54" y="66"/>
                    <a:pt x="54" y="66"/>
                    <a:pt x="54" y="66"/>
                  </a:cubicBezTo>
                  <a:close/>
                  <a:moveTo>
                    <a:pt x="60" y="117"/>
                  </a:moveTo>
                  <a:cubicBezTo>
                    <a:pt x="60" y="117"/>
                    <a:pt x="60" y="117"/>
                    <a:pt x="60" y="117"/>
                  </a:cubicBezTo>
                  <a:cubicBezTo>
                    <a:pt x="60" y="119"/>
                    <a:pt x="60" y="119"/>
                    <a:pt x="60" y="119"/>
                  </a:cubicBezTo>
                  <a:cubicBezTo>
                    <a:pt x="62" y="120"/>
                    <a:pt x="62" y="120"/>
                    <a:pt x="62" y="120"/>
                  </a:cubicBezTo>
                  <a:cubicBezTo>
                    <a:pt x="62" y="122"/>
                    <a:pt x="62" y="122"/>
                    <a:pt x="62" y="122"/>
                  </a:cubicBezTo>
                  <a:cubicBezTo>
                    <a:pt x="60" y="122"/>
                    <a:pt x="60" y="122"/>
                    <a:pt x="60" y="122"/>
                  </a:cubicBezTo>
                  <a:cubicBezTo>
                    <a:pt x="60" y="120"/>
                    <a:pt x="60" y="120"/>
                    <a:pt x="60" y="120"/>
                  </a:cubicBezTo>
                  <a:cubicBezTo>
                    <a:pt x="58" y="119"/>
                    <a:pt x="58" y="119"/>
                    <a:pt x="58" y="119"/>
                  </a:cubicBezTo>
                  <a:cubicBezTo>
                    <a:pt x="60" y="117"/>
                    <a:pt x="60" y="117"/>
                    <a:pt x="60" y="117"/>
                  </a:cubicBezTo>
                  <a:close/>
                  <a:moveTo>
                    <a:pt x="60" y="113"/>
                  </a:moveTo>
                  <a:cubicBezTo>
                    <a:pt x="60" y="115"/>
                    <a:pt x="60" y="115"/>
                    <a:pt x="60" y="115"/>
                  </a:cubicBezTo>
                  <a:cubicBezTo>
                    <a:pt x="58" y="115"/>
                    <a:pt x="58" y="115"/>
                    <a:pt x="58" y="115"/>
                  </a:cubicBezTo>
                  <a:cubicBezTo>
                    <a:pt x="60" y="113"/>
                    <a:pt x="60" y="113"/>
                    <a:pt x="60" y="113"/>
                  </a:cubicBezTo>
                  <a:cubicBezTo>
                    <a:pt x="60" y="113"/>
                    <a:pt x="60" y="113"/>
                    <a:pt x="60" y="113"/>
                  </a:cubicBezTo>
                  <a:close/>
                </a:path>
              </a:pathLst>
            </a:custGeom>
            <a:solidFill>
              <a:schemeClr val="bg1"/>
            </a:solidFill>
            <a:ln w="6350">
              <a:solidFill>
                <a:schemeClr val="accent2"/>
              </a:solidFill>
              <a:round/>
              <a:headEnd/>
              <a:tailEnd/>
            </a:ln>
          </p:spPr>
          <p:txBody>
            <a:bodyPr/>
            <a:lstStyle/>
            <a:p>
              <a:endParaRPr lang="de-DE"/>
            </a:p>
          </p:txBody>
        </p:sp>
        <p:sp>
          <p:nvSpPr>
            <p:cNvPr id="240" name="Freeform 84"/>
            <p:cNvSpPr>
              <a:spLocks noEditPoints="1"/>
            </p:cNvSpPr>
            <p:nvPr/>
          </p:nvSpPr>
          <p:spPr bwMode="gray">
            <a:xfrm>
              <a:off x="3283" y="2234"/>
              <a:ext cx="474" cy="458"/>
            </a:xfrm>
            <a:custGeom>
              <a:avLst/>
              <a:gdLst>
                <a:gd name="T0" fmla="*/ 9641262 w 149"/>
                <a:gd name="T1" fmla="*/ 1162585 h 144"/>
                <a:gd name="T2" fmla="*/ 6376331 w 149"/>
                <a:gd name="T3" fmla="*/ 1603630 h 144"/>
                <a:gd name="T4" fmla="*/ 2433424 w 149"/>
                <a:gd name="T5" fmla="*/ 2867433 h 144"/>
                <a:gd name="T6" fmla="*/ 1697757 w 149"/>
                <a:gd name="T7" fmla="*/ 6127331 h 144"/>
                <a:gd name="T8" fmla="*/ 4038976 w 149"/>
                <a:gd name="T9" fmla="*/ 8260873 h 144"/>
                <a:gd name="T10" fmla="*/ 5937878 w 149"/>
                <a:gd name="T11" fmla="*/ 8890308 h 144"/>
                <a:gd name="T12" fmla="*/ 2875227 w 149"/>
                <a:gd name="T13" fmla="*/ 8890308 h 144"/>
                <a:gd name="T14" fmla="*/ 4468118 w 149"/>
                <a:gd name="T15" fmla="*/ 11559831 h 144"/>
                <a:gd name="T16" fmla="*/ 5506805 w 149"/>
                <a:gd name="T17" fmla="*/ 11760632 h 144"/>
                <a:gd name="T18" fmla="*/ 5736822 w 149"/>
                <a:gd name="T19" fmla="*/ 10291750 h 144"/>
                <a:gd name="T20" fmla="*/ 6911047 w 149"/>
                <a:gd name="T21" fmla="*/ 10291750 h 144"/>
                <a:gd name="T22" fmla="*/ 7540182 w 149"/>
                <a:gd name="T23" fmla="*/ 9331352 h 144"/>
                <a:gd name="T24" fmla="*/ 6376331 w 149"/>
                <a:gd name="T25" fmla="*/ 7529816 h 144"/>
                <a:gd name="T26" fmla="*/ 5736822 w 149"/>
                <a:gd name="T27" fmla="*/ 6031968 h 144"/>
                <a:gd name="T28" fmla="*/ 5506805 w 149"/>
                <a:gd name="T29" fmla="*/ 4964749 h 144"/>
                <a:gd name="T30" fmla="*/ 5506805 w 149"/>
                <a:gd name="T31" fmla="*/ 3298987 h 144"/>
                <a:gd name="T32" fmla="*/ 6911047 w 149"/>
                <a:gd name="T33" fmla="*/ 3927512 h 144"/>
                <a:gd name="T34" fmla="*/ 8078073 w 149"/>
                <a:gd name="T35" fmla="*/ 3697666 h 144"/>
                <a:gd name="T36" fmla="*/ 8704256 w 149"/>
                <a:gd name="T37" fmla="*/ 2334312 h 144"/>
                <a:gd name="T38" fmla="*/ 11579158 w 149"/>
                <a:gd name="T39" fmla="*/ 1801152 h 144"/>
                <a:gd name="T40" fmla="*/ 7540182 w 149"/>
                <a:gd name="T41" fmla="*/ 14522576 h 144"/>
                <a:gd name="T42" fmla="*/ 10174944 w 149"/>
                <a:gd name="T43" fmla="*/ 15257497 h 144"/>
                <a:gd name="T44" fmla="*/ 12315140 w 149"/>
                <a:gd name="T45" fmla="*/ 14522576 h 144"/>
                <a:gd name="T46" fmla="*/ 10814514 w 149"/>
                <a:gd name="T47" fmla="*/ 14282393 h 144"/>
                <a:gd name="T48" fmla="*/ 8474226 w 149"/>
                <a:gd name="T49" fmla="*/ 13884009 h 144"/>
                <a:gd name="T50" fmla="*/ 7847022 w 149"/>
                <a:gd name="T51" fmla="*/ 14084871 h 144"/>
                <a:gd name="T52" fmla="*/ 198059 w 149"/>
                <a:gd name="T53" fmla="*/ 5393411 h 144"/>
                <a:gd name="T54" fmla="*/ 2140196 w 149"/>
                <a:gd name="T55" fmla="*/ 7194553 h 144"/>
                <a:gd name="T56" fmla="*/ 2140196 w 149"/>
                <a:gd name="T57" fmla="*/ 8260873 h 144"/>
                <a:gd name="T58" fmla="*/ 1697757 w 149"/>
                <a:gd name="T59" fmla="*/ 8692398 h 144"/>
                <a:gd name="T60" fmla="*/ 2337354 w 149"/>
                <a:gd name="T61" fmla="*/ 9624228 h 144"/>
                <a:gd name="T62" fmla="*/ 13917534 w 149"/>
                <a:gd name="T63" fmla="*/ 13350846 h 144"/>
                <a:gd name="T64" fmla="*/ 13917534 w 149"/>
                <a:gd name="T65" fmla="*/ 14282393 h 144"/>
                <a:gd name="T66" fmla="*/ 15816317 w 149"/>
                <a:gd name="T67" fmla="*/ 12188264 h 144"/>
                <a:gd name="T68" fmla="*/ 14652466 w 149"/>
                <a:gd name="T69" fmla="*/ 13350846 h 144"/>
                <a:gd name="T70" fmla="*/ 12513291 w 149"/>
                <a:gd name="T71" fmla="*/ 9331352 h 144"/>
                <a:gd name="T72" fmla="*/ 12513291 w 149"/>
                <a:gd name="T73" fmla="*/ 9624228 h 144"/>
                <a:gd name="T74" fmla="*/ 11151362 w 149"/>
                <a:gd name="T75" fmla="*/ 8158338 h 144"/>
                <a:gd name="T76" fmla="*/ 10814514 w 149"/>
                <a:gd name="T77" fmla="*/ 6358086 h 144"/>
                <a:gd name="T78" fmla="*/ 12114187 w 149"/>
                <a:gd name="T79" fmla="*/ 6795884 h 144"/>
                <a:gd name="T80" fmla="*/ 11151362 w 149"/>
                <a:gd name="T81" fmla="*/ 6565131 h 144"/>
                <a:gd name="T82" fmla="*/ 9439885 w 149"/>
                <a:gd name="T83" fmla="*/ 4230826 h 144"/>
                <a:gd name="T84" fmla="*/ 9439885 w 149"/>
                <a:gd name="T85" fmla="*/ 4658448 h 144"/>
                <a:gd name="T86" fmla="*/ 8474226 w 149"/>
                <a:gd name="T87" fmla="*/ 2867433 h 144"/>
                <a:gd name="T88" fmla="*/ 6670551 w 149"/>
                <a:gd name="T89" fmla="*/ 6127331 h 144"/>
                <a:gd name="T90" fmla="*/ 9010874 w 149"/>
                <a:gd name="T91" fmla="*/ 7299032 h 144"/>
                <a:gd name="T92" fmla="*/ 11579158 w 149"/>
                <a:gd name="T93" fmla="*/ 10291750 h 144"/>
                <a:gd name="T94" fmla="*/ 8809847 w 149"/>
                <a:gd name="T95" fmla="*/ 11026713 h 144"/>
                <a:gd name="T96" fmla="*/ 8474226 w 149"/>
                <a:gd name="T97" fmla="*/ 9854083 h 144"/>
                <a:gd name="T98" fmla="*/ 10613490 w 149"/>
                <a:gd name="T99" fmla="*/ 11227472 h 144"/>
                <a:gd name="T100" fmla="*/ 10613490 w 149"/>
                <a:gd name="T101" fmla="*/ 10291750 h 144"/>
                <a:gd name="T102" fmla="*/ 9242116 w 149"/>
                <a:gd name="T103" fmla="*/ 9120030 h 144"/>
                <a:gd name="T104" fmla="*/ 5937878 w 149"/>
                <a:gd name="T105" fmla="*/ 6795884 h 144"/>
                <a:gd name="T106" fmla="*/ 8276135 w 149"/>
                <a:gd name="T107" fmla="*/ 7957448 h 144"/>
                <a:gd name="T108" fmla="*/ 8474226 w 149"/>
                <a:gd name="T109" fmla="*/ 9120030 h 144"/>
                <a:gd name="T110" fmla="*/ 6911047 w 149"/>
                <a:gd name="T111" fmla="*/ 7529816 h 144"/>
                <a:gd name="T112" fmla="*/ 6376331 w 149"/>
                <a:gd name="T113" fmla="*/ 12389154 h 144"/>
                <a:gd name="T114" fmla="*/ 6376331 w 149"/>
                <a:gd name="T115" fmla="*/ 12188264 h 14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49" h="144">
                  <a:moveTo>
                    <a:pt x="111" y="0"/>
                  </a:moveTo>
                  <a:cubicBezTo>
                    <a:pt x="109" y="0"/>
                    <a:pt x="109" y="0"/>
                    <a:pt x="109" y="0"/>
                  </a:cubicBezTo>
                  <a:cubicBezTo>
                    <a:pt x="105" y="4"/>
                    <a:pt x="105" y="4"/>
                    <a:pt x="105" y="4"/>
                  </a:cubicBezTo>
                  <a:cubicBezTo>
                    <a:pt x="105" y="7"/>
                    <a:pt x="105" y="7"/>
                    <a:pt x="105" y="7"/>
                  </a:cubicBezTo>
                  <a:cubicBezTo>
                    <a:pt x="105" y="11"/>
                    <a:pt x="105" y="11"/>
                    <a:pt x="105" y="11"/>
                  </a:cubicBezTo>
                  <a:cubicBezTo>
                    <a:pt x="103" y="13"/>
                    <a:pt x="103" y="13"/>
                    <a:pt x="103" y="13"/>
                  </a:cubicBezTo>
                  <a:cubicBezTo>
                    <a:pt x="96" y="13"/>
                    <a:pt x="96" y="13"/>
                    <a:pt x="96" y="13"/>
                  </a:cubicBezTo>
                  <a:cubicBezTo>
                    <a:pt x="92" y="13"/>
                    <a:pt x="92" y="13"/>
                    <a:pt x="92" y="13"/>
                  </a:cubicBezTo>
                  <a:cubicBezTo>
                    <a:pt x="91" y="11"/>
                    <a:pt x="91" y="11"/>
                    <a:pt x="91" y="11"/>
                  </a:cubicBezTo>
                  <a:cubicBezTo>
                    <a:pt x="87" y="11"/>
                    <a:pt x="87" y="11"/>
                    <a:pt x="87" y="11"/>
                  </a:cubicBezTo>
                  <a:cubicBezTo>
                    <a:pt x="85" y="15"/>
                    <a:pt x="85" y="15"/>
                    <a:pt x="85" y="15"/>
                  </a:cubicBezTo>
                  <a:cubicBezTo>
                    <a:pt x="82" y="13"/>
                    <a:pt x="82" y="13"/>
                    <a:pt x="82" y="13"/>
                  </a:cubicBezTo>
                  <a:cubicBezTo>
                    <a:pt x="80" y="11"/>
                    <a:pt x="80" y="11"/>
                    <a:pt x="80" y="11"/>
                  </a:cubicBezTo>
                  <a:cubicBezTo>
                    <a:pt x="76" y="11"/>
                    <a:pt x="76" y="11"/>
                    <a:pt x="76" y="11"/>
                  </a:cubicBezTo>
                  <a:cubicBezTo>
                    <a:pt x="72" y="9"/>
                    <a:pt x="72" y="9"/>
                    <a:pt x="72" y="9"/>
                  </a:cubicBezTo>
                  <a:cubicBezTo>
                    <a:pt x="69" y="13"/>
                    <a:pt x="69" y="13"/>
                    <a:pt x="69" y="13"/>
                  </a:cubicBezTo>
                  <a:cubicBezTo>
                    <a:pt x="65" y="15"/>
                    <a:pt x="65" y="15"/>
                    <a:pt x="65" y="15"/>
                  </a:cubicBezTo>
                  <a:cubicBezTo>
                    <a:pt x="60" y="15"/>
                    <a:pt x="60" y="15"/>
                    <a:pt x="60" y="15"/>
                  </a:cubicBezTo>
                  <a:cubicBezTo>
                    <a:pt x="58" y="13"/>
                    <a:pt x="58" y="13"/>
                    <a:pt x="58" y="13"/>
                  </a:cubicBezTo>
                  <a:cubicBezTo>
                    <a:pt x="54" y="15"/>
                    <a:pt x="54" y="15"/>
                    <a:pt x="54" y="15"/>
                  </a:cubicBezTo>
                  <a:cubicBezTo>
                    <a:pt x="52" y="15"/>
                    <a:pt x="52" y="15"/>
                    <a:pt x="52" y="15"/>
                  </a:cubicBezTo>
                  <a:cubicBezTo>
                    <a:pt x="47" y="18"/>
                    <a:pt x="47" y="18"/>
                    <a:pt x="47" y="18"/>
                  </a:cubicBezTo>
                  <a:cubicBezTo>
                    <a:pt x="40" y="17"/>
                    <a:pt x="40" y="17"/>
                    <a:pt x="40" y="17"/>
                  </a:cubicBezTo>
                  <a:cubicBezTo>
                    <a:pt x="36" y="20"/>
                    <a:pt x="36" y="20"/>
                    <a:pt x="36" y="20"/>
                  </a:cubicBezTo>
                  <a:cubicBezTo>
                    <a:pt x="36" y="20"/>
                    <a:pt x="36" y="20"/>
                    <a:pt x="36" y="20"/>
                  </a:cubicBezTo>
                  <a:cubicBezTo>
                    <a:pt x="31" y="22"/>
                    <a:pt x="31" y="22"/>
                    <a:pt x="31" y="22"/>
                  </a:cubicBezTo>
                  <a:cubicBezTo>
                    <a:pt x="23" y="27"/>
                    <a:pt x="23" y="27"/>
                    <a:pt x="23" y="27"/>
                  </a:cubicBezTo>
                  <a:cubicBezTo>
                    <a:pt x="23" y="31"/>
                    <a:pt x="23" y="31"/>
                    <a:pt x="23" y="31"/>
                  </a:cubicBezTo>
                  <a:cubicBezTo>
                    <a:pt x="20" y="37"/>
                    <a:pt x="20" y="37"/>
                    <a:pt x="20" y="37"/>
                  </a:cubicBezTo>
                  <a:cubicBezTo>
                    <a:pt x="14" y="38"/>
                    <a:pt x="14" y="38"/>
                    <a:pt x="14" y="38"/>
                  </a:cubicBezTo>
                  <a:cubicBezTo>
                    <a:pt x="13" y="42"/>
                    <a:pt x="13" y="42"/>
                    <a:pt x="13" y="42"/>
                  </a:cubicBezTo>
                  <a:cubicBezTo>
                    <a:pt x="11" y="47"/>
                    <a:pt x="11" y="47"/>
                    <a:pt x="11" y="47"/>
                  </a:cubicBezTo>
                  <a:cubicBezTo>
                    <a:pt x="9" y="49"/>
                    <a:pt x="9" y="49"/>
                    <a:pt x="9" y="49"/>
                  </a:cubicBezTo>
                  <a:cubicBezTo>
                    <a:pt x="9" y="49"/>
                    <a:pt x="9" y="49"/>
                    <a:pt x="9" y="49"/>
                  </a:cubicBezTo>
                  <a:cubicBezTo>
                    <a:pt x="9" y="55"/>
                    <a:pt x="9" y="55"/>
                    <a:pt x="9" y="55"/>
                  </a:cubicBezTo>
                  <a:cubicBezTo>
                    <a:pt x="16" y="58"/>
                    <a:pt x="16" y="58"/>
                    <a:pt x="16" y="58"/>
                  </a:cubicBezTo>
                  <a:cubicBezTo>
                    <a:pt x="20" y="64"/>
                    <a:pt x="20" y="64"/>
                    <a:pt x="20" y="64"/>
                  </a:cubicBezTo>
                  <a:cubicBezTo>
                    <a:pt x="22" y="64"/>
                    <a:pt x="22" y="64"/>
                    <a:pt x="22" y="64"/>
                  </a:cubicBezTo>
                  <a:cubicBezTo>
                    <a:pt x="20" y="66"/>
                    <a:pt x="20" y="66"/>
                    <a:pt x="20" y="66"/>
                  </a:cubicBezTo>
                  <a:cubicBezTo>
                    <a:pt x="25" y="73"/>
                    <a:pt x="25" y="73"/>
                    <a:pt x="25" y="73"/>
                  </a:cubicBezTo>
                  <a:cubicBezTo>
                    <a:pt x="27" y="77"/>
                    <a:pt x="27" y="77"/>
                    <a:pt x="27" y="77"/>
                  </a:cubicBezTo>
                  <a:cubicBezTo>
                    <a:pt x="29" y="78"/>
                    <a:pt x="29" y="78"/>
                    <a:pt x="29" y="78"/>
                  </a:cubicBezTo>
                  <a:cubicBezTo>
                    <a:pt x="31" y="75"/>
                    <a:pt x="31" y="75"/>
                    <a:pt x="31" y="75"/>
                  </a:cubicBezTo>
                  <a:cubicBezTo>
                    <a:pt x="34" y="78"/>
                    <a:pt x="34" y="78"/>
                    <a:pt x="34" y="78"/>
                  </a:cubicBezTo>
                  <a:cubicBezTo>
                    <a:pt x="38" y="78"/>
                    <a:pt x="38" y="78"/>
                    <a:pt x="38" y="78"/>
                  </a:cubicBezTo>
                  <a:cubicBezTo>
                    <a:pt x="40" y="77"/>
                    <a:pt x="40" y="77"/>
                    <a:pt x="40" y="77"/>
                  </a:cubicBezTo>
                  <a:cubicBezTo>
                    <a:pt x="43" y="77"/>
                    <a:pt x="43" y="77"/>
                    <a:pt x="43" y="77"/>
                  </a:cubicBezTo>
                  <a:cubicBezTo>
                    <a:pt x="47" y="78"/>
                    <a:pt x="47" y="78"/>
                    <a:pt x="47" y="78"/>
                  </a:cubicBezTo>
                  <a:cubicBezTo>
                    <a:pt x="51" y="78"/>
                    <a:pt x="51" y="78"/>
                    <a:pt x="51" y="78"/>
                  </a:cubicBezTo>
                  <a:cubicBezTo>
                    <a:pt x="51" y="80"/>
                    <a:pt x="51" y="80"/>
                    <a:pt x="51" y="80"/>
                  </a:cubicBezTo>
                  <a:cubicBezTo>
                    <a:pt x="52" y="80"/>
                    <a:pt x="52" y="80"/>
                    <a:pt x="52" y="80"/>
                  </a:cubicBezTo>
                  <a:cubicBezTo>
                    <a:pt x="54" y="82"/>
                    <a:pt x="54" y="82"/>
                    <a:pt x="54" y="82"/>
                  </a:cubicBezTo>
                  <a:cubicBezTo>
                    <a:pt x="58" y="82"/>
                    <a:pt x="58" y="82"/>
                    <a:pt x="58" y="82"/>
                  </a:cubicBezTo>
                  <a:cubicBezTo>
                    <a:pt x="56" y="84"/>
                    <a:pt x="56" y="84"/>
                    <a:pt x="56" y="84"/>
                  </a:cubicBezTo>
                  <a:cubicBezTo>
                    <a:pt x="52" y="86"/>
                    <a:pt x="52" y="86"/>
                    <a:pt x="52" y="86"/>
                  </a:cubicBezTo>
                  <a:cubicBezTo>
                    <a:pt x="51" y="84"/>
                    <a:pt x="51" y="84"/>
                    <a:pt x="51" y="84"/>
                  </a:cubicBezTo>
                  <a:cubicBezTo>
                    <a:pt x="47" y="84"/>
                    <a:pt x="47" y="84"/>
                    <a:pt x="47" y="84"/>
                  </a:cubicBezTo>
                  <a:cubicBezTo>
                    <a:pt x="42" y="78"/>
                    <a:pt x="42" y="78"/>
                    <a:pt x="42" y="78"/>
                  </a:cubicBezTo>
                  <a:cubicBezTo>
                    <a:pt x="38" y="80"/>
                    <a:pt x="38" y="80"/>
                    <a:pt x="38" y="80"/>
                  </a:cubicBezTo>
                  <a:cubicBezTo>
                    <a:pt x="34" y="82"/>
                    <a:pt x="34" y="82"/>
                    <a:pt x="34" y="82"/>
                  </a:cubicBezTo>
                  <a:cubicBezTo>
                    <a:pt x="33" y="80"/>
                    <a:pt x="33" y="80"/>
                    <a:pt x="33" y="80"/>
                  </a:cubicBezTo>
                  <a:cubicBezTo>
                    <a:pt x="29" y="84"/>
                    <a:pt x="29" y="84"/>
                    <a:pt x="29" y="84"/>
                  </a:cubicBezTo>
                  <a:cubicBezTo>
                    <a:pt x="27" y="84"/>
                    <a:pt x="27" y="84"/>
                    <a:pt x="27" y="84"/>
                  </a:cubicBezTo>
                  <a:cubicBezTo>
                    <a:pt x="27" y="86"/>
                    <a:pt x="27" y="86"/>
                    <a:pt x="27" y="86"/>
                  </a:cubicBezTo>
                  <a:cubicBezTo>
                    <a:pt x="31" y="91"/>
                    <a:pt x="31" y="91"/>
                    <a:pt x="31" y="91"/>
                  </a:cubicBezTo>
                  <a:cubicBezTo>
                    <a:pt x="34" y="93"/>
                    <a:pt x="34" y="93"/>
                    <a:pt x="34" y="93"/>
                  </a:cubicBezTo>
                  <a:cubicBezTo>
                    <a:pt x="38" y="97"/>
                    <a:pt x="38" y="97"/>
                    <a:pt x="38" y="97"/>
                  </a:cubicBezTo>
                  <a:cubicBezTo>
                    <a:pt x="38" y="98"/>
                    <a:pt x="38" y="98"/>
                    <a:pt x="38" y="98"/>
                  </a:cubicBezTo>
                  <a:cubicBezTo>
                    <a:pt x="36" y="100"/>
                    <a:pt x="36" y="100"/>
                    <a:pt x="36" y="100"/>
                  </a:cubicBezTo>
                  <a:cubicBezTo>
                    <a:pt x="36" y="104"/>
                    <a:pt x="36" y="104"/>
                    <a:pt x="36" y="104"/>
                  </a:cubicBezTo>
                  <a:cubicBezTo>
                    <a:pt x="40" y="108"/>
                    <a:pt x="40" y="108"/>
                    <a:pt x="40" y="108"/>
                  </a:cubicBezTo>
                  <a:cubicBezTo>
                    <a:pt x="42" y="109"/>
                    <a:pt x="42" y="109"/>
                    <a:pt x="42" y="109"/>
                  </a:cubicBezTo>
                  <a:cubicBezTo>
                    <a:pt x="43" y="108"/>
                    <a:pt x="43" y="108"/>
                    <a:pt x="43" y="108"/>
                  </a:cubicBezTo>
                  <a:cubicBezTo>
                    <a:pt x="42" y="106"/>
                    <a:pt x="42" y="106"/>
                    <a:pt x="42" y="106"/>
                  </a:cubicBezTo>
                  <a:cubicBezTo>
                    <a:pt x="43" y="102"/>
                    <a:pt x="43" y="102"/>
                    <a:pt x="43" y="102"/>
                  </a:cubicBezTo>
                  <a:cubicBezTo>
                    <a:pt x="45" y="108"/>
                    <a:pt x="45" y="108"/>
                    <a:pt x="45" y="108"/>
                  </a:cubicBezTo>
                  <a:cubicBezTo>
                    <a:pt x="49" y="109"/>
                    <a:pt x="49" y="109"/>
                    <a:pt x="49" y="109"/>
                  </a:cubicBezTo>
                  <a:cubicBezTo>
                    <a:pt x="51" y="111"/>
                    <a:pt x="51" y="111"/>
                    <a:pt x="51" y="111"/>
                  </a:cubicBezTo>
                  <a:cubicBezTo>
                    <a:pt x="49" y="115"/>
                    <a:pt x="49" y="115"/>
                    <a:pt x="49" y="115"/>
                  </a:cubicBezTo>
                  <a:cubicBezTo>
                    <a:pt x="52" y="117"/>
                    <a:pt x="52" y="117"/>
                    <a:pt x="52" y="117"/>
                  </a:cubicBezTo>
                  <a:cubicBezTo>
                    <a:pt x="52" y="111"/>
                    <a:pt x="52" y="111"/>
                    <a:pt x="52" y="111"/>
                  </a:cubicBezTo>
                  <a:cubicBezTo>
                    <a:pt x="52" y="108"/>
                    <a:pt x="52" y="108"/>
                    <a:pt x="52" y="108"/>
                  </a:cubicBezTo>
                  <a:cubicBezTo>
                    <a:pt x="56" y="108"/>
                    <a:pt x="56" y="108"/>
                    <a:pt x="56" y="108"/>
                  </a:cubicBezTo>
                  <a:cubicBezTo>
                    <a:pt x="58" y="111"/>
                    <a:pt x="58" y="111"/>
                    <a:pt x="58" y="111"/>
                  </a:cubicBezTo>
                  <a:cubicBezTo>
                    <a:pt x="63" y="115"/>
                    <a:pt x="63" y="115"/>
                    <a:pt x="63" y="115"/>
                  </a:cubicBezTo>
                  <a:cubicBezTo>
                    <a:pt x="60" y="111"/>
                    <a:pt x="60" y="111"/>
                    <a:pt x="60" y="111"/>
                  </a:cubicBezTo>
                  <a:cubicBezTo>
                    <a:pt x="62" y="108"/>
                    <a:pt x="62" y="108"/>
                    <a:pt x="62" y="108"/>
                  </a:cubicBezTo>
                  <a:cubicBezTo>
                    <a:pt x="60" y="106"/>
                    <a:pt x="60" y="106"/>
                    <a:pt x="60" y="106"/>
                  </a:cubicBezTo>
                  <a:cubicBezTo>
                    <a:pt x="56" y="98"/>
                    <a:pt x="56" y="98"/>
                    <a:pt x="56" y="98"/>
                  </a:cubicBezTo>
                  <a:cubicBezTo>
                    <a:pt x="54" y="97"/>
                    <a:pt x="54" y="97"/>
                    <a:pt x="54" y="97"/>
                  </a:cubicBezTo>
                  <a:cubicBezTo>
                    <a:pt x="54" y="95"/>
                    <a:pt x="54" y="95"/>
                    <a:pt x="54" y="95"/>
                  </a:cubicBezTo>
                  <a:cubicBezTo>
                    <a:pt x="56" y="95"/>
                    <a:pt x="56" y="95"/>
                    <a:pt x="56" y="95"/>
                  </a:cubicBezTo>
                  <a:cubicBezTo>
                    <a:pt x="62" y="97"/>
                    <a:pt x="62" y="97"/>
                    <a:pt x="62" y="97"/>
                  </a:cubicBezTo>
                  <a:cubicBezTo>
                    <a:pt x="60" y="98"/>
                    <a:pt x="60" y="98"/>
                    <a:pt x="60" y="98"/>
                  </a:cubicBezTo>
                  <a:cubicBezTo>
                    <a:pt x="62" y="98"/>
                    <a:pt x="62" y="98"/>
                    <a:pt x="62" y="98"/>
                  </a:cubicBezTo>
                  <a:cubicBezTo>
                    <a:pt x="63" y="97"/>
                    <a:pt x="63" y="97"/>
                    <a:pt x="63" y="97"/>
                  </a:cubicBezTo>
                  <a:cubicBezTo>
                    <a:pt x="67" y="98"/>
                    <a:pt x="67" y="98"/>
                    <a:pt x="67" y="98"/>
                  </a:cubicBezTo>
                  <a:cubicBezTo>
                    <a:pt x="67" y="97"/>
                    <a:pt x="67" y="97"/>
                    <a:pt x="67" y="97"/>
                  </a:cubicBezTo>
                  <a:cubicBezTo>
                    <a:pt x="65" y="97"/>
                    <a:pt x="65" y="97"/>
                    <a:pt x="65" y="97"/>
                  </a:cubicBezTo>
                  <a:cubicBezTo>
                    <a:pt x="65" y="95"/>
                    <a:pt x="65" y="95"/>
                    <a:pt x="65" y="95"/>
                  </a:cubicBezTo>
                  <a:cubicBezTo>
                    <a:pt x="63" y="95"/>
                    <a:pt x="63" y="95"/>
                    <a:pt x="63" y="95"/>
                  </a:cubicBezTo>
                  <a:cubicBezTo>
                    <a:pt x="60" y="93"/>
                    <a:pt x="60" y="93"/>
                    <a:pt x="60" y="93"/>
                  </a:cubicBezTo>
                  <a:cubicBezTo>
                    <a:pt x="62" y="91"/>
                    <a:pt x="62" y="91"/>
                    <a:pt x="62" y="91"/>
                  </a:cubicBezTo>
                  <a:cubicBezTo>
                    <a:pt x="58" y="88"/>
                    <a:pt x="58" y="88"/>
                    <a:pt x="58" y="88"/>
                  </a:cubicBezTo>
                  <a:cubicBezTo>
                    <a:pt x="62" y="86"/>
                    <a:pt x="62" y="86"/>
                    <a:pt x="62" y="86"/>
                  </a:cubicBezTo>
                  <a:cubicBezTo>
                    <a:pt x="63" y="86"/>
                    <a:pt x="63" y="86"/>
                    <a:pt x="63" y="86"/>
                  </a:cubicBezTo>
                  <a:cubicBezTo>
                    <a:pt x="65" y="86"/>
                    <a:pt x="65" y="86"/>
                    <a:pt x="65" y="86"/>
                  </a:cubicBezTo>
                  <a:cubicBezTo>
                    <a:pt x="71" y="88"/>
                    <a:pt x="71" y="88"/>
                    <a:pt x="71" y="88"/>
                  </a:cubicBezTo>
                  <a:cubicBezTo>
                    <a:pt x="71" y="89"/>
                    <a:pt x="71" y="89"/>
                    <a:pt x="71" y="89"/>
                  </a:cubicBezTo>
                  <a:cubicBezTo>
                    <a:pt x="74" y="89"/>
                    <a:pt x="74" y="89"/>
                    <a:pt x="74" y="89"/>
                  </a:cubicBezTo>
                  <a:cubicBezTo>
                    <a:pt x="74" y="88"/>
                    <a:pt x="74" y="88"/>
                    <a:pt x="74" y="88"/>
                  </a:cubicBezTo>
                  <a:cubicBezTo>
                    <a:pt x="72" y="84"/>
                    <a:pt x="72" y="84"/>
                    <a:pt x="72" y="84"/>
                  </a:cubicBezTo>
                  <a:cubicBezTo>
                    <a:pt x="72" y="80"/>
                    <a:pt x="72" y="80"/>
                    <a:pt x="72" y="80"/>
                  </a:cubicBezTo>
                  <a:cubicBezTo>
                    <a:pt x="72" y="78"/>
                    <a:pt x="72" y="78"/>
                    <a:pt x="72" y="78"/>
                  </a:cubicBezTo>
                  <a:cubicBezTo>
                    <a:pt x="63" y="73"/>
                    <a:pt x="63" y="73"/>
                    <a:pt x="63" y="73"/>
                  </a:cubicBezTo>
                  <a:cubicBezTo>
                    <a:pt x="62" y="73"/>
                    <a:pt x="62" y="73"/>
                    <a:pt x="62" y="73"/>
                  </a:cubicBezTo>
                  <a:cubicBezTo>
                    <a:pt x="60" y="71"/>
                    <a:pt x="60" y="71"/>
                    <a:pt x="60" y="71"/>
                  </a:cubicBezTo>
                  <a:cubicBezTo>
                    <a:pt x="58" y="71"/>
                    <a:pt x="58" y="71"/>
                    <a:pt x="58" y="71"/>
                  </a:cubicBezTo>
                  <a:cubicBezTo>
                    <a:pt x="56" y="69"/>
                    <a:pt x="56" y="69"/>
                    <a:pt x="56" y="69"/>
                  </a:cubicBezTo>
                  <a:cubicBezTo>
                    <a:pt x="52" y="68"/>
                    <a:pt x="52" y="68"/>
                    <a:pt x="52" y="68"/>
                  </a:cubicBezTo>
                  <a:cubicBezTo>
                    <a:pt x="49" y="66"/>
                    <a:pt x="49" y="66"/>
                    <a:pt x="49" y="66"/>
                  </a:cubicBezTo>
                  <a:cubicBezTo>
                    <a:pt x="52" y="64"/>
                    <a:pt x="52" y="64"/>
                    <a:pt x="52" y="64"/>
                  </a:cubicBezTo>
                  <a:cubicBezTo>
                    <a:pt x="56" y="62"/>
                    <a:pt x="56" y="62"/>
                    <a:pt x="56" y="62"/>
                  </a:cubicBezTo>
                  <a:cubicBezTo>
                    <a:pt x="56" y="60"/>
                    <a:pt x="56" y="60"/>
                    <a:pt x="56" y="60"/>
                  </a:cubicBezTo>
                  <a:cubicBezTo>
                    <a:pt x="52" y="60"/>
                    <a:pt x="52" y="60"/>
                    <a:pt x="52" y="60"/>
                  </a:cubicBezTo>
                  <a:cubicBezTo>
                    <a:pt x="54" y="57"/>
                    <a:pt x="54" y="57"/>
                    <a:pt x="54" y="57"/>
                  </a:cubicBezTo>
                  <a:cubicBezTo>
                    <a:pt x="54" y="55"/>
                    <a:pt x="54" y="55"/>
                    <a:pt x="54" y="55"/>
                  </a:cubicBezTo>
                  <a:cubicBezTo>
                    <a:pt x="56" y="57"/>
                    <a:pt x="56" y="57"/>
                    <a:pt x="56" y="57"/>
                  </a:cubicBezTo>
                  <a:cubicBezTo>
                    <a:pt x="58" y="58"/>
                    <a:pt x="58" y="58"/>
                    <a:pt x="58" y="58"/>
                  </a:cubicBezTo>
                  <a:cubicBezTo>
                    <a:pt x="58" y="60"/>
                    <a:pt x="58" y="60"/>
                    <a:pt x="58" y="60"/>
                  </a:cubicBezTo>
                  <a:cubicBezTo>
                    <a:pt x="58" y="62"/>
                    <a:pt x="58" y="62"/>
                    <a:pt x="58" y="62"/>
                  </a:cubicBezTo>
                  <a:cubicBezTo>
                    <a:pt x="60" y="62"/>
                    <a:pt x="60" y="62"/>
                    <a:pt x="60" y="62"/>
                  </a:cubicBezTo>
                  <a:cubicBezTo>
                    <a:pt x="62" y="57"/>
                    <a:pt x="62" y="57"/>
                    <a:pt x="62" y="57"/>
                  </a:cubicBezTo>
                  <a:cubicBezTo>
                    <a:pt x="58" y="55"/>
                    <a:pt x="58" y="55"/>
                    <a:pt x="58" y="55"/>
                  </a:cubicBezTo>
                  <a:cubicBezTo>
                    <a:pt x="52" y="47"/>
                    <a:pt x="52" y="47"/>
                    <a:pt x="52" y="47"/>
                  </a:cubicBezTo>
                  <a:cubicBezTo>
                    <a:pt x="51" y="46"/>
                    <a:pt x="51" y="46"/>
                    <a:pt x="51" y="46"/>
                  </a:cubicBezTo>
                  <a:cubicBezTo>
                    <a:pt x="51" y="44"/>
                    <a:pt x="51" y="44"/>
                    <a:pt x="51" y="44"/>
                  </a:cubicBezTo>
                  <a:cubicBezTo>
                    <a:pt x="47" y="40"/>
                    <a:pt x="47" y="40"/>
                    <a:pt x="47" y="40"/>
                  </a:cubicBezTo>
                  <a:cubicBezTo>
                    <a:pt x="49" y="38"/>
                    <a:pt x="49" y="38"/>
                    <a:pt x="49" y="38"/>
                  </a:cubicBezTo>
                  <a:cubicBezTo>
                    <a:pt x="47" y="33"/>
                    <a:pt x="47" y="33"/>
                    <a:pt x="47" y="33"/>
                  </a:cubicBezTo>
                  <a:cubicBezTo>
                    <a:pt x="49" y="29"/>
                    <a:pt x="49" y="29"/>
                    <a:pt x="49" y="29"/>
                  </a:cubicBezTo>
                  <a:cubicBezTo>
                    <a:pt x="54" y="27"/>
                    <a:pt x="54" y="27"/>
                    <a:pt x="54" y="27"/>
                  </a:cubicBezTo>
                  <a:cubicBezTo>
                    <a:pt x="54" y="31"/>
                    <a:pt x="54" y="31"/>
                    <a:pt x="54" y="31"/>
                  </a:cubicBezTo>
                  <a:cubicBezTo>
                    <a:pt x="52" y="31"/>
                    <a:pt x="52" y="31"/>
                    <a:pt x="52" y="31"/>
                  </a:cubicBezTo>
                  <a:cubicBezTo>
                    <a:pt x="52" y="33"/>
                    <a:pt x="52" y="33"/>
                    <a:pt x="52" y="33"/>
                  </a:cubicBezTo>
                  <a:cubicBezTo>
                    <a:pt x="58" y="35"/>
                    <a:pt x="58" y="35"/>
                    <a:pt x="58" y="35"/>
                  </a:cubicBezTo>
                  <a:cubicBezTo>
                    <a:pt x="58" y="40"/>
                    <a:pt x="58" y="40"/>
                    <a:pt x="58" y="40"/>
                  </a:cubicBezTo>
                  <a:cubicBezTo>
                    <a:pt x="62" y="42"/>
                    <a:pt x="62" y="42"/>
                    <a:pt x="62" y="42"/>
                  </a:cubicBezTo>
                  <a:cubicBezTo>
                    <a:pt x="65" y="42"/>
                    <a:pt x="65" y="42"/>
                    <a:pt x="65" y="42"/>
                  </a:cubicBezTo>
                  <a:cubicBezTo>
                    <a:pt x="63" y="40"/>
                    <a:pt x="63" y="40"/>
                    <a:pt x="63" y="40"/>
                  </a:cubicBezTo>
                  <a:cubicBezTo>
                    <a:pt x="62" y="38"/>
                    <a:pt x="62" y="38"/>
                    <a:pt x="62" y="38"/>
                  </a:cubicBezTo>
                  <a:cubicBezTo>
                    <a:pt x="62" y="35"/>
                    <a:pt x="62" y="35"/>
                    <a:pt x="62" y="35"/>
                  </a:cubicBezTo>
                  <a:cubicBezTo>
                    <a:pt x="65" y="37"/>
                    <a:pt x="65" y="37"/>
                    <a:pt x="65" y="37"/>
                  </a:cubicBezTo>
                  <a:cubicBezTo>
                    <a:pt x="69" y="40"/>
                    <a:pt x="69" y="40"/>
                    <a:pt x="69" y="40"/>
                  </a:cubicBezTo>
                  <a:cubicBezTo>
                    <a:pt x="71" y="42"/>
                    <a:pt x="71" y="42"/>
                    <a:pt x="71" y="42"/>
                  </a:cubicBezTo>
                  <a:cubicBezTo>
                    <a:pt x="72" y="38"/>
                    <a:pt x="72" y="38"/>
                    <a:pt x="72" y="38"/>
                  </a:cubicBezTo>
                  <a:cubicBezTo>
                    <a:pt x="69" y="37"/>
                    <a:pt x="69" y="37"/>
                    <a:pt x="69" y="37"/>
                  </a:cubicBezTo>
                  <a:cubicBezTo>
                    <a:pt x="67" y="37"/>
                    <a:pt x="67" y="37"/>
                    <a:pt x="67" y="37"/>
                  </a:cubicBezTo>
                  <a:cubicBezTo>
                    <a:pt x="67" y="35"/>
                    <a:pt x="67" y="35"/>
                    <a:pt x="67" y="35"/>
                  </a:cubicBezTo>
                  <a:cubicBezTo>
                    <a:pt x="74" y="35"/>
                    <a:pt x="74" y="35"/>
                    <a:pt x="74" y="35"/>
                  </a:cubicBezTo>
                  <a:cubicBezTo>
                    <a:pt x="76" y="37"/>
                    <a:pt x="76" y="37"/>
                    <a:pt x="76" y="37"/>
                  </a:cubicBezTo>
                  <a:cubicBezTo>
                    <a:pt x="76" y="35"/>
                    <a:pt x="76" y="35"/>
                    <a:pt x="76" y="35"/>
                  </a:cubicBezTo>
                  <a:cubicBezTo>
                    <a:pt x="72" y="33"/>
                    <a:pt x="72" y="33"/>
                    <a:pt x="72" y="33"/>
                  </a:cubicBezTo>
                  <a:cubicBezTo>
                    <a:pt x="69" y="31"/>
                    <a:pt x="69" y="31"/>
                    <a:pt x="69" y="31"/>
                  </a:cubicBezTo>
                  <a:cubicBezTo>
                    <a:pt x="67" y="27"/>
                    <a:pt x="67" y="27"/>
                    <a:pt x="67" y="27"/>
                  </a:cubicBezTo>
                  <a:cubicBezTo>
                    <a:pt x="69" y="26"/>
                    <a:pt x="69" y="26"/>
                    <a:pt x="69" y="26"/>
                  </a:cubicBezTo>
                  <a:cubicBezTo>
                    <a:pt x="71" y="27"/>
                    <a:pt x="71" y="27"/>
                    <a:pt x="71" y="27"/>
                  </a:cubicBezTo>
                  <a:cubicBezTo>
                    <a:pt x="74" y="26"/>
                    <a:pt x="74" y="26"/>
                    <a:pt x="74" y="26"/>
                  </a:cubicBezTo>
                  <a:cubicBezTo>
                    <a:pt x="76" y="20"/>
                    <a:pt x="76" y="20"/>
                    <a:pt x="76" y="20"/>
                  </a:cubicBezTo>
                  <a:cubicBezTo>
                    <a:pt x="78" y="20"/>
                    <a:pt x="78" y="20"/>
                    <a:pt x="78" y="20"/>
                  </a:cubicBezTo>
                  <a:cubicBezTo>
                    <a:pt x="82" y="22"/>
                    <a:pt x="82" y="22"/>
                    <a:pt x="82" y="22"/>
                  </a:cubicBezTo>
                  <a:cubicBezTo>
                    <a:pt x="85" y="24"/>
                    <a:pt x="85" y="24"/>
                    <a:pt x="85" y="24"/>
                  </a:cubicBezTo>
                  <a:cubicBezTo>
                    <a:pt x="87" y="20"/>
                    <a:pt x="87" y="20"/>
                    <a:pt x="87" y="20"/>
                  </a:cubicBezTo>
                  <a:cubicBezTo>
                    <a:pt x="89" y="18"/>
                    <a:pt x="89" y="18"/>
                    <a:pt x="89" y="18"/>
                  </a:cubicBezTo>
                  <a:cubicBezTo>
                    <a:pt x="89" y="18"/>
                    <a:pt x="89" y="18"/>
                    <a:pt x="89" y="18"/>
                  </a:cubicBezTo>
                  <a:cubicBezTo>
                    <a:pt x="92" y="20"/>
                    <a:pt x="92" y="20"/>
                    <a:pt x="92" y="20"/>
                  </a:cubicBezTo>
                  <a:cubicBezTo>
                    <a:pt x="98" y="20"/>
                    <a:pt x="98" y="20"/>
                    <a:pt x="98" y="20"/>
                  </a:cubicBezTo>
                  <a:cubicBezTo>
                    <a:pt x="103" y="22"/>
                    <a:pt x="103" y="22"/>
                    <a:pt x="103" y="22"/>
                  </a:cubicBezTo>
                  <a:cubicBezTo>
                    <a:pt x="107" y="22"/>
                    <a:pt x="107" y="22"/>
                    <a:pt x="107" y="22"/>
                  </a:cubicBezTo>
                  <a:cubicBezTo>
                    <a:pt x="109" y="17"/>
                    <a:pt x="109" y="17"/>
                    <a:pt x="109" y="17"/>
                  </a:cubicBezTo>
                  <a:cubicBezTo>
                    <a:pt x="109" y="13"/>
                    <a:pt x="109" y="13"/>
                    <a:pt x="109" y="13"/>
                  </a:cubicBezTo>
                  <a:cubicBezTo>
                    <a:pt x="114" y="11"/>
                    <a:pt x="114" y="11"/>
                    <a:pt x="114" y="11"/>
                  </a:cubicBezTo>
                  <a:cubicBezTo>
                    <a:pt x="114" y="7"/>
                    <a:pt x="114" y="7"/>
                    <a:pt x="114" y="7"/>
                  </a:cubicBezTo>
                  <a:cubicBezTo>
                    <a:pt x="111" y="6"/>
                    <a:pt x="111" y="6"/>
                    <a:pt x="111" y="6"/>
                  </a:cubicBezTo>
                  <a:cubicBezTo>
                    <a:pt x="111" y="0"/>
                    <a:pt x="111" y="0"/>
                    <a:pt x="111" y="0"/>
                  </a:cubicBezTo>
                  <a:close/>
                  <a:moveTo>
                    <a:pt x="72" y="135"/>
                  </a:moveTo>
                  <a:cubicBezTo>
                    <a:pt x="71" y="131"/>
                    <a:pt x="71" y="131"/>
                    <a:pt x="71" y="131"/>
                  </a:cubicBezTo>
                  <a:cubicBezTo>
                    <a:pt x="71" y="135"/>
                    <a:pt x="71" y="135"/>
                    <a:pt x="71" y="135"/>
                  </a:cubicBezTo>
                  <a:cubicBezTo>
                    <a:pt x="71" y="137"/>
                    <a:pt x="71" y="137"/>
                    <a:pt x="71" y="137"/>
                  </a:cubicBezTo>
                  <a:cubicBezTo>
                    <a:pt x="71" y="139"/>
                    <a:pt x="71" y="139"/>
                    <a:pt x="71" y="139"/>
                  </a:cubicBezTo>
                  <a:cubicBezTo>
                    <a:pt x="72" y="140"/>
                    <a:pt x="72" y="140"/>
                    <a:pt x="72" y="140"/>
                  </a:cubicBezTo>
                  <a:cubicBezTo>
                    <a:pt x="78" y="140"/>
                    <a:pt x="78" y="140"/>
                    <a:pt x="78" y="140"/>
                  </a:cubicBezTo>
                  <a:cubicBezTo>
                    <a:pt x="82" y="140"/>
                    <a:pt x="82" y="140"/>
                    <a:pt x="82" y="140"/>
                  </a:cubicBezTo>
                  <a:cubicBezTo>
                    <a:pt x="83" y="139"/>
                    <a:pt x="83" y="139"/>
                    <a:pt x="83" y="139"/>
                  </a:cubicBezTo>
                  <a:cubicBezTo>
                    <a:pt x="87" y="140"/>
                    <a:pt x="87" y="140"/>
                    <a:pt x="87" y="140"/>
                  </a:cubicBezTo>
                  <a:cubicBezTo>
                    <a:pt x="91" y="142"/>
                    <a:pt x="91" y="142"/>
                    <a:pt x="91" y="142"/>
                  </a:cubicBezTo>
                  <a:cubicBezTo>
                    <a:pt x="91" y="144"/>
                    <a:pt x="91" y="144"/>
                    <a:pt x="91" y="144"/>
                  </a:cubicBezTo>
                  <a:cubicBezTo>
                    <a:pt x="96" y="144"/>
                    <a:pt x="96" y="144"/>
                    <a:pt x="96" y="144"/>
                  </a:cubicBezTo>
                  <a:cubicBezTo>
                    <a:pt x="98" y="142"/>
                    <a:pt x="98" y="142"/>
                    <a:pt x="98" y="142"/>
                  </a:cubicBezTo>
                  <a:cubicBezTo>
                    <a:pt x="103" y="142"/>
                    <a:pt x="103" y="142"/>
                    <a:pt x="103" y="142"/>
                  </a:cubicBezTo>
                  <a:cubicBezTo>
                    <a:pt x="109" y="142"/>
                    <a:pt x="109" y="142"/>
                    <a:pt x="109" y="142"/>
                  </a:cubicBezTo>
                  <a:cubicBezTo>
                    <a:pt x="112" y="142"/>
                    <a:pt x="112" y="142"/>
                    <a:pt x="112" y="142"/>
                  </a:cubicBezTo>
                  <a:cubicBezTo>
                    <a:pt x="116" y="140"/>
                    <a:pt x="116" y="140"/>
                    <a:pt x="116" y="140"/>
                  </a:cubicBezTo>
                  <a:cubicBezTo>
                    <a:pt x="116" y="139"/>
                    <a:pt x="116" y="139"/>
                    <a:pt x="116" y="139"/>
                  </a:cubicBezTo>
                  <a:cubicBezTo>
                    <a:pt x="116" y="137"/>
                    <a:pt x="116" y="137"/>
                    <a:pt x="116" y="137"/>
                  </a:cubicBezTo>
                  <a:cubicBezTo>
                    <a:pt x="116" y="135"/>
                    <a:pt x="116" y="135"/>
                    <a:pt x="116" y="135"/>
                  </a:cubicBezTo>
                  <a:cubicBezTo>
                    <a:pt x="116" y="137"/>
                    <a:pt x="116" y="137"/>
                    <a:pt x="116" y="137"/>
                  </a:cubicBezTo>
                  <a:cubicBezTo>
                    <a:pt x="116" y="139"/>
                    <a:pt x="116" y="139"/>
                    <a:pt x="116" y="139"/>
                  </a:cubicBezTo>
                  <a:cubicBezTo>
                    <a:pt x="112" y="140"/>
                    <a:pt x="112" y="140"/>
                    <a:pt x="112" y="140"/>
                  </a:cubicBezTo>
                  <a:cubicBezTo>
                    <a:pt x="112" y="139"/>
                    <a:pt x="112" y="139"/>
                    <a:pt x="112" y="139"/>
                  </a:cubicBezTo>
                  <a:cubicBezTo>
                    <a:pt x="111" y="139"/>
                    <a:pt x="111" y="139"/>
                    <a:pt x="111" y="139"/>
                  </a:cubicBezTo>
                  <a:cubicBezTo>
                    <a:pt x="109" y="139"/>
                    <a:pt x="109" y="139"/>
                    <a:pt x="109" y="139"/>
                  </a:cubicBezTo>
                  <a:cubicBezTo>
                    <a:pt x="109" y="137"/>
                    <a:pt x="109" y="137"/>
                    <a:pt x="109" y="137"/>
                  </a:cubicBezTo>
                  <a:cubicBezTo>
                    <a:pt x="107" y="135"/>
                    <a:pt x="107" y="135"/>
                    <a:pt x="107" y="135"/>
                  </a:cubicBezTo>
                  <a:cubicBezTo>
                    <a:pt x="105" y="135"/>
                    <a:pt x="105" y="135"/>
                    <a:pt x="105" y="135"/>
                  </a:cubicBezTo>
                  <a:cubicBezTo>
                    <a:pt x="102" y="135"/>
                    <a:pt x="102" y="135"/>
                    <a:pt x="102" y="135"/>
                  </a:cubicBezTo>
                  <a:cubicBezTo>
                    <a:pt x="98" y="133"/>
                    <a:pt x="98" y="133"/>
                    <a:pt x="98" y="133"/>
                  </a:cubicBezTo>
                  <a:cubicBezTo>
                    <a:pt x="92" y="133"/>
                    <a:pt x="92" y="133"/>
                    <a:pt x="92" y="133"/>
                  </a:cubicBezTo>
                  <a:cubicBezTo>
                    <a:pt x="89" y="135"/>
                    <a:pt x="89" y="135"/>
                    <a:pt x="89" y="135"/>
                  </a:cubicBezTo>
                  <a:cubicBezTo>
                    <a:pt x="85" y="137"/>
                    <a:pt x="85" y="137"/>
                    <a:pt x="85" y="137"/>
                  </a:cubicBezTo>
                  <a:cubicBezTo>
                    <a:pt x="83" y="135"/>
                    <a:pt x="83" y="135"/>
                    <a:pt x="83" y="135"/>
                  </a:cubicBezTo>
                  <a:cubicBezTo>
                    <a:pt x="82" y="133"/>
                    <a:pt x="82" y="133"/>
                    <a:pt x="82" y="133"/>
                  </a:cubicBezTo>
                  <a:cubicBezTo>
                    <a:pt x="80" y="133"/>
                    <a:pt x="80" y="133"/>
                    <a:pt x="80" y="133"/>
                  </a:cubicBezTo>
                  <a:cubicBezTo>
                    <a:pt x="82" y="133"/>
                    <a:pt x="82" y="133"/>
                    <a:pt x="82" y="133"/>
                  </a:cubicBezTo>
                  <a:cubicBezTo>
                    <a:pt x="80" y="131"/>
                    <a:pt x="80" y="131"/>
                    <a:pt x="80" y="131"/>
                  </a:cubicBezTo>
                  <a:cubicBezTo>
                    <a:pt x="78" y="131"/>
                    <a:pt x="78" y="131"/>
                    <a:pt x="78" y="131"/>
                  </a:cubicBezTo>
                  <a:cubicBezTo>
                    <a:pt x="78" y="131"/>
                    <a:pt x="78" y="131"/>
                    <a:pt x="78" y="131"/>
                  </a:cubicBezTo>
                  <a:cubicBezTo>
                    <a:pt x="78" y="133"/>
                    <a:pt x="78" y="133"/>
                    <a:pt x="78" y="133"/>
                  </a:cubicBezTo>
                  <a:cubicBezTo>
                    <a:pt x="78" y="133"/>
                    <a:pt x="78" y="133"/>
                    <a:pt x="78" y="133"/>
                  </a:cubicBezTo>
                  <a:cubicBezTo>
                    <a:pt x="74" y="133"/>
                    <a:pt x="74" y="133"/>
                    <a:pt x="74" y="133"/>
                  </a:cubicBezTo>
                  <a:cubicBezTo>
                    <a:pt x="74" y="131"/>
                    <a:pt x="74" y="131"/>
                    <a:pt x="74" y="131"/>
                  </a:cubicBezTo>
                  <a:cubicBezTo>
                    <a:pt x="74" y="131"/>
                    <a:pt x="74" y="131"/>
                    <a:pt x="74" y="131"/>
                  </a:cubicBezTo>
                  <a:cubicBezTo>
                    <a:pt x="72" y="131"/>
                    <a:pt x="72" y="131"/>
                    <a:pt x="72" y="131"/>
                  </a:cubicBezTo>
                  <a:cubicBezTo>
                    <a:pt x="74" y="133"/>
                    <a:pt x="74" y="133"/>
                    <a:pt x="74" y="133"/>
                  </a:cubicBezTo>
                  <a:cubicBezTo>
                    <a:pt x="72" y="135"/>
                    <a:pt x="72" y="135"/>
                    <a:pt x="72" y="135"/>
                  </a:cubicBezTo>
                  <a:close/>
                  <a:moveTo>
                    <a:pt x="3" y="47"/>
                  </a:moveTo>
                  <a:cubicBezTo>
                    <a:pt x="3" y="51"/>
                    <a:pt x="3" y="51"/>
                    <a:pt x="3" y="51"/>
                  </a:cubicBezTo>
                  <a:cubicBezTo>
                    <a:pt x="5" y="53"/>
                    <a:pt x="5" y="53"/>
                    <a:pt x="5" y="53"/>
                  </a:cubicBezTo>
                  <a:cubicBezTo>
                    <a:pt x="7" y="53"/>
                    <a:pt x="7" y="53"/>
                    <a:pt x="7" y="53"/>
                  </a:cubicBezTo>
                  <a:cubicBezTo>
                    <a:pt x="9" y="55"/>
                    <a:pt x="9" y="55"/>
                    <a:pt x="9" y="55"/>
                  </a:cubicBezTo>
                  <a:cubicBezTo>
                    <a:pt x="7" y="55"/>
                    <a:pt x="7" y="55"/>
                    <a:pt x="7" y="55"/>
                  </a:cubicBezTo>
                  <a:cubicBezTo>
                    <a:pt x="5" y="55"/>
                    <a:pt x="5" y="55"/>
                    <a:pt x="5" y="55"/>
                  </a:cubicBezTo>
                  <a:cubicBezTo>
                    <a:pt x="2" y="51"/>
                    <a:pt x="2" y="51"/>
                    <a:pt x="2" y="51"/>
                  </a:cubicBezTo>
                  <a:cubicBezTo>
                    <a:pt x="2" y="49"/>
                    <a:pt x="2" y="49"/>
                    <a:pt x="2" y="49"/>
                  </a:cubicBezTo>
                  <a:cubicBezTo>
                    <a:pt x="0" y="49"/>
                    <a:pt x="0" y="49"/>
                    <a:pt x="0" y="49"/>
                  </a:cubicBezTo>
                  <a:cubicBezTo>
                    <a:pt x="0" y="47"/>
                    <a:pt x="0" y="47"/>
                    <a:pt x="0" y="47"/>
                  </a:cubicBezTo>
                  <a:cubicBezTo>
                    <a:pt x="2" y="46"/>
                    <a:pt x="2" y="46"/>
                    <a:pt x="2" y="46"/>
                  </a:cubicBezTo>
                  <a:cubicBezTo>
                    <a:pt x="3" y="47"/>
                    <a:pt x="3" y="47"/>
                    <a:pt x="3" y="47"/>
                  </a:cubicBezTo>
                  <a:close/>
                  <a:moveTo>
                    <a:pt x="18" y="71"/>
                  </a:moveTo>
                  <a:cubicBezTo>
                    <a:pt x="16" y="71"/>
                    <a:pt x="16" y="71"/>
                    <a:pt x="16" y="71"/>
                  </a:cubicBezTo>
                  <a:cubicBezTo>
                    <a:pt x="18" y="68"/>
                    <a:pt x="18" y="68"/>
                    <a:pt x="18" y="68"/>
                  </a:cubicBezTo>
                  <a:cubicBezTo>
                    <a:pt x="20" y="68"/>
                    <a:pt x="20" y="68"/>
                    <a:pt x="20" y="68"/>
                  </a:cubicBezTo>
                  <a:cubicBezTo>
                    <a:pt x="20" y="71"/>
                    <a:pt x="20" y="71"/>
                    <a:pt x="20" y="71"/>
                  </a:cubicBezTo>
                  <a:cubicBezTo>
                    <a:pt x="20" y="71"/>
                    <a:pt x="20" y="71"/>
                    <a:pt x="20" y="71"/>
                  </a:cubicBezTo>
                  <a:cubicBezTo>
                    <a:pt x="18" y="73"/>
                    <a:pt x="18" y="73"/>
                    <a:pt x="18" y="73"/>
                  </a:cubicBezTo>
                  <a:cubicBezTo>
                    <a:pt x="18" y="71"/>
                    <a:pt x="18" y="71"/>
                    <a:pt x="18" y="71"/>
                  </a:cubicBezTo>
                  <a:close/>
                  <a:moveTo>
                    <a:pt x="18" y="77"/>
                  </a:moveTo>
                  <a:cubicBezTo>
                    <a:pt x="18" y="73"/>
                    <a:pt x="18" y="73"/>
                    <a:pt x="18" y="73"/>
                  </a:cubicBezTo>
                  <a:cubicBezTo>
                    <a:pt x="20" y="75"/>
                    <a:pt x="20" y="75"/>
                    <a:pt x="20" y="75"/>
                  </a:cubicBezTo>
                  <a:cubicBezTo>
                    <a:pt x="20" y="77"/>
                    <a:pt x="20" y="77"/>
                    <a:pt x="20" y="77"/>
                  </a:cubicBezTo>
                  <a:cubicBezTo>
                    <a:pt x="20" y="78"/>
                    <a:pt x="20" y="78"/>
                    <a:pt x="20" y="78"/>
                  </a:cubicBezTo>
                  <a:cubicBezTo>
                    <a:pt x="22" y="80"/>
                    <a:pt x="22" y="80"/>
                    <a:pt x="22" y="80"/>
                  </a:cubicBezTo>
                  <a:cubicBezTo>
                    <a:pt x="22" y="82"/>
                    <a:pt x="22" y="82"/>
                    <a:pt x="22" y="82"/>
                  </a:cubicBezTo>
                  <a:cubicBezTo>
                    <a:pt x="23" y="82"/>
                    <a:pt x="23" y="82"/>
                    <a:pt x="23" y="82"/>
                  </a:cubicBezTo>
                  <a:cubicBezTo>
                    <a:pt x="22" y="84"/>
                    <a:pt x="22" y="84"/>
                    <a:pt x="22" y="84"/>
                  </a:cubicBezTo>
                  <a:cubicBezTo>
                    <a:pt x="20" y="84"/>
                    <a:pt x="20" y="84"/>
                    <a:pt x="20" y="84"/>
                  </a:cubicBezTo>
                  <a:cubicBezTo>
                    <a:pt x="18" y="84"/>
                    <a:pt x="18" y="84"/>
                    <a:pt x="18" y="84"/>
                  </a:cubicBezTo>
                  <a:cubicBezTo>
                    <a:pt x="18" y="80"/>
                    <a:pt x="18" y="80"/>
                    <a:pt x="18" y="80"/>
                  </a:cubicBezTo>
                  <a:cubicBezTo>
                    <a:pt x="16" y="80"/>
                    <a:pt x="16" y="80"/>
                    <a:pt x="16" y="80"/>
                  </a:cubicBezTo>
                  <a:cubicBezTo>
                    <a:pt x="16" y="82"/>
                    <a:pt x="16" y="82"/>
                    <a:pt x="16" y="82"/>
                  </a:cubicBezTo>
                  <a:cubicBezTo>
                    <a:pt x="16" y="82"/>
                    <a:pt x="16" y="82"/>
                    <a:pt x="16" y="82"/>
                  </a:cubicBezTo>
                  <a:cubicBezTo>
                    <a:pt x="14" y="82"/>
                    <a:pt x="14" y="82"/>
                    <a:pt x="14" y="82"/>
                  </a:cubicBezTo>
                  <a:cubicBezTo>
                    <a:pt x="14" y="78"/>
                    <a:pt x="14" y="78"/>
                    <a:pt x="14" y="78"/>
                  </a:cubicBezTo>
                  <a:cubicBezTo>
                    <a:pt x="16" y="77"/>
                    <a:pt x="16" y="77"/>
                    <a:pt x="16" y="77"/>
                  </a:cubicBezTo>
                  <a:cubicBezTo>
                    <a:pt x="18" y="77"/>
                    <a:pt x="18" y="77"/>
                    <a:pt x="18" y="77"/>
                  </a:cubicBezTo>
                  <a:close/>
                  <a:moveTo>
                    <a:pt x="23" y="89"/>
                  </a:moveTo>
                  <a:cubicBezTo>
                    <a:pt x="25" y="91"/>
                    <a:pt x="25" y="91"/>
                    <a:pt x="25" y="91"/>
                  </a:cubicBezTo>
                  <a:cubicBezTo>
                    <a:pt x="23" y="91"/>
                    <a:pt x="23" y="91"/>
                    <a:pt x="23" y="91"/>
                  </a:cubicBezTo>
                  <a:cubicBezTo>
                    <a:pt x="22" y="91"/>
                    <a:pt x="22" y="91"/>
                    <a:pt x="22" y="91"/>
                  </a:cubicBezTo>
                  <a:cubicBezTo>
                    <a:pt x="20" y="91"/>
                    <a:pt x="20" y="91"/>
                    <a:pt x="20" y="91"/>
                  </a:cubicBezTo>
                  <a:cubicBezTo>
                    <a:pt x="18" y="89"/>
                    <a:pt x="18" y="89"/>
                    <a:pt x="18" y="89"/>
                  </a:cubicBezTo>
                  <a:cubicBezTo>
                    <a:pt x="18" y="88"/>
                    <a:pt x="18" y="88"/>
                    <a:pt x="18" y="88"/>
                  </a:cubicBezTo>
                  <a:cubicBezTo>
                    <a:pt x="20" y="86"/>
                    <a:pt x="20" y="86"/>
                    <a:pt x="20" y="86"/>
                  </a:cubicBezTo>
                  <a:cubicBezTo>
                    <a:pt x="22" y="88"/>
                    <a:pt x="22" y="88"/>
                    <a:pt x="22" y="88"/>
                  </a:cubicBezTo>
                  <a:cubicBezTo>
                    <a:pt x="23" y="89"/>
                    <a:pt x="23" y="89"/>
                    <a:pt x="23" y="89"/>
                  </a:cubicBezTo>
                  <a:close/>
                  <a:moveTo>
                    <a:pt x="131" y="128"/>
                  </a:moveTo>
                  <a:cubicBezTo>
                    <a:pt x="131" y="126"/>
                    <a:pt x="131" y="126"/>
                    <a:pt x="131" y="126"/>
                  </a:cubicBezTo>
                  <a:cubicBezTo>
                    <a:pt x="131" y="126"/>
                    <a:pt x="131" y="126"/>
                    <a:pt x="131" y="126"/>
                  </a:cubicBezTo>
                  <a:cubicBezTo>
                    <a:pt x="131" y="128"/>
                    <a:pt x="131" y="128"/>
                    <a:pt x="131" y="128"/>
                  </a:cubicBezTo>
                  <a:cubicBezTo>
                    <a:pt x="131" y="128"/>
                    <a:pt x="131" y="128"/>
                    <a:pt x="131" y="128"/>
                  </a:cubicBezTo>
                  <a:close/>
                  <a:moveTo>
                    <a:pt x="129" y="137"/>
                  </a:moveTo>
                  <a:cubicBezTo>
                    <a:pt x="129" y="133"/>
                    <a:pt x="129" y="133"/>
                    <a:pt x="129" y="133"/>
                  </a:cubicBezTo>
                  <a:cubicBezTo>
                    <a:pt x="129" y="131"/>
                    <a:pt x="129" y="131"/>
                    <a:pt x="129" y="131"/>
                  </a:cubicBezTo>
                  <a:cubicBezTo>
                    <a:pt x="131" y="128"/>
                    <a:pt x="131" y="128"/>
                    <a:pt x="131" y="128"/>
                  </a:cubicBezTo>
                  <a:cubicBezTo>
                    <a:pt x="131" y="129"/>
                    <a:pt x="131" y="129"/>
                    <a:pt x="131" y="129"/>
                  </a:cubicBezTo>
                  <a:cubicBezTo>
                    <a:pt x="132" y="133"/>
                    <a:pt x="132" y="133"/>
                    <a:pt x="132" y="133"/>
                  </a:cubicBezTo>
                  <a:cubicBezTo>
                    <a:pt x="131" y="135"/>
                    <a:pt x="131" y="135"/>
                    <a:pt x="131" y="135"/>
                  </a:cubicBezTo>
                  <a:cubicBezTo>
                    <a:pt x="129" y="137"/>
                    <a:pt x="129" y="137"/>
                    <a:pt x="129" y="137"/>
                  </a:cubicBezTo>
                  <a:close/>
                  <a:moveTo>
                    <a:pt x="138" y="126"/>
                  </a:moveTo>
                  <a:cubicBezTo>
                    <a:pt x="138" y="124"/>
                    <a:pt x="138" y="124"/>
                    <a:pt x="138" y="124"/>
                  </a:cubicBezTo>
                  <a:cubicBezTo>
                    <a:pt x="138" y="122"/>
                    <a:pt x="138" y="122"/>
                    <a:pt x="138" y="122"/>
                  </a:cubicBezTo>
                  <a:cubicBezTo>
                    <a:pt x="138" y="122"/>
                    <a:pt x="138" y="122"/>
                    <a:pt x="138" y="122"/>
                  </a:cubicBezTo>
                  <a:cubicBezTo>
                    <a:pt x="138" y="120"/>
                    <a:pt x="138" y="120"/>
                    <a:pt x="138" y="120"/>
                  </a:cubicBezTo>
                  <a:cubicBezTo>
                    <a:pt x="141" y="117"/>
                    <a:pt x="141" y="117"/>
                    <a:pt x="141" y="117"/>
                  </a:cubicBezTo>
                  <a:cubicBezTo>
                    <a:pt x="145" y="115"/>
                    <a:pt x="145" y="115"/>
                    <a:pt x="145" y="115"/>
                  </a:cubicBezTo>
                  <a:cubicBezTo>
                    <a:pt x="149" y="115"/>
                    <a:pt x="149" y="115"/>
                    <a:pt x="149" y="115"/>
                  </a:cubicBezTo>
                  <a:cubicBezTo>
                    <a:pt x="147" y="117"/>
                    <a:pt x="147" y="117"/>
                    <a:pt x="147" y="117"/>
                  </a:cubicBezTo>
                  <a:cubicBezTo>
                    <a:pt x="147" y="117"/>
                    <a:pt x="147" y="117"/>
                    <a:pt x="147" y="117"/>
                  </a:cubicBezTo>
                  <a:cubicBezTo>
                    <a:pt x="145" y="119"/>
                    <a:pt x="145" y="119"/>
                    <a:pt x="145" y="119"/>
                  </a:cubicBezTo>
                  <a:cubicBezTo>
                    <a:pt x="145" y="120"/>
                    <a:pt x="145" y="120"/>
                    <a:pt x="145" y="120"/>
                  </a:cubicBezTo>
                  <a:cubicBezTo>
                    <a:pt x="145" y="122"/>
                    <a:pt x="145" y="122"/>
                    <a:pt x="145" y="122"/>
                  </a:cubicBezTo>
                  <a:cubicBezTo>
                    <a:pt x="143" y="122"/>
                    <a:pt x="143" y="122"/>
                    <a:pt x="143" y="122"/>
                  </a:cubicBezTo>
                  <a:cubicBezTo>
                    <a:pt x="141" y="124"/>
                    <a:pt x="141" y="124"/>
                    <a:pt x="141" y="124"/>
                  </a:cubicBezTo>
                  <a:cubicBezTo>
                    <a:pt x="140" y="126"/>
                    <a:pt x="140" y="126"/>
                    <a:pt x="140" y="126"/>
                  </a:cubicBezTo>
                  <a:cubicBezTo>
                    <a:pt x="138" y="126"/>
                    <a:pt x="138" y="126"/>
                    <a:pt x="138" y="126"/>
                  </a:cubicBezTo>
                  <a:close/>
                  <a:moveTo>
                    <a:pt x="116" y="115"/>
                  </a:moveTo>
                  <a:cubicBezTo>
                    <a:pt x="114" y="113"/>
                    <a:pt x="114" y="113"/>
                    <a:pt x="114" y="113"/>
                  </a:cubicBezTo>
                  <a:cubicBezTo>
                    <a:pt x="114" y="113"/>
                    <a:pt x="114" y="113"/>
                    <a:pt x="114" y="113"/>
                  </a:cubicBezTo>
                  <a:cubicBezTo>
                    <a:pt x="118" y="111"/>
                    <a:pt x="118" y="111"/>
                    <a:pt x="118" y="111"/>
                  </a:cubicBezTo>
                  <a:cubicBezTo>
                    <a:pt x="120" y="111"/>
                    <a:pt x="120" y="111"/>
                    <a:pt x="120" y="111"/>
                  </a:cubicBezTo>
                  <a:cubicBezTo>
                    <a:pt x="118" y="113"/>
                    <a:pt x="118" y="113"/>
                    <a:pt x="118" y="113"/>
                  </a:cubicBezTo>
                  <a:cubicBezTo>
                    <a:pt x="116" y="115"/>
                    <a:pt x="116" y="115"/>
                    <a:pt x="116" y="115"/>
                  </a:cubicBezTo>
                  <a:close/>
                  <a:moveTo>
                    <a:pt x="116" y="89"/>
                  </a:moveTo>
                  <a:cubicBezTo>
                    <a:pt x="118" y="88"/>
                    <a:pt x="118" y="88"/>
                    <a:pt x="118" y="88"/>
                  </a:cubicBezTo>
                  <a:cubicBezTo>
                    <a:pt x="120" y="88"/>
                    <a:pt x="120" y="88"/>
                    <a:pt x="120" y="88"/>
                  </a:cubicBezTo>
                  <a:cubicBezTo>
                    <a:pt x="121" y="89"/>
                    <a:pt x="121" y="89"/>
                    <a:pt x="121" y="89"/>
                  </a:cubicBezTo>
                  <a:cubicBezTo>
                    <a:pt x="123" y="89"/>
                    <a:pt x="123" y="89"/>
                    <a:pt x="123" y="89"/>
                  </a:cubicBezTo>
                  <a:cubicBezTo>
                    <a:pt x="123" y="89"/>
                    <a:pt x="123" y="89"/>
                    <a:pt x="123" y="89"/>
                  </a:cubicBezTo>
                  <a:cubicBezTo>
                    <a:pt x="123" y="91"/>
                    <a:pt x="123" y="91"/>
                    <a:pt x="123" y="91"/>
                  </a:cubicBezTo>
                  <a:cubicBezTo>
                    <a:pt x="121" y="91"/>
                    <a:pt x="121" y="91"/>
                    <a:pt x="121" y="91"/>
                  </a:cubicBezTo>
                  <a:cubicBezTo>
                    <a:pt x="121" y="93"/>
                    <a:pt x="121" y="93"/>
                    <a:pt x="121" y="93"/>
                  </a:cubicBezTo>
                  <a:cubicBezTo>
                    <a:pt x="120" y="93"/>
                    <a:pt x="120" y="93"/>
                    <a:pt x="120" y="93"/>
                  </a:cubicBezTo>
                  <a:cubicBezTo>
                    <a:pt x="118" y="91"/>
                    <a:pt x="118" y="91"/>
                    <a:pt x="118" y="91"/>
                  </a:cubicBezTo>
                  <a:cubicBezTo>
                    <a:pt x="116" y="91"/>
                    <a:pt x="116" y="91"/>
                    <a:pt x="116" y="91"/>
                  </a:cubicBezTo>
                  <a:cubicBezTo>
                    <a:pt x="114" y="91"/>
                    <a:pt x="114" y="91"/>
                    <a:pt x="114" y="91"/>
                  </a:cubicBezTo>
                  <a:cubicBezTo>
                    <a:pt x="116" y="89"/>
                    <a:pt x="116" y="89"/>
                    <a:pt x="116" y="89"/>
                  </a:cubicBezTo>
                  <a:close/>
                  <a:moveTo>
                    <a:pt x="109" y="71"/>
                  </a:moveTo>
                  <a:cubicBezTo>
                    <a:pt x="111" y="77"/>
                    <a:pt x="111" y="77"/>
                    <a:pt x="111" y="77"/>
                  </a:cubicBezTo>
                  <a:cubicBezTo>
                    <a:pt x="109" y="78"/>
                    <a:pt x="109" y="78"/>
                    <a:pt x="109" y="78"/>
                  </a:cubicBezTo>
                  <a:cubicBezTo>
                    <a:pt x="107" y="80"/>
                    <a:pt x="107" y="80"/>
                    <a:pt x="107" y="80"/>
                  </a:cubicBezTo>
                  <a:cubicBezTo>
                    <a:pt x="105" y="78"/>
                    <a:pt x="105" y="78"/>
                    <a:pt x="105" y="78"/>
                  </a:cubicBezTo>
                  <a:cubicBezTo>
                    <a:pt x="105" y="77"/>
                    <a:pt x="105" y="77"/>
                    <a:pt x="105" y="77"/>
                  </a:cubicBezTo>
                  <a:cubicBezTo>
                    <a:pt x="107" y="77"/>
                    <a:pt x="107" y="77"/>
                    <a:pt x="107" y="77"/>
                  </a:cubicBezTo>
                  <a:cubicBezTo>
                    <a:pt x="107" y="75"/>
                    <a:pt x="107" y="75"/>
                    <a:pt x="107" y="75"/>
                  </a:cubicBezTo>
                  <a:cubicBezTo>
                    <a:pt x="105" y="73"/>
                    <a:pt x="105" y="73"/>
                    <a:pt x="105" y="73"/>
                  </a:cubicBezTo>
                  <a:cubicBezTo>
                    <a:pt x="105" y="71"/>
                    <a:pt x="105" y="71"/>
                    <a:pt x="105" y="71"/>
                  </a:cubicBezTo>
                  <a:cubicBezTo>
                    <a:pt x="107" y="71"/>
                    <a:pt x="107" y="71"/>
                    <a:pt x="107" y="71"/>
                  </a:cubicBezTo>
                  <a:cubicBezTo>
                    <a:pt x="109" y="71"/>
                    <a:pt x="109" y="71"/>
                    <a:pt x="109" y="71"/>
                  </a:cubicBezTo>
                  <a:cubicBezTo>
                    <a:pt x="109" y="71"/>
                    <a:pt x="109" y="71"/>
                    <a:pt x="109" y="71"/>
                  </a:cubicBezTo>
                  <a:close/>
                  <a:moveTo>
                    <a:pt x="105" y="62"/>
                  </a:moveTo>
                  <a:cubicBezTo>
                    <a:pt x="102" y="60"/>
                    <a:pt x="102" y="60"/>
                    <a:pt x="102" y="60"/>
                  </a:cubicBezTo>
                  <a:cubicBezTo>
                    <a:pt x="103" y="57"/>
                    <a:pt x="103" y="57"/>
                    <a:pt x="103" y="57"/>
                  </a:cubicBezTo>
                  <a:cubicBezTo>
                    <a:pt x="107" y="57"/>
                    <a:pt x="107" y="57"/>
                    <a:pt x="107" y="57"/>
                  </a:cubicBezTo>
                  <a:cubicBezTo>
                    <a:pt x="109" y="55"/>
                    <a:pt x="109" y="55"/>
                    <a:pt x="109" y="55"/>
                  </a:cubicBezTo>
                  <a:cubicBezTo>
                    <a:pt x="112" y="55"/>
                    <a:pt x="112" y="55"/>
                    <a:pt x="112" y="55"/>
                  </a:cubicBezTo>
                  <a:cubicBezTo>
                    <a:pt x="114" y="55"/>
                    <a:pt x="114" y="55"/>
                    <a:pt x="114" y="55"/>
                  </a:cubicBezTo>
                  <a:cubicBezTo>
                    <a:pt x="112" y="57"/>
                    <a:pt x="112" y="57"/>
                    <a:pt x="112" y="57"/>
                  </a:cubicBezTo>
                  <a:cubicBezTo>
                    <a:pt x="114" y="57"/>
                    <a:pt x="114" y="57"/>
                    <a:pt x="114" y="57"/>
                  </a:cubicBezTo>
                  <a:cubicBezTo>
                    <a:pt x="114" y="60"/>
                    <a:pt x="114" y="60"/>
                    <a:pt x="114" y="60"/>
                  </a:cubicBezTo>
                  <a:cubicBezTo>
                    <a:pt x="114" y="64"/>
                    <a:pt x="114" y="64"/>
                    <a:pt x="114" y="64"/>
                  </a:cubicBezTo>
                  <a:cubicBezTo>
                    <a:pt x="111" y="64"/>
                    <a:pt x="111" y="64"/>
                    <a:pt x="111" y="64"/>
                  </a:cubicBezTo>
                  <a:cubicBezTo>
                    <a:pt x="109" y="62"/>
                    <a:pt x="109" y="62"/>
                    <a:pt x="109" y="62"/>
                  </a:cubicBezTo>
                  <a:cubicBezTo>
                    <a:pt x="109" y="60"/>
                    <a:pt x="109" y="60"/>
                    <a:pt x="109" y="60"/>
                  </a:cubicBezTo>
                  <a:cubicBezTo>
                    <a:pt x="111" y="60"/>
                    <a:pt x="111" y="60"/>
                    <a:pt x="111" y="60"/>
                  </a:cubicBezTo>
                  <a:cubicBezTo>
                    <a:pt x="111" y="58"/>
                    <a:pt x="111" y="58"/>
                    <a:pt x="111" y="58"/>
                  </a:cubicBezTo>
                  <a:cubicBezTo>
                    <a:pt x="109" y="58"/>
                    <a:pt x="109" y="58"/>
                    <a:pt x="109" y="58"/>
                  </a:cubicBezTo>
                  <a:cubicBezTo>
                    <a:pt x="109" y="60"/>
                    <a:pt x="109" y="60"/>
                    <a:pt x="109" y="60"/>
                  </a:cubicBezTo>
                  <a:cubicBezTo>
                    <a:pt x="107" y="62"/>
                    <a:pt x="107" y="62"/>
                    <a:pt x="107" y="62"/>
                  </a:cubicBezTo>
                  <a:cubicBezTo>
                    <a:pt x="105" y="62"/>
                    <a:pt x="105" y="62"/>
                    <a:pt x="105" y="62"/>
                  </a:cubicBezTo>
                  <a:cubicBezTo>
                    <a:pt x="105" y="62"/>
                    <a:pt x="105" y="62"/>
                    <a:pt x="105" y="62"/>
                  </a:cubicBezTo>
                  <a:close/>
                  <a:moveTo>
                    <a:pt x="96" y="31"/>
                  </a:moveTo>
                  <a:cubicBezTo>
                    <a:pt x="96" y="29"/>
                    <a:pt x="96" y="29"/>
                    <a:pt x="96" y="29"/>
                  </a:cubicBezTo>
                  <a:cubicBezTo>
                    <a:pt x="100" y="29"/>
                    <a:pt x="100" y="29"/>
                    <a:pt x="100" y="29"/>
                  </a:cubicBezTo>
                  <a:cubicBezTo>
                    <a:pt x="102" y="29"/>
                    <a:pt x="102" y="29"/>
                    <a:pt x="102" y="29"/>
                  </a:cubicBezTo>
                  <a:cubicBezTo>
                    <a:pt x="102" y="31"/>
                    <a:pt x="102" y="31"/>
                    <a:pt x="102" y="31"/>
                  </a:cubicBezTo>
                  <a:cubicBezTo>
                    <a:pt x="100" y="31"/>
                    <a:pt x="100" y="31"/>
                    <a:pt x="100" y="31"/>
                  </a:cubicBezTo>
                  <a:cubicBezTo>
                    <a:pt x="96" y="31"/>
                    <a:pt x="96" y="31"/>
                    <a:pt x="96" y="31"/>
                  </a:cubicBezTo>
                  <a:close/>
                  <a:moveTo>
                    <a:pt x="89" y="40"/>
                  </a:moveTo>
                  <a:cubicBezTo>
                    <a:pt x="92" y="40"/>
                    <a:pt x="92" y="40"/>
                    <a:pt x="92" y="40"/>
                  </a:cubicBezTo>
                  <a:cubicBezTo>
                    <a:pt x="92" y="40"/>
                    <a:pt x="92" y="40"/>
                    <a:pt x="92" y="40"/>
                  </a:cubicBezTo>
                  <a:cubicBezTo>
                    <a:pt x="94" y="38"/>
                    <a:pt x="94" y="38"/>
                    <a:pt x="94" y="38"/>
                  </a:cubicBezTo>
                  <a:cubicBezTo>
                    <a:pt x="96" y="40"/>
                    <a:pt x="96" y="40"/>
                    <a:pt x="96" y="40"/>
                  </a:cubicBezTo>
                  <a:cubicBezTo>
                    <a:pt x="94" y="42"/>
                    <a:pt x="94" y="42"/>
                    <a:pt x="94" y="42"/>
                  </a:cubicBezTo>
                  <a:cubicBezTo>
                    <a:pt x="94" y="46"/>
                    <a:pt x="94" y="46"/>
                    <a:pt x="94" y="46"/>
                  </a:cubicBezTo>
                  <a:cubicBezTo>
                    <a:pt x="92" y="44"/>
                    <a:pt x="92" y="44"/>
                    <a:pt x="92" y="44"/>
                  </a:cubicBezTo>
                  <a:cubicBezTo>
                    <a:pt x="91" y="46"/>
                    <a:pt x="91" y="46"/>
                    <a:pt x="91" y="46"/>
                  </a:cubicBezTo>
                  <a:cubicBezTo>
                    <a:pt x="89" y="44"/>
                    <a:pt x="89" y="44"/>
                    <a:pt x="89" y="44"/>
                  </a:cubicBezTo>
                  <a:cubicBezTo>
                    <a:pt x="89" y="40"/>
                    <a:pt x="89" y="40"/>
                    <a:pt x="89" y="40"/>
                  </a:cubicBezTo>
                  <a:cubicBezTo>
                    <a:pt x="89" y="40"/>
                    <a:pt x="89" y="40"/>
                    <a:pt x="89" y="40"/>
                  </a:cubicBezTo>
                  <a:close/>
                  <a:moveTo>
                    <a:pt x="80" y="26"/>
                  </a:moveTo>
                  <a:cubicBezTo>
                    <a:pt x="82" y="24"/>
                    <a:pt x="82" y="24"/>
                    <a:pt x="82" y="24"/>
                  </a:cubicBezTo>
                  <a:cubicBezTo>
                    <a:pt x="83" y="26"/>
                    <a:pt x="83" y="26"/>
                    <a:pt x="83" y="26"/>
                  </a:cubicBezTo>
                  <a:cubicBezTo>
                    <a:pt x="85" y="27"/>
                    <a:pt x="85" y="27"/>
                    <a:pt x="85" y="27"/>
                  </a:cubicBezTo>
                  <a:cubicBezTo>
                    <a:pt x="82" y="27"/>
                    <a:pt x="82" y="27"/>
                    <a:pt x="82" y="27"/>
                  </a:cubicBezTo>
                  <a:cubicBezTo>
                    <a:pt x="82" y="27"/>
                    <a:pt x="82" y="27"/>
                    <a:pt x="82" y="27"/>
                  </a:cubicBezTo>
                  <a:cubicBezTo>
                    <a:pt x="80" y="27"/>
                    <a:pt x="80" y="27"/>
                    <a:pt x="80" y="27"/>
                  </a:cubicBezTo>
                  <a:cubicBezTo>
                    <a:pt x="80" y="26"/>
                    <a:pt x="80" y="26"/>
                    <a:pt x="80" y="26"/>
                  </a:cubicBezTo>
                  <a:close/>
                  <a:moveTo>
                    <a:pt x="65" y="60"/>
                  </a:moveTo>
                  <a:cubicBezTo>
                    <a:pt x="65" y="58"/>
                    <a:pt x="65" y="58"/>
                    <a:pt x="65" y="58"/>
                  </a:cubicBezTo>
                  <a:cubicBezTo>
                    <a:pt x="67" y="60"/>
                    <a:pt x="67" y="60"/>
                    <a:pt x="67" y="60"/>
                  </a:cubicBezTo>
                  <a:cubicBezTo>
                    <a:pt x="69" y="62"/>
                    <a:pt x="69" y="62"/>
                    <a:pt x="69" y="62"/>
                  </a:cubicBezTo>
                  <a:cubicBezTo>
                    <a:pt x="67" y="64"/>
                    <a:pt x="67" y="64"/>
                    <a:pt x="67" y="64"/>
                  </a:cubicBezTo>
                  <a:cubicBezTo>
                    <a:pt x="65" y="60"/>
                    <a:pt x="65" y="60"/>
                    <a:pt x="65" y="60"/>
                  </a:cubicBezTo>
                  <a:close/>
                  <a:moveTo>
                    <a:pt x="62" y="60"/>
                  </a:moveTo>
                  <a:cubicBezTo>
                    <a:pt x="63" y="58"/>
                    <a:pt x="63" y="58"/>
                    <a:pt x="63" y="58"/>
                  </a:cubicBezTo>
                  <a:cubicBezTo>
                    <a:pt x="63" y="60"/>
                    <a:pt x="63" y="60"/>
                    <a:pt x="63" y="60"/>
                  </a:cubicBezTo>
                  <a:cubicBezTo>
                    <a:pt x="63" y="60"/>
                    <a:pt x="63" y="60"/>
                    <a:pt x="63" y="60"/>
                  </a:cubicBezTo>
                  <a:cubicBezTo>
                    <a:pt x="62" y="60"/>
                    <a:pt x="62" y="60"/>
                    <a:pt x="62" y="60"/>
                  </a:cubicBezTo>
                  <a:close/>
                  <a:moveTo>
                    <a:pt x="82" y="64"/>
                  </a:moveTo>
                  <a:cubicBezTo>
                    <a:pt x="83" y="62"/>
                    <a:pt x="83" y="62"/>
                    <a:pt x="83" y="62"/>
                  </a:cubicBezTo>
                  <a:cubicBezTo>
                    <a:pt x="83" y="64"/>
                    <a:pt x="83" y="64"/>
                    <a:pt x="83" y="64"/>
                  </a:cubicBezTo>
                  <a:cubicBezTo>
                    <a:pt x="85" y="66"/>
                    <a:pt x="85" y="66"/>
                    <a:pt x="85" y="66"/>
                  </a:cubicBezTo>
                  <a:cubicBezTo>
                    <a:pt x="85" y="68"/>
                    <a:pt x="85" y="68"/>
                    <a:pt x="85" y="68"/>
                  </a:cubicBezTo>
                  <a:cubicBezTo>
                    <a:pt x="85" y="69"/>
                    <a:pt x="85" y="69"/>
                    <a:pt x="85" y="69"/>
                  </a:cubicBezTo>
                  <a:cubicBezTo>
                    <a:pt x="83" y="66"/>
                    <a:pt x="83" y="66"/>
                    <a:pt x="83" y="66"/>
                  </a:cubicBezTo>
                  <a:cubicBezTo>
                    <a:pt x="83" y="66"/>
                    <a:pt x="83" y="66"/>
                    <a:pt x="83" y="66"/>
                  </a:cubicBezTo>
                  <a:cubicBezTo>
                    <a:pt x="82" y="64"/>
                    <a:pt x="82" y="64"/>
                    <a:pt x="82" y="64"/>
                  </a:cubicBezTo>
                  <a:close/>
                  <a:moveTo>
                    <a:pt x="109" y="97"/>
                  </a:moveTo>
                  <a:cubicBezTo>
                    <a:pt x="109" y="95"/>
                    <a:pt x="109" y="95"/>
                    <a:pt x="109" y="95"/>
                  </a:cubicBezTo>
                  <a:cubicBezTo>
                    <a:pt x="109" y="93"/>
                    <a:pt x="109" y="93"/>
                    <a:pt x="109" y="93"/>
                  </a:cubicBezTo>
                  <a:cubicBezTo>
                    <a:pt x="112" y="93"/>
                    <a:pt x="112" y="93"/>
                    <a:pt x="112" y="93"/>
                  </a:cubicBezTo>
                  <a:cubicBezTo>
                    <a:pt x="112" y="95"/>
                    <a:pt x="112" y="95"/>
                    <a:pt x="112" y="95"/>
                  </a:cubicBezTo>
                  <a:cubicBezTo>
                    <a:pt x="109" y="97"/>
                    <a:pt x="109" y="97"/>
                    <a:pt x="109" y="97"/>
                  </a:cubicBezTo>
                  <a:close/>
                  <a:moveTo>
                    <a:pt x="82" y="113"/>
                  </a:moveTo>
                  <a:cubicBezTo>
                    <a:pt x="83" y="111"/>
                    <a:pt x="83" y="111"/>
                    <a:pt x="83" y="111"/>
                  </a:cubicBezTo>
                  <a:cubicBezTo>
                    <a:pt x="85" y="111"/>
                    <a:pt x="85" y="111"/>
                    <a:pt x="85" y="111"/>
                  </a:cubicBezTo>
                  <a:cubicBezTo>
                    <a:pt x="85" y="113"/>
                    <a:pt x="85" y="113"/>
                    <a:pt x="85" y="113"/>
                  </a:cubicBezTo>
                  <a:cubicBezTo>
                    <a:pt x="83" y="113"/>
                    <a:pt x="83" y="113"/>
                    <a:pt x="83" y="113"/>
                  </a:cubicBezTo>
                  <a:cubicBezTo>
                    <a:pt x="82" y="113"/>
                    <a:pt x="82" y="113"/>
                    <a:pt x="82" y="113"/>
                  </a:cubicBezTo>
                  <a:close/>
                  <a:moveTo>
                    <a:pt x="82" y="102"/>
                  </a:moveTo>
                  <a:cubicBezTo>
                    <a:pt x="83" y="102"/>
                    <a:pt x="83" y="102"/>
                    <a:pt x="83" y="102"/>
                  </a:cubicBezTo>
                  <a:cubicBezTo>
                    <a:pt x="83" y="104"/>
                    <a:pt x="83" y="104"/>
                    <a:pt x="83" y="104"/>
                  </a:cubicBezTo>
                  <a:cubicBezTo>
                    <a:pt x="82" y="102"/>
                    <a:pt x="82" y="102"/>
                    <a:pt x="82" y="102"/>
                  </a:cubicBezTo>
                  <a:close/>
                  <a:moveTo>
                    <a:pt x="82" y="100"/>
                  </a:moveTo>
                  <a:cubicBezTo>
                    <a:pt x="82" y="97"/>
                    <a:pt x="82" y="97"/>
                    <a:pt x="82" y="97"/>
                  </a:cubicBezTo>
                  <a:cubicBezTo>
                    <a:pt x="83" y="97"/>
                    <a:pt x="83" y="97"/>
                    <a:pt x="83" y="97"/>
                  </a:cubicBezTo>
                  <a:cubicBezTo>
                    <a:pt x="83" y="98"/>
                    <a:pt x="83" y="98"/>
                    <a:pt x="83" y="98"/>
                  </a:cubicBezTo>
                  <a:cubicBezTo>
                    <a:pt x="82" y="100"/>
                    <a:pt x="82" y="100"/>
                    <a:pt x="82" y="100"/>
                  </a:cubicBezTo>
                  <a:close/>
                  <a:moveTo>
                    <a:pt x="80" y="95"/>
                  </a:moveTo>
                  <a:cubicBezTo>
                    <a:pt x="80" y="95"/>
                    <a:pt x="80" y="95"/>
                    <a:pt x="80" y="95"/>
                  </a:cubicBezTo>
                  <a:cubicBezTo>
                    <a:pt x="80" y="93"/>
                    <a:pt x="80" y="93"/>
                    <a:pt x="80" y="93"/>
                  </a:cubicBezTo>
                  <a:cubicBezTo>
                    <a:pt x="82" y="95"/>
                    <a:pt x="82" y="95"/>
                    <a:pt x="82" y="95"/>
                  </a:cubicBezTo>
                  <a:cubicBezTo>
                    <a:pt x="80" y="95"/>
                    <a:pt x="80" y="95"/>
                    <a:pt x="80" y="95"/>
                  </a:cubicBezTo>
                  <a:close/>
                  <a:moveTo>
                    <a:pt x="96" y="106"/>
                  </a:moveTo>
                  <a:cubicBezTo>
                    <a:pt x="94" y="104"/>
                    <a:pt x="94" y="104"/>
                    <a:pt x="94" y="104"/>
                  </a:cubicBezTo>
                  <a:cubicBezTo>
                    <a:pt x="94" y="102"/>
                    <a:pt x="94" y="102"/>
                    <a:pt x="94" y="102"/>
                  </a:cubicBezTo>
                  <a:cubicBezTo>
                    <a:pt x="96" y="102"/>
                    <a:pt x="96" y="102"/>
                    <a:pt x="96" y="102"/>
                  </a:cubicBezTo>
                  <a:cubicBezTo>
                    <a:pt x="98" y="104"/>
                    <a:pt x="98" y="104"/>
                    <a:pt x="98" y="104"/>
                  </a:cubicBezTo>
                  <a:cubicBezTo>
                    <a:pt x="96" y="106"/>
                    <a:pt x="96" y="106"/>
                    <a:pt x="96" y="106"/>
                  </a:cubicBezTo>
                  <a:close/>
                  <a:moveTo>
                    <a:pt x="100" y="106"/>
                  </a:moveTo>
                  <a:cubicBezTo>
                    <a:pt x="98" y="104"/>
                    <a:pt x="98" y="104"/>
                    <a:pt x="98" y="104"/>
                  </a:cubicBezTo>
                  <a:cubicBezTo>
                    <a:pt x="102" y="100"/>
                    <a:pt x="102" y="100"/>
                    <a:pt x="102" y="100"/>
                  </a:cubicBezTo>
                  <a:cubicBezTo>
                    <a:pt x="103" y="102"/>
                    <a:pt x="103" y="102"/>
                    <a:pt x="103" y="102"/>
                  </a:cubicBezTo>
                  <a:cubicBezTo>
                    <a:pt x="103" y="104"/>
                    <a:pt x="103" y="104"/>
                    <a:pt x="103" y="104"/>
                  </a:cubicBezTo>
                  <a:cubicBezTo>
                    <a:pt x="102" y="106"/>
                    <a:pt x="102" y="106"/>
                    <a:pt x="102" y="106"/>
                  </a:cubicBezTo>
                  <a:cubicBezTo>
                    <a:pt x="100" y="106"/>
                    <a:pt x="100" y="106"/>
                    <a:pt x="100" y="106"/>
                  </a:cubicBezTo>
                  <a:close/>
                  <a:moveTo>
                    <a:pt x="100" y="98"/>
                  </a:moveTo>
                  <a:cubicBezTo>
                    <a:pt x="100" y="97"/>
                    <a:pt x="100" y="97"/>
                    <a:pt x="100" y="97"/>
                  </a:cubicBezTo>
                  <a:cubicBezTo>
                    <a:pt x="100" y="97"/>
                    <a:pt x="100" y="97"/>
                    <a:pt x="100" y="97"/>
                  </a:cubicBezTo>
                  <a:cubicBezTo>
                    <a:pt x="100" y="98"/>
                    <a:pt x="100" y="98"/>
                    <a:pt x="100" y="98"/>
                  </a:cubicBezTo>
                  <a:close/>
                  <a:moveTo>
                    <a:pt x="94" y="93"/>
                  </a:moveTo>
                  <a:cubicBezTo>
                    <a:pt x="96" y="93"/>
                    <a:pt x="96" y="93"/>
                    <a:pt x="96" y="93"/>
                  </a:cubicBezTo>
                  <a:cubicBezTo>
                    <a:pt x="96" y="95"/>
                    <a:pt x="96" y="95"/>
                    <a:pt x="96" y="95"/>
                  </a:cubicBezTo>
                  <a:cubicBezTo>
                    <a:pt x="98" y="97"/>
                    <a:pt x="98" y="97"/>
                    <a:pt x="98" y="97"/>
                  </a:cubicBezTo>
                  <a:cubicBezTo>
                    <a:pt x="96" y="95"/>
                    <a:pt x="96" y="95"/>
                    <a:pt x="96" y="95"/>
                  </a:cubicBezTo>
                  <a:cubicBezTo>
                    <a:pt x="94" y="93"/>
                    <a:pt x="94" y="93"/>
                    <a:pt x="94" y="93"/>
                  </a:cubicBezTo>
                  <a:close/>
                  <a:moveTo>
                    <a:pt x="87" y="86"/>
                  </a:moveTo>
                  <a:cubicBezTo>
                    <a:pt x="87" y="86"/>
                    <a:pt x="87" y="86"/>
                    <a:pt x="87" y="86"/>
                  </a:cubicBezTo>
                  <a:cubicBezTo>
                    <a:pt x="89" y="89"/>
                    <a:pt x="89" y="89"/>
                    <a:pt x="89" y="89"/>
                  </a:cubicBezTo>
                  <a:cubicBezTo>
                    <a:pt x="92" y="91"/>
                    <a:pt x="92" y="91"/>
                    <a:pt x="92" y="91"/>
                  </a:cubicBezTo>
                  <a:cubicBezTo>
                    <a:pt x="92" y="93"/>
                    <a:pt x="92" y="93"/>
                    <a:pt x="92" y="93"/>
                  </a:cubicBezTo>
                  <a:cubicBezTo>
                    <a:pt x="91" y="93"/>
                    <a:pt x="91" y="93"/>
                    <a:pt x="91" y="93"/>
                  </a:cubicBezTo>
                  <a:cubicBezTo>
                    <a:pt x="87" y="89"/>
                    <a:pt x="87" y="89"/>
                    <a:pt x="87" y="89"/>
                  </a:cubicBezTo>
                  <a:cubicBezTo>
                    <a:pt x="85" y="88"/>
                    <a:pt x="85" y="88"/>
                    <a:pt x="85" y="88"/>
                  </a:cubicBezTo>
                  <a:cubicBezTo>
                    <a:pt x="87" y="86"/>
                    <a:pt x="87" y="86"/>
                    <a:pt x="87" y="86"/>
                  </a:cubicBezTo>
                  <a:close/>
                  <a:moveTo>
                    <a:pt x="54" y="66"/>
                  </a:moveTo>
                  <a:cubicBezTo>
                    <a:pt x="56" y="64"/>
                    <a:pt x="56" y="64"/>
                    <a:pt x="56" y="64"/>
                  </a:cubicBezTo>
                  <a:cubicBezTo>
                    <a:pt x="62" y="62"/>
                    <a:pt x="62" y="62"/>
                    <a:pt x="62" y="62"/>
                  </a:cubicBezTo>
                  <a:cubicBezTo>
                    <a:pt x="63" y="66"/>
                    <a:pt x="63" y="66"/>
                    <a:pt x="63" y="66"/>
                  </a:cubicBezTo>
                  <a:cubicBezTo>
                    <a:pt x="67" y="68"/>
                    <a:pt x="67" y="68"/>
                    <a:pt x="67" y="68"/>
                  </a:cubicBezTo>
                  <a:cubicBezTo>
                    <a:pt x="69" y="68"/>
                    <a:pt x="69" y="68"/>
                    <a:pt x="69" y="68"/>
                  </a:cubicBezTo>
                  <a:cubicBezTo>
                    <a:pt x="71" y="69"/>
                    <a:pt x="71" y="69"/>
                    <a:pt x="71" y="69"/>
                  </a:cubicBezTo>
                  <a:cubicBezTo>
                    <a:pt x="72" y="69"/>
                    <a:pt x="72" y="69"/>
                    <a:pt x="72" y="69"/>
                  </a:cubicBezTo>
                  <a:cubicBezTo>
                    <a:pt x="72" y="69"/>
                    <a:pt x="72" y="69"/>
                    <a:pt x="72" y="69"/>
                  </a:cubicBezTo>
                  <a:cubicBezTo>
                    <a:pt x="76" y="73"/>
                    <a:pt x="76" y="73"/>
                    <a:pt x="76" y="73"/>
                  </a:cubicBezTo>
                  <a:cubicBezTo>
                    <a:pt x="78" y="75"/>
                    <a:pt x="78" y="75"/>
                    <a:pt x="78" y="75"/>
                  </a:cubicBezTo>
                  <a:cubicBezTo>
                    <a:pt x="78" y="77"/>
                    <a:pt x="78" y="77"/>
                    <a:pt x="78" y="77"/>
                  </a:cubicBezTo>
                  <a:cubicBezTo>
                    <a:pt x="78" y="78"/>
                    <a:pt x="78" y="78"/>
                    <a:pt x="78" y="78"/>
                  </a:cubicBezTo>
                  <a:cubicBezTo>
                    <a:pt x="78" y="80"/>
                    <a:pt x="78" y="80"/>
                    <a:pt x="78" y="80"/>
                  </a:cubicBezTo>
                  <a:cubicBezTo>
                    <a:pt x="80" y="84"/>
                    <a:pt x="80" y="84"/>
                    <a:pt x="80" y="84"/>
                  </a:cubicBezTo>
                  <a:cubicBezTo>
                    <a:pt x="82" y="82"/>
                    <a:pt x="82" y="82"/>
                    <a:pt x="82" y="82"/>
                  </a:cubicBezTo>
                  <a:cubicBezTo>
                    <a:pt x="85" y="82"/>
                    <a:pt x="85" y="82"/>
                    <a:pt x="85" y="82"/>
                  </a:cubicBezTo>
                  <a:cubicBezTo>
                    <a:pt x="83" y="86"/>
                    <a:pt x="83" y="86"/>
                    <a:pt x="83" y="86"/>
                  </a:cubicBezTo>
                  <a:cubicBezTo>
                    <a:pt x="82" y="86"/>
                    <a:pt x="82" y="86"/>
                    <a:pt x="82" y="86"/>
                  </a:cubicBezTo>
                  <a:cubicBezTo>
                    <a:pt x="80" y="86"/>
                    <a:pt x="80" y="86"/>
                    <a:pt x="80" y="86"/>
                  </a:cubicBezTo>
                  <a:cubicBezTo>
                    <a:pt x="78" y="84"/>
                    <a:pt x="78" y="84"/>
                    <a:pt x="78" y="84"/>
                  </a:cubicBezTo>
                  <a:cubicBezTo>
                    <a:pt x="76" y="82"/>
                    <a:pt x="76" y="82"/>
                    <a:pt x="76" y="82"/>
                  </a:cubicBezTo>
                  <a:cubicBezTo>
                    <a:pt x="78" y="80"/>
                    <a:pt x="78" y="80"/>
                    <a:pt x="78" y="80"/>
                  </a:cubicBezTo>
                  <a:cubicBezTo>
                    <a:pt x="76" y="80"/>
                    <a:pt x="76" y="80"/>
                    <a:pt x="76" y="80"/>
                  </a:cubicBezTo>
                  <a:cubicBezTo>
                    <a:pt x="74" y="77"/>
                    <a:pt x="74" y="77"/>
                    <a:pt x="74" y="77"/>
                  </a:cubicBezTo>
                  <a:cubicBezTo>
                    <a:pt x="72" y="75"/>
                    <a:pt x="72" y="75"/>
                    <a:pt x="72" y="75"/>
                  </a:cubicBezTo>
                  <a:cubicBezTo>
                    <a:pt x="71" y="75"/>
                    <a:pt x="71" y="75"/>
                    <a:pt x="71" y="75"/>
                  </a:cubicBezTo>
                  <a:cubicBezTo>
                    <a:pt x="67" y="73"/>
                    <a:pt x="67" y="73"/>
                    <a:pt x="67" y="73"/>
                  </a:cubicBezTo>
                  <a:cubicBezTo>
                    <a:pt x="65" y="71"/>
                    <a:pt x="65" y="71"/>
                    <a:pt x="65" y="71"/>
                  </a:cubicBezTo>
                  <a:cubicBezTo>
                    <a:pt x="63" y="71"/>
                    <a:pt x="63" y="71"/>
                    <a:pt x="63" y="71"/>
                  </a:cubicBezTo>
                  <a:cubicBezTo>
                    <a:pt x="63" y="69"/>
                    <a:pt x="63" y="69"/>
                    <a:pt x="63" y="69"/>
                  </a:cubicBezTo>
                  <a:cubicBezTo>
                    <a:pt x="62" y="68"/>
                    <a:pt x="62" y="68"/>
                    <a:pt x="62" y="68"/>
                  </a:cubicBezTo>
                  <a:cubicBezTo>
                    <a:pt x="60" y="68"/>
                    <a:pt x="60" y="68"/>
                    <a:pt x="60" y="68"/>
                  </a:cubicBezTo>
                  <a:cubicBezTo>
                    <a:pt x="58" y="66"/>
                    <a:pt x="58" y="66"/>
                    <a:pt x="58" y="66"/>
                  </a:cubicBezTo>
                  <a:cubicBezTo>
                    <a:pt x="56" y="66"/>
                    <a:pt x="56" y="66"/>
                    <a:pt x="56" y="66"/>
                  </a:cubicBezTo>
                  <a:cubicBezTo>
                    <a:pt x="54" y="66"/>
                    <a:pt x="54" y="66"/>
                    <a:pt x="54" y="66"/>
                  </a:cubicBezTo>
                  <a:close/>
                  <a:moveTo>
                    <a:pt x="60" y="117"/>
                  </a:moveTo>
                  <a:cubicBezTo>
                    <a:pt x="60" y="117"/>
                    <a:pt x="60" y="117"/>
                    <a:pt x="60" y="117"/>
                  </a:cubicBezTo>
                  <a:cubicBezTo>
                    <a:pt x="60" y="119"/>
                    <a:pt x="60" y="119"/>
                    <a:pt x="60" y="119"/>
                  </a:cubicBezTo>
                  <a:cubicBezTo>
                    <a:pt x="62" y="120"/>
                    <a:pt x="62" y="120"/>
                    <a:pt x="62" y="120"/>
                  </a:cubicBezTo>
                  <a:cubicBezTo>
                    <a:pt x="62" y="122"/>
                    <a:pt x="62" y="122"/>
                    <a:pt x="62" y="122"/>
                  </a:cubicBezTo>
                  <a:cubicBezTo>
                    <a:pt x="60" y="122"/>
                    <a:pt x="60" y="122"/>
                    <a:pt x="60" y="122"/>
                  </a:cubicBezTo>
                  <a:cubicBezTo>
                    <a:pt x="60" y="120"/>
                    <a:pt x="60" y="120"/>
                    <a:pt x="60" y="120"/>
                  </a:cubicBezTo>
                  <a:cubicBezTo>
                    <a:pt x="58" y="119"/>
                    <a:pt x="58" y="119"/>
                    <a:pt x="58" y="119"/>
                  </a:cubicBezTo>
                  <a:cubicBezTo>
                    <a:pt x="60" y="117"/>
                    <a:pt x="60" y="117"/>
                    <a:pt x="60" y="117"/>
                  </a:cubicBezTo>
                  <a:close/>
                  <a:moveTo>
                    <a:pt x="60" y="113"/>
                  </a:moveTo>
                  <a:cubicBezTo>
                    <a:pt x="60" y="115"/>
                    <a:pt x="60" y="115"/>
                    <a:pt x="60" y="115"/>
                  </a:cubicBezTo>
                  <a:cubicBezTo>
                    <a:pt x="58" y="115"/>
                    <a:pt x="58" y="115"/>
                    <a:pt x="58" y="115"/>
                  </a:cubicBezTo>
                  <a:cubicBezTo>
                    <a:pt x="60" y="113"/>
                    <a:pt x="60" y="113"/>
                    <a:pt x="60" y="113"/>
                  </a:cubicBezTo>
                  <a:cubicBezTo>
                    <a:pt x="60" y="113"/>
                    <a:pt x="60" y="113"/>
                    <a:pt x="60" y="113"/>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241" name="Freeform 87"/>
            <p:cNvSpPr>
              <a:spLocks/>
            </p:cNvSpPr>
            <p:nvPr/>
          </p:nvSpPr>
          <p:spPr bwMode="gray">
            <a:xfrm>
              <a:off x="4359" y="2116"/>
              <a:ext cx="328" cy="156"/>
            </a:xfrm>
            <a:custGeom>
              <a:avLst/>
              <a:gdLst>
                <a:gd name="T0" fmla="*/ 10301213 w 103"/>
                <a:gd name="T1" fmla="*/ 3862086 h 49"/>
                <a:gd name="T2" fmla="*/ 9527375 w 103"/>
                <a:gd name="T3" fmla="*/ 2890623 h 49"/>
                <a:gd name="T4" fmla="*/ 10068702 w 103"/>
                <a:gd name="T5" fmla="*/ 2450091 h 49"/>
                <a:gd name="T6" fmla="*/ 9527375 w 103"/>
                <a:gd name="T7" fmla="*/ 1909711 h 49"/>
                <a:gd name="T8" fmla="*/ 8893392 w 103"/>
                <a:gd name="T9" fmla="*/ 1909711 h 49"/>
                <a:gd name="T10" fmla="*/ 8152848 w 103"/>
                <a:gd name="T11" fmla="*/ 2450091 h 49"/>
                <a:gd name="T12" fmla="*/ 7614816 w 103"/>
                <a:gd name="T13" fmla="*/ 2450091 h 49"/>
                <a:gd name="T14" fmla="*/ 7412434 w 103"/>
                <a:gd name="T15" fmla="*/ 1909711 h 49"/>
                <a:gd name="T16" fmla="*/ 6631389 w 103"/>
                <a:gd name="T17" fmla="*/ 1276561 h 49"/>
                <a:gd name="T18" fmla="*/ 5795034 w 103"/>
                <a:gd name="T19" fmla="*/ 1276561 h 49"/>
                <a:gd name="T20" fmla="*/ 5256993 w 103"/>
                <a:gd name="T21" fmla="*/ 971453 h 49"/>
                <a:gd name="T22" fmla="*/ 4071197 w 103"/>
                <a:gd name="T23" fmla="*/ 1276561 h 49"/>
                <a:gd name="T24" fmla="*/ 3098266 w 103"/>
                <a:gd name="T25" fmla="*/ 971453 h 49"/>
                <a:gd name="T26" fmla="*/ 1713341 w 103"/>
                <a:gd name="T27" fmla="*/ 739182 h 49"/>
                <a:gd name="T28" fmla="*/ 0 w 103"/>
                <a:gd name="T29" fmla="*/ 537410 h 49"/>
                <a:gd name="T30" fmla="*/ 538031 w 103"/>
                <a:gd name="T31" fmla="*/ 971453 h 49"/>
                <a:gd name="T32" fmla="*/ 972931 w 103"/>
                <a:gd name="T33" fmla="*/ 1276561 h 49"/>
                <a:gd name="T34" fmla="*/ 1510962 w 103"/>
                <a:gd name="T35" fmla="*/ 2151148 h 49"/>
                <a:gd name="T36" fmla="*/ 2158727 w 103"/>
                <a:gd name="T37" fmla="*/ 3523874 h 49"/>
                <a:gd name="T38" fmla="*/ 1926220 w 103"/>
                <a:gd name="T39" fmla="*/ 4064153 h 49"/>
                <a:gd name="T40" fmla="*/ 1926220 w 103"/>
                <a:gd name="T41" fmla="*/ 4263057 h 49"/>
                <a:gd name="T42" fmla="*/ 1926220 w 103"/>
                <a:gd name="T43" fmla="*/ 4263057 h 49"/>
                <a:gd name="T44" fmla="*/ 2158727 w 103"/>
                <a:gd name="T45" fmla="*/ 4263057 h 49"/>
                <a:gd name="T46" fmla="*/ 2453797 w 103"/>
                <a:gd name="T47" fmla="*/ 4707561 h 49"/>
                <a:gd name="T48" fmla="*/ 3098266 w 103"/>
                <a:gd name="T49" fmla="*/ 4707561 h 49"/>
                <a:gd name="T50" fmla="*/ 3636297 w 103"/>
                <a:gd name="T51" fmla="*/ 4263057 h 49"/>
                <a:gd name="T52" fmla="*/ 4609228 w 103"/>
                <a:gd name="T53" fmla="*/ 5046097 h 49"/>
                <a:gd name="T54" fmla="*/ 5054614 w 103"/>
                <a:gd name="T55" fmla="*/ 5244879 h 49"/>
                <a:gd name="T56" fmla="*/ 6429007 w 103"/>
                <a:gd name="T57" fmla="*/ 4803336 h 49"/>
                <a:gd name="T58" fmla="*/ 7707596 w 103"/>
                <a:gd name="T59" fmla="*/ 4803336 h 49"/>
                <a:gd name="T60" fmla="*/ 7707596 w 103"/>
                <a:gd name="T61" fmla="*/ 4505716 h 49"/>
                <a:gd name="T62" fmla="*/ 9527375 w 103"/>
                <a:gd name="T63" fmla="*/ 4803336 h 49"/>
                <a:gd name="T64" fmla="*/ 10945682 w 103"/>
                <a:gd name="T65" fmla="*/ 5244879 h 49"/>
                <a:gd name="T66" fmla="*/ 10713171 w 103"/>
                <a:gd name="T67" fmla="*/ 4263057 h 4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3" h="49">
                  <a:moveTo>
                    <a:pt x="100" y="40"/>
                  </a:moveTo>
                  <a:cubicBezTo>
                    <a:pt x="96" y="36"/>
                    <a:pt x="96" y="36"/>
                    <a:pt x="96" y="36"/>
                  </a:cubicBezTo>
                  <a:cubicBezTo>
                    <a:pt x="98" y="31"/>
                    <a:pt x="98" y="31"/>
                    <a:pt x="98" y="31"/>
                  </a:cubicBezTo>
                  <a:cubicBezTo>
                    <a:pt x="89" y="27"/>
                    <a:pt x="89" y="27"/>
                    <a:pt x="89" y="27"/>
                  </a:cubicBezTo>
                  <a:cubicBezTo>
                    <a:pt x="89" y="27"/>
                    <a:pt x="91" y="23"/>
                    <a:pt x="93" y="25"/>
                  </a:cubicBezTo>
                  <a:cubicBezTo>
                    <a:pt x="94" y="27"/>
                    <a:pt x="94" y="23"/>
                    <a:pt x="94" y="23"/>
                  </a:cubicBezTo>
                  <a:cubicBezTo>
                    <a:pt x="94" y="23"/>
                    <a:pt x="93" y="22"/>
                    <a:pt x="93" y="18"/>
                  </a:cubicBezTo>
                  <a:cubicBezTo>
                    <a:pt x="93" y="14"/>
                    <a:pt x="89" y="18"/>
                    <a:pt x="89" y="18"/>
                  </a:cubicBezTo>
                  <a:cubicBezTo>
                    <a:pt x="87" y="20"/>
                    <a:pt x="87" y="20"/>
                    <a:pt x="87" y="20"/>
                  </a:cubicBezTo>
                  <a:cubicBezTo>
                    <a:pt x="83" y="18"/>
                    <a:pt x="83" y="18"/>
                    <a:pt x="83" y="18"/>
                  </a:cubicBezTo>
                  <a:cubicBezTo>
                    <a:pt x="78" y="22"/>
                    <a:pt x="78" y="22"/>
                    <a:pt x="78" y="22"/>
                  </a:cubicBezTo>
                  <a:cubicBezTo>
                    <a:pt x="76" y="23"/>
                    <a:pt x="76" y="23"/>
                    <a:pt x="76" y="23"/>
                  </a:cubicBezTo>
                  <a:cubicBezTo>
                    <a:pt x="72" y="25"/>
                    <a:pt x="72" y="25"/>
                    <a:pt x="72" y="25"/>
                  </a:cubicBezTo>
                  <a:cubicBezTo>
                    <a:pt x="71" y="23"/>
                    <a:pt x="71" y="23"/>
                    <a:pt x="71" y="23"/>
                  </a:cubicBezTo>
                  <a:cubicBezTo>
                    <a:pt x="74" y="20"/>
                    <a:pt x="74" y="20"/>
                    <a:pt x="74" y="20"/>
                  </a:cubicBezTo>
                  <a:cubicBezTo>
                    <a:pt x="69" y="18"/>
                    <a:pt x="69" y="18"/>
                    <a:pt x="69" y="18"/>
                  </a:cubicBezTo>
                  <a:cubicBezTo>
                    <a:pt x="62" y="18"/>
                    <a:pt x="62" y="18"/>
                    <a:pt x="62" y="18"/>
                  </a:cubicBezTo>
                  <a:cubicBezTo>
                    <a:pt x="62" y="12"/>
                    <a:pt x="62" y="12"/>
                    <a:pt x="62" y="12"/>
                  </a:cubicBezTo>
                  <a:cubicBezTo>
                    <a:pt x="60" y="11"/>
                    <a:pt x="60" y="11"/>
                    <a:pt x="60" y="11"/>
                  </a:cubicBezTo>
                  <a:cubicBezTo>
                    <a:pt x="54" y="12"/>
                    <a:pt x="54" y="12"/>
                    <a:pt x="54" y="12"/>
                  </a:cubicBezTo>
                  <a:cubicBezTo>
                    <a:pt x="54" y="12"/>
                    <a:pt x="54" y="12"/>
                    <a:pt x="51" y="12"/>
                  </a:cubicBezTo>
                  <a:cubicBezTo>
                    <a:pt x="49" y="9"/>
                    <a:pt x="49" y="9"/>
                    <a:pt x="49" y="9"/>
                  </a:cubicBezTo>
                  <a:cubicBezTo>
                    <a:pt x="43" y="9"/>
                    <a:pt x="43" y="9"/>
                    <a:pt x="43" y="9"/>
                  </a:cubicBezTo>
                  <a:cubicBezTo>
                    <a:pt x="38" y="12"/>
                    <a:pt x="38" y="12"/>
                    <a:pt x="38" y="12"/>
                  </a:cubicBezTo>
                  <a:cubicBezTo>
                    <a:pt x="34" y="9"/>
                    <a:pt x="34" y="9"/>
                    <a:pt x="34" y="9"/>
                  </a:cubicBezTo>
                  <a:cubicBezTo>
                    <a:pt x="29" y="9"/>
                    <a:pt x="29" y="9"/>
                    <a:pt x="29" y="9"/>
                  </a:cubicBezTo>
                  <a:cubicBezTo>
                    <a:pt x="23" y="7"/>
                    <a:pt x="23" y="7"/>
                    <a:pt x="23" y="7"/>
                  </a:cubicBezTo>
                  <a:cubicBezTo>
                    <a:pt x="16" y="7"/>
                    <a:pt x="16" y="7"/>
                    <a:pt x="16" y="7"/>
                  </a:cubicBezTo>
                  <a:cubicBezTo>
                    <a:pt x="16" y="7"/>
                    <a:pt x="11" y="0"/>
                    <a:pt x="5" y="0"/>
                  </a:cubicBezTo>
                  <a:cubicBezTo>
                    <a:pt x="0" y="0"/>
                    <a:pt x="0" y="5"/>
                    <a:pt x="0" y="5"/>
                  </a:cubicBezTo>
                  <a:cubicBezTo>
                    <a:pt x="0" y="5"/>
                    <a:pt x="0" y="5"/>
                    <a:pt x="0" y="5"/>
                  </a:cubicBezTo>
                  <a:cubicBezTo>
                    <a:pt x="5" y="9"/>
                    <a:pt x="5" y="9"/>
                    <a:pt x="5" y="9"/>
                  </a:cubicBezTo>
                  <a:cubicBezTo>
                    <a:pt x="5" y="12"/>
                    <a:pt x="5" y="12"/>
                    <a:pt x="5" y="12"/>
                  </a:cubicBezTo>
                  <a:cubicBezTo>
                    <a:pt x="9" y="12"/>
                    <a:pt x="9" y="12"/>
                    <a:pt x="9" y="12"/>
                  </a:cubicBezTo>
                  <a:cubicBezTo>
                    <a:pt x="12" y="18"/>
                    <a:pt x="12" y="18"/>
                    <a:pt x="12" y="18"/>
                  </a:cubicBezTo>
                  <a:cubicBezTo>
                    <a:pt x="14" y="20"/>
                    <a:pt x="14" y="20"/>
                    <a:pt x="14" y="20"/>
                  </a:cubicBezTo>
                  <a:cubicBezTo>
                    <a:pt x="16" y="27"/>
                    <a:pt x="16" y="27"/>
                    <a:pt x="16" y="27"/>
                  </a:cubicBezTo>
                  <a:cubicBezTo>
                    <a:pt x="20" y="33"/>
                    <a:pt x="20" y="33"/>
                    <a:pt x="20" y="33"/>
                  </a:cubicBezTo>
                  <a:cubicBezTo>
                    <a:pt x="18" y="36"/>
                    <a:pt x="18" y="36"/>
                    <a:pt x="18" y="36"/>
                  </a:cubicBezTo>
                  <a:cubicBezTo>
                    <a:pt x="18" y="38"/>
                    <a:pt x="18" y="38"/>
                    <a:pt x="18" y="38"/>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20" y="40"/>
                    <a:pt x="20" y="40"/>
                    <a:pt x="20" y="40"/>
                  </a:cubicBezTo>
                  <a:cubicBezTo>
                    <a:pt x="21" y="42"/>
                    <a:pt x="21" y="42"/>
                    <a:pt x="21" y="42"/>
                  </a:cubicBezTo>
                  <a:cubicBezTo>
                    <a:pt x="23" y="44"/>
                    <a:pt x="23" y="44"/>
                    <a:pt x="23" y="44"/>
                  </a:cubicBezTo>
                  <a:cubicBezTo>
                    <a:pt x="25" y="42"/>
                    <a:pt x="25" y="42"/>
                    <a:pt x="25" y="42"/>
                  </a:cubicBezTo>
                  <a:cubicBezTo>
                    <a:pt x="29" y="44"/>
                    <a:pt x="29" y="44"/>
                    <a:pt x="29" y="44"/>
                  </a:cubicBezTo>
                  <a:cubicBezTo>
                    <a:pt x="31" y="42"/>
                    <a:pt x="31" y="42"/>
                    <a:pt x="31" y="42"/>
                  </a:cubicBezTo>
                  <a:cubicBezTo>
                    <a:pt x="34" y="40"/>
                    <a:pt x="34" y="40"/>
                    <a:pt x="34" y="40"/>
                  </a:cubicBezTo>
                  <a:cubicBezTo>
                    <a:pt x="36" y="42"/>
                    <a:pt x="36" y="42"/>
                    <a:pt x="36" y="42"/>
                  </a:cubicBezTo>
                  <a:cubicBezTo>
                    <a:pt x="43" y="47"/>
                    <a:pt x="43" y="47"/>
                    <a:pt x="43" y="47"/>
                  </a:cubicBezTo>
                  <a:cubicBezTo>
                    <a:pt x="47" y="47"/>
                    <a:pt x="47" y="47"/>
                    <a:pt x="47" y="47"/>
                  </a:cubicBezTo>
                  <a:cubicBezTo>
                    <a:pt x="47" y="49"/>
                    <a:pt x="47" y="49"/>
                    <a:pt x="47" y="49"/>
                  </a:cubicBezTo>
                  <a:cubicBezTo>
                    <a:pt x="52" y="47"/>
                    <a:pt x="52" y="47"/>
                    <a:pt x="52" y="47"/>
                  </a:cubicBezTo>
                  <a:cubicBezTo>
                    <a:pt x="60" y="45"/>
                    <a:pt x="60" y="45"/>
                    <a:pt x="60" y="45"/>
                  </a:cubicBezTo>
                  <a:cubicBezTo>
                    <a:pt x="62" y="45"/>
                    <a:pt x="62" y="45"/>
                    <a:pt x="62" y="45"/>
                  </a:cubicBezTo>
                  <a:cubicBezTo>
                    <a:pt x="72" y="45"/>
                    <a:pt x="72" y="45"/>
                    <a:pt x="72" y="45"/>
                  </a:cubicBezTo>
                  <a:cubicBezTo>
                    <a:pt x="72" y="45"/>
                    <a:pt x="72" y="45"/>
                    <a:pt x="72" y="45"/>
                  </a:cubicBezTo>
                  <a:cubicBezTo>
                    <a:pt x="72" y="42"/>
                    <a:pt x="72" y="42"/>
                    <a:pt x="72" y="42"/>
                  </a:cubicBezTo>
                  <a:cubicBezTo>
                    <a:pt x="80" y="40"/>
                    <a:pt x="80" y="40"/>
                    <a:pt x="80" y="40"/>
                  </a:cubicBezTo>
                  <a:cubicBezTo>
                    <a:pt x="89" y="45"/>
                    <a:pt x="89" y="45"/>
                    <a:pt x="89" y="45"/>
                  </a:cubicBezTo>
                  <a:cubicBezTo>
                    <a:pt x="96" y="45"/>
                    <a:pt x="96" y="45"/>
                    <a:pt x="96" y="45"/>
                  </a:cubicBezTo>
                  <a:cubicBezTo>
                    <a:pt x="102" y="49"/>
                    <a:pt x="102" y="49"/>
                    <a:pt x="102" y="49"/>
                  </a:cubicBezTo>
                  <a:cubicBezTo>
                    <a:pt x="103" y="44"/>
                    <a:pt x="103" y="44"/>
                    <a:pt x="103" y="44"/>
                  </a:cubicBezTo>
                  <a:cubicBezTo>
                    <a:pt x="100" y="40"/>
                    <a:pt x="100" y="40"/>
                    <a:pt x="100" y="40"/>
                  </a:cubicBezTo>
                  <a:cubicBezTo>
                    <a:pt x="100" y="40"/>
                    <a:pt x="100" y="40"/>
                    <a:pt x="100" y="40"/>
                  </a:cubicBezTo>
                  <a:close/>
                </a:path>
              </a:pathLst>
            </a:custGeom>
            <a:solidFill>
              <a:schemeClr val="bg1"/>
            </a:solidFill>
            <a:ln w="6350">
              <a:solidFill>
                <a:schemeClr val="accent2"/>
              </a:solidFill>
              <a:round/>
              <a:headEnd/>
              <a:tailEnd/>
            </a:ln>
          </p:spPr>
          <p:txBody>
            <a:bodyPr/>
            <a:lstStyle/>
            <a:p>
              <a:endParaRPr lang="de-DE"/>
            </a:p>
          </p:txBody>
        </p:sp>
        <p:sp>
          <p:nvSpPr>
            <p:cNvPr id="242" name="Freeform 88"/>
            <p:cNvSpPr>
              <a:spLocks/>
            </p:cNvSpPr>
            <p:nvPr/>
          </p:nvSpPr>
          <p:spPr bwMode="gray">
            <a:xfrm>
              <a:off x="4359" y="2116"/>
              <a:ext cx="328" cy="156"/>
            </a:xfrm>
            <a:custGeom>
              <a:avLst/>
              <a:gdLst>
                <a:gd name="T0" fmla="*/ 10301213 w 103"/>
                <a:gd name="T1" fmla="*/ 3862086 h 49"/>
                <a:gd name="T2" fmla="*/ 9527375 w 103"/>
                <a:gd name="T3" fmla="*/ 2890623 h 49"/>
                <a:gd name="T4" fmla="*/ 10068702 w 103"/>
                <a:gd name="T5" fmla="*/ 2450091 h 49"/>
                <a:gd name="T6" fmla="*/ 9527375 w 103"/>
                <a:gd name="T7" fmla="*/ 1909711 h 49"/>
                <a:gd name="T8" fmla="*/ 8893392 w 103"/>
                <a:gd name="T9" fmla="*/ 1909711 h 49"/>
                <a:gd name="T10" fmla="*/ 8152848 w 103"/>
                <a:gd name="T11" fmla="*/ 2450091 h 49"/>
                <a:gd name="T12" fmla="*/ 7614816 w 103"/>
                <a:gd name="T13" fmla="*/ 2450091 h 49"/>
                <a:gd name="T14" fmla="*/ 7412434 w 103"/>
                <a:gd name="T15" fmla="*/ 1909711 h 49"/>
                <a:gd name="T16" fmla="*/ 6631389 w 103"/>
                <a:gd name="T17" fmla="*/ 1276561 h 49"/>
                <a:gd name="T18" fmla="*/ 5795034 w 103"/>
                <a:gd name="T19" fmla="*/ 1276561 h 49"/>
                <a:gd name="T20" fmla="*/ 5256993 w 103"/>
                <a:gd name="T21" fmla="*/ 971453 h 49"/>
                <a:gd name="T22" fmla="*/ 4071197 w 103"/>
                <a:gd name="T23" fmla="*/ 1276561 h 49"/>
                <a:gd name="T24" fmla="*/ 3098266 w 103"/>
                <a:gd name="T25" fmla="*/ 971453 h 49"/>
                <a:gd name="T26" fmla="*/ 1713341 w 103"/>
                <a:gd name="T27" fmla="*/ 739182 h 49"/>
                <a:gd name="T28" fmla="*/ 0 w 103"/>
                <a:gd name="T29" fmla="*/ 537410 h 49"/>
                <a:gd name="T30" fmla="*/ 538031 w 103"/>
                <a:gd name="T31" fmla="*/ 971453 h 49"/>
                <a:gd name="T32" fmla="*/ 972931 w 103"/>
                <a:gd name="T33" fmla="*/ 1276561 h 49"/>
                <a:gd name="T34" fmla="*/ 1510962 w 103"/>
                <a:gd name="T35" fmla="*/ 2151148 h 49"/>
                <a:gd name="T36" fmla="*/ 2158727 w 103"/>
                <a:gd name="T37" fmla="*/ 3523874 h 49"/>
                <a:gd name="T38" fmla="*/ 1926220 w 103"/>
                <a:gd name="T39" fmla="*/ 4064153 h 49"/>
                <a:gd name="T40" fmla="*/ 1926220 w 103"/>
                <a:gd name="T41" fmla="*/ 4263057 h 49"/>
                <a:gd name="T42" fmla="*/ 1926220 w 103"/>
                <a:gd name="T43" fmla="*/ 4263057 h 49"/>
                <a:gd name="T44" fmla="*/ 2158727 w 103"/>
                <a:gd name="T45" fmla="*/ 4263057 h 49"/>
                <a:gd name="T46" fmla="*/ 2453797 w 103"/>
                <a:gd name="T47" fmla="*/ 4707561 h 49"/>
                <a:gd name="T48" fmla="*/ 3098266 w 103"/>
                <a:gd name="T49" fmla="*/ 4707561 h 49"/>
                <a:gd name="T50" fmla="*/ 3636297 w 103"/>
                <a:gd name="T51" fmla="*/ 4263057 h 49"/>
                <a:gd name="T52" fmla="*/ 4609228 w 103"/>
                <a:gd name="T53" fmla="*/ 5046097 h 49"/>
                <a:gd name="T54" fmla="*/ 5054614 w 103"/>
                <a:gd name="T55" fmla="*/ 5244879 h 49"/>
                <a:gd name="T56" fmla="*/ 6429007 w 103"/>
                <a:gd name="T57" fmla="*/ 4803336 h 49"/>
                <a:gd name="T58" fmla="*/ 7707596 w 103"/>
                <a:gd name="T59" fmla="*/ 4803336 h 49"/>
                <a:gd name="T60" fmla="*/ 7707596 w 103"/>
                <a:gd name="T61" fmla="*/ 4505716 h 49"/>
                <a:gd name="T62" fmla="*/ 9527375 w 103"/>
                <a:gd name="T63" fmla="*/ 4803336 h 49"/>
                <a:gd name="T64" fmla="*/ 10945682 w 103"/>
                <a:gd name="T65" fmla="*/ 5244879 h 49"/>
                <a:gd name="T66" fmla="*/ 10713171 w 103"/>
                <a:gd name="T67" fmla="*/ 4263057 h 4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3" h="49">
                  <a:moveTo>
                    <a:pt x="100" y="40"/>
                  </a:moveTo>
                  <a:cubicBezTo>
                    <a:pt x="96" y="36"/>
                    <a:pt x="96" y="36"/>
                    <a:pt x="96" y="36"/>
                  </a:cubicBezTo>
                  <a:cubicBezTo>
                    <a:pt x="98" y="31"/>
                    <a:pt x="98" y="31"/>
                    <a:pt x="98" y="31"/>
                  </a:cubicBezTo>
                  <a:cubicBezTo>
                    <a:pt x="89" y="27"/>
                    <a:pt x="89" y="27"/>
                    <a:pt x="89" y="27"/>
                  </a:cubicBezTo>
                  <a:cubicBezTo>
                    <a:pt x="89" y="27"/>
                    <a:pt x="91" y="23"/>
                    <a:pt x="93" y="25"/>
                  </a:cubicBezTo>
                  <a:cubicBezTo>
                    <a:pt x="94" y="27"/>
                    <a:pt x="94" y="23"/>
                    <a:pt x="94" y="23"/>
                  </a:cubicBezTo>
                  <a:cubicBezTo>
                    <a:pt x="94" y="23"/>
                    <a:pt x="93" y="22"/>
                    <a:pt x="93" y="18"/>
                  </a:cubicBezTo>
                  <a:cubicBezTo>
                    <a:pt x="93" y="14"/>
                    <a:pt x="89" y="18"/>
                    <a:pt x="89" y="18"/>
                  </a:cubicBezTo>
                  <a:cubicBezTo>
                    <a:pt x="87" y="20"/>
                    <a:pt x="87" y="20"/>
                    <a:pt x="87" y="20"/>
                  </a:cubicBezTo>
                  <a:cubicBezTo>
                    <a:pt x="83" y="18"/>
                    <a:pt x="83" y="18"/>
                    <a:pt x="83" y="18"/>
                  </a:cubicBezTo>
                  <a:cubicBezTo>
                    <a:pt x="78" y="22"/>
                    <a:pt x="78" y="22"/>
                    <a:pt x="78" y="22"/>
                  </a:cubicBezTo>
                  <a:cubicBezTo>
                    <a:pt x="76" y="23"/>
                    <a:pt x="76" y="23"/>
                    <a:pt x="76" y="23"/>
                  </a:cubicBezTo>
                  <a:cubicBezTo>
                    <a:pt x="72" y="25"/>
                    <a:pt x="72" y="25"/>
                    <a:pt x="72" y="25"/>
                  </a:cubicBezTo>
                  <a:cubicBezTo>
                    <a:pt x="71" y="23"/>
                    <a:pt x="71" y="23"/>
                    <a:pt x="71" y="23"/>
                  </a:cubicBezTo>
                  <a:cubicBezTo>
                    <a:pt x="74" y="20"/>
                    <a:pt x="74" y="20"/>
                    <a:pt x="74" y="20"/>
                  </a:cubicBezTo>
                  <a:cubicBezTo>
                    <a:pt x="69" y="18"/>
                    <a:pt x="69" y="18"/>
                    <a:pt x="69" y="18"/>
                  </a:cubicBezTo>
                  <a:cubicBezTo>
                    <a:pt x="62" y="18"/>
                    <a:pt x="62" y="18"/>
                    <a:pt x="62" y="18"/>
                  </a:cubicBezTo>
                  <a:cubicBezTo>
                    <a:pt x="62" y="12"/>
                    <a:pt x="62" y="12"/>
                    <a:pt x="62" y="12"/>
                  </a:cubicBezTo>
                  <a:cubicBezTo>
                    <a:pt x="60" y="11"/>
                    <a:pt x="60" y="11"/>
                    <a:pt x="60" y="11"/>
                  </a:cubicBezTo>
                  <a:cubicBezTo>
                    <a:pt x="54" y="12"/>
                    <a:pt x="54" y="12"/>
                    <a:pt x="54" y="12"/>
                  </a:cubicBezTo>
                  <a:cubicBezTo>
                    <a:pt x="54" y="12"/>
                    <a:pt x="54" y="12"/>
                    <a:pt x="51" y="12"/>
                  </a:cubicBezTo>
                  <a:cubicBezTo>
                    <a:pt x="49" y="9"/>
                    <a:pt x="49" y="9"/>
                    <a:pt x="49" y="9"/>
                  </a:cubicBezTo>
                  <a:cubicBezTo>
                    <a:pt x="43" y="9"/>
                    <a:pt x="43" y="9"/>
                    <a:pt x="43" y="9"/>
                  </a:cubicBezTo>
                  <a:cubicBezTo>
                    <a:pt x="38" y="12"/>
                    <a:pt x="38" y="12"/>
                    <a:pt x="38" y="12"/>
                  </a:cubicBezTo>
                  <a:cubicBezTo>
                    <a:pt x="34" y="9"/>
                    <a:pt x="34" y="9"/>
                    <a:pt x="34" y="9"/>
                  </a:cubicBezTo>
                  <a:cubicBezTo>
                    <a:pt x="29" y="9"/>
                    <a:pt x="29" y="9"/>
                    <a:pt x="29" y="9"/>
                  </a:cubicBezTo>
                  <a:cubicBezTo>
                    <a:pt x="23" y="7"/>
                    <a:pt x="23" y="7"/>
                    <a:pt x="23" y="7"/>
                  </a:cubicBezTo>
                  <a:cubicBezTo>
                    <a:pt x="16" y="7"/>
                    <a:pt x="16" y="7"/>
                    <a:pt x="16" y="7"/>
                  </a:cubicBezTo>
                  <a:cubicBezTo>
                    <a:pt x="16" y="7"/>
                    <a:pt x="11" y="0"/>
                    <a:pt x="5" y="0"/>
                  </a:cubicBezTo>
                  <a:cubicBezTo>
                    <a:pt x="0" y="0"/>
                    <a:pt x="0" y="5"/>
                    <a:pt x="0" y="5"/>
                  </a:cubicBezTo>
                  <a:cubicBezTo>
                    <a:pt x="0" y="5"/>
                    <a:pt x="0" y="5"/>
                    <a:pt x="0" y="5"/>
                  </a:cubicBezTo>
                  <a:cubicBezTo>
                    <a:pt x="5" y="9"/>
                    <a:pt x="5" y="9"/>
                    <a:pt x="5" y="9"/>
                  </a:cubicBezTo>
                  <a:cubicBezTo>
                    <a:pt x="5" y="12"/>
                    <a:pt x="5" y="12"/>
                    <a:pt x="5" y="12"/>
                  </a:cubicBezTo>
                  <a:cubicBezTo>
                    <a:pt x="9" y="12"/>
                    <a:pt x="9" y="12"/>
                    <a:pt x="9" y="12"/>
                  </a:cubicBezTo>
                  <a:cubicBezTo>
                    <a:pt x="12" y="18"/>
                    <a:pt x="12" y="18"/>
                    <a:pt x="12" y="18"/>
                  </a:cubicBezTo>
                  <a:cubicBezTo>
                    <a:pt x="14" y="20"/>
                    <a:pt x="14" y="20"/>
                    <a:pt x="14" y="20"/>
                  </a:cubicBezTo>
                  <a:cubicBezTo>
                    <a:pt x="16" y="27"/>
                    <a:pt x="16" y="27"/>
                    <a:pt x="16" y="27"/>
                  </a:cubicBezTo>
                  <a:cubicBezTo>
                    <a:pt x="20" y="33"/>
                    <a:pt x="20" y="33"/>
                    <a:pt x="20" y="33"/>
                  </a:cubicBezTo>
                  <a:cubicBezTo>
                    <a:pt x="18" y="36"/>
                    <a:pt x="18" y="36"/>
                    <a:pt x="18" y="36"/>
                  </a:cubicBezTo>
                  <a:cubicBezTo>
                    <a:pt x="18" y="38"/>
                    <a:pt x="18" y="38"/>
                    <a:pt x="18" y="38"/>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20" y="40"/>
                    <a:pt x="20" y="40"/>
                    <a:pt x="20" y="40"/>
                  </a:cubicBezTo>
                  <a:cubicBezTo>
                    <a:pt x="21" y="42"/>
                    <a:pt x="21" y="42"/>
                    <a:pt x="21" y="42"/>
                  </a:cubicBezTo>
                  <a:cubicBezTo>
                    <a:pt x="23" y="44"/>
                    <a:pt x="23" y="44"/>
                    <a:pt x="23" y="44"/>
                  </a:cubicBezTo>
                  <a:cubicBezTo>
                    <a:pt x="25" y="42"/>
                    <a:pt x="25" y="42"/>
                    <a:pt x="25" y="42"/>
                  </a:cubicBezTo>
                  <a:cubicBezTo>
                    <a:pt x="29" y="44"/>
                    <a:pt x="29" y="44"/>
                    <a:pt x="29" y="44"/>
                  </a:cubicBezTo>
                  <a:cubicBezTo>
                    <a:pt x="31" y="42"/>
                    <a:pt x="31" y="42"/>
                    <a:pt x="31" y="42"/>
                  </a:cubicBezTo>
                  <a:cubicBezTo>
                    <a:pt x="34" y="40"/>
                    <a:pt x="34" y="40"/>
                    <a:pt x="34" y="40"/>
                  </a:cubicBezTo>
                  <a:cubicBezTo>
                    <a:pt x="36" y="42"/>
                    <a:pt x="36" y="42"/>
                    <a:pt x="36" y="42"/>
                  </a:cubicBezTo>
                  <a:cubicBezTo>
                    <a:pt x="43" y="47"/>
                    <a:pt x="43" y="47"/>
                    <a:pt x="43" y="47"/>
                  </a:cubicBezTo>
                  <a:cubicBezTo>
                    <a:pt x="47" y="47"/>
                    <a:pt x="47" y="47"/>
                    <a:pt x="47" y="47"/>
                  </a:cubicBezTo>
                  <a:cubicBezTo>
                    <a:pt x="47" y="49"/>
                    <a:pt x="47" y="49"/>
                    <a:pt x="47" y="49"/>
                  </a:cubicBezTo>
                  <a:cubicBezTo>
                    <a:pt x="52" y="47"/>
                    <a:pt x="52" y="47"/>
                    <a:pt x="52" y="47"/>
                  </a:cubicBezTo>
                  <a:cubicBezTo>
                    <a:pt x="60" y="45"/>
                    <a:pt x="60" y="45"/>
                    <a:pt x="60" y="45"/>
                  </a:cubicBezTo>
                  <a:cubicBezTo>
                    <a:pt x="62" y="45"/>
                    <a:pt x="62" y="45"/>
                    <a:pt x="62" y="45"/>
                  </a:cubicBezTo>
                  <a:cubicBezTo>
                    <a:pt x="72" y="45"/>
                    <a:pt x="72" y="45"/>
                    <a:pt x="72" y="45"/>
                  </a:cubicBezTo>
                  <a:cubicBezTo>
                    <a:pt x="72" y="45"/>
                    <a:pt x="72" y="45"/>
                    <a:pt x="72" y="45"/>
                  </a:cubicBezTo>
                  <a:cubicBezTo>
                    <a:pt x="72" y="42"/>
                    <a:pt x="72" y="42"/>
                    <a:pt x="72" y="42"/>
                  </a:cubicBezTo>
                  <a:cubicBezTo>
                    <a:pt x="80" y="40"/>
                    <a:pt x="80" y="40"/>
                    <a:pt x="80" y="40"/>
                  </a:cubicBezTo>
                  <a:cubicBezTo>
                    <a:pt x="89" y="45"/>
                    <a:pt x="89" y="45"/>
                    <a:pt x="89" y="45"/>
                  </a:cubicBezTo>
                  <a:cubicBezTo>
                    <a:pt x="96" y="45"/>
                    <a:pt x="96" y="45"/>
                    <a:pt x="96" y="45"/>
                  </a:cubicBezTo>
                  <a:cubicBezTo>
                    <a:pt x="102" y="49"/>
                    <a:pt x="102" y="49"/>
                    <a:pt x="102" y="49"/>
                  </a:cubicBezTo>
                  <a:cubicBezTo>
                    <a:pt x="103" y="44"/>
                    <a:pt x="103" y="44"/>
                    <a:pt x="103" y="44"/>
                  </a:cubicBezTo>
                  <a:cubicBezTo>
                    <a:pt x="100" y="40"/>
                    <a:pt x="100" y="40"/>
                    <a:pt x="100" y="40"/>
                  </a:cubicBezTo>
                  <a:cubicBezTo>
                    <a:pt x="100" y="40"/>
                    <a:pt x="100" y="40"/>
                    <a:pt x="100" y="40"/>
                  </a:cubicBezTo>
                  <a:close/>
                </a:path>
              </a:pathLst>
            </a:custGeom>
            <a:noFill/>
            <a:ln w="63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a:p>
          </p:txBody>
        </p:sp>
      </p:grpSp>
      <p:sp>
        <p:nvSpPr>
          <p:cNvPr id="2" name="Rechteck 1"/>
          <p:cNvSpPr/>
          <p:nvPr/>
        </p:nvSpPr>
        <p:spPr bwMode="gray">
          <a:xfrm>
            <a:off x="5763837" y="-195770"/>
            <a:ext cx="4111650" cy="133491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ct val="110000"/>
              </a:lnSpc>
              <a:spcBef>
                <a:spcPts val="300"/>
              </a:spcBef>
              <a:spcAft>
                <a:spcPts val="300"/>
              </a:spcAft>
            </a:pPr>
            <a:endParaRPr lang="de-DE" sz="1200" dirty="0" err="1">
              <a:solidFill>
                <a:schemeClr val="bg1"/>
              </a:solidFill>
            </a:endParaRPr>
          </a:p>
        </p:txBody>
      </p:sp>
      <p:sp>
        <p:nvSpPr>
          <p:cNvPr id="210" name="Rechteck 209"/>
          <p:cNvSpPr/>
          <p:nvPr/>
        </p:nvSpPr>
        <p:spPr bwMode="gray">
          <a:xfrm>
            <a:off x="8861245" y="1042102"/>
            <a:ext cx="1238874" cy="3678156"/>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ct val="110000"/>
              </a:lnSpc>
              <a:spcBef>
                <a:spcPts val="300"/>
              </a:spcBef>
              <a:spcAft>
                <a:spcPts val="300"/>
              </a:spcAft>
            </a:pPr>
            <a:endParaRPr lang="de-DE" sz="1200" dirty="0" err="1">
              <a:solidFill>
                <a:schemeClr val="bg1"/>
              </a:solidFill>
            </a:endParaRPr>
          </a:p>
        </p:txBody>
      </p:sp>
      <p:sp>
        <p:nvSpPr>
          <p:cNvPr id="6" name="Rechteck 5"/>
          <p:cNvSpPr/>
          <p:nvPr/>
        </p:nvSpPr>
        <p:spPr bwMode="gray">
          <a:xfrm>
            <a:off x="395288" y="1139142"/>
            <a:ext cx="8352700" cy="3448733"/>
          </a:xfrm>
          <a:prstGeom prst="rect">
            <a:avLst/>
          </a:prstGeom>
          <a:noFill/>
          <a:ln w="6350">
            <a:gradFill>
              <a:gsLst>
                <a:gs pos="18000">
                  <a:schemeClr val="bg1"/>
                </a:gs>
                <a:gs pos="94000">
                  <a:schemeClr val="accent1">
                    <a:lumMod val="30000"/>
                    <a:lumOff val="70000"/>
                  </a:scheme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ct val="110000"/>
              </a:lnSpc>
              <a:spcBef>
                <a:spcPts val="300"/>
              </a:spcBef>
              <a:spcAft>
                <a:spcPts val="300"/>
              </a:spcAft>
            </a:pPr>
            <a:endParaRPr lang="de-DE" sz="1200" dirty="0" err="1">
              <a:solidFill>
                <a:schemeClr val="bg1"/>
              </a:solidFill>
            </a:endParaRPr>
          </a:p>
        </p:txBody>
      </p:sp>
      <p:sp>
        <p:nvSpPr>
          <p:cNvPr id="116" name="Titel 115"/>
          <p:cNvSpPr>
            <a:spLocks noGrp="1"/>
          </p:cNvSpPr>
          <p:nvPr>
            <p:ph type="title"/>
          </p:nvPr>
        </p:nvSpPr>
        <p:spPr/>
        <p:txBody>
          <a:bodyPr/>
          <a:lstStyle/>
          <a:p>
            <a:r>
              <a:rPr lang="en-US" dirty="0">
                <a:latin typeface="Kaufland Office" pitchFamily="34" charset="0"/>
                <a:cs typeface="Arial" charset="0"/>
              </a:rPr>
              <a:t>In Europe</a:t>
            </a:r>
            <a:endParaRPr lang="de-DE" dirty="0"/>
          </a:p>
        </p:txBody>
      </p:sp>
      <p:sp>
        <p:nvSpPr>
          <p:cNvPr id="5" name="Textplatzhalter 4"/>
          <p:cNvSpPr>
            <a:spLocks noGrp="1"/>
          </p:cNvSpPr>
          <p:nvPr>
            <p:ph type="body" sz="quarter" idx="20"/>
          </p:nvPr>
        </p:nvSpPr>
        <p:spPr/>
        <p:txBody>
          <a:bodyPr/>
          <a:lstStyle/>
          <a:p>
            <a:r>
              <a:rPr lang="de-DE" dirty="0"/>
              <a:t>Kaufland</a:t>
            </a:r>
          </a:p>
        </p:txBody>
      </p:sp>
      <p:sp>
        <p:nvSpPr>
          <p:cNvPr id="251" name="Rectangle 5"/>
          <p:cNvSpPr/>
          <p:nvPr/>
        </p:nvSpPr>
        <p:spPr bwMode="gray">
          <a:xfrm>
            <a:off x="7272239" y="3512651"/>
            <a:ext cx="185511" cy="10517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18000" bIns="0" numCol="1" spcCol="0" rtlCol="0" fromWordArt="0" anchor="ctr" anchorCtr="0" forceAA="0" compatLnSpc="1">
            <a:prstTxWarp prst="textNoShape">
              <a:avLst/>
            </a:prstTxWarp>
            <a:noAutofit/>
          </a:bodyPr>
          <a:lstStyle/>
          <a:p>
            <a:pPr algn="ctr">
              <a:lnSpc>
                <a:spcPct val="110000"/>
              </a:lnSpc>
              <a:spcBef>
                <a:spcPts val="300"/>
              </a:spcBef>
              <a:spcAft>
                <a:spcPts val="300"/>
              </a:spcAft>
            </a:pPr>
            <a:r>
              <a:rPr lang="de-DE" sz="800" dirty="0">
                <a:solidFill>
                  <a:schemeClr val="tx1"/>
                </a:solidFill>
              </a:rPr>
              <a:t>BG</a:t>
            </a:r>
          </a:p>
        </p:txBody>
      </p:sp>
      <p:sp>
        <p:nvSpPr>
          <p:cNvPr id="252" name="Rectangle 5"/>
          <p:cNvSpPr/>
          <p:nvPr/>
        </p:nvSpPr>
        <p:spPr bwMode="gray">
          <a:xfrm>
            <a:off x="7183671" y="3230814"/>
            <a:ext cx="209420" cy="5955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18000" bIns="0" numCol="1" spcCol="0" rtlCol="0" fromWordArt="0" anchor="ctr" anchorCtr="0" forceAA="0" compatLnSpc="1">
            <a:prstTxWarp prst="textNoShape">
              <a:avLst/>
            </a:prstTxWarp>
            <a:noAutofit/>
          </a:bodyPr>
          <a:lstStyle/>
          <a:p>
            <a:pPr algn="r">
              <a:lnSpc>
                <a:spcPct val="110000"/>
              </a:lnSpc>
              <a:spcBef>
                <a:spcPts val="300"/>
              </a:spcBef>
              <a:spcAft>
                <a:spcPts val="300"/>
              </a:spcAft>
            </a:pPr>
            <a:r>
              <a:rPr lang="de-DE" sz="800" dirty="0">
                <a:solidFill>
                  <a:schemeClr val="tx1"/>
                </a:solidFill>
              </a:rPr>
              <a:t>RO</a:t>
            </a:r>
          </a:p>
        </p:txBody>
      </p:sp>
      <p:sp>
        <p:nvSpPr>
          <p:cNvPr id="253" name="Rectangle 5"/>
          <p:cNvSpPr/>
          <p:nvPr/>
        </p:nvSpPr>
        <p:spPr bwMode="gray">
          <a:xfrm>
            <a:off x="6853106" y="2957535"/>
            <a:ext cx="204254" cy="10517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18000" bIns="0" numCol="1" spcCol="0" rtlCol="0" fromWordArt="0" anchor="ctr" anchorCtr="0" forceAA="0" compatLnSpc="1">
            <a:prstTxWarp prst="textNoShape">
              <a:avLst/>
            </a:prstTxWarp>
            <a:noAutofit/>
          </a:bodyPr>
          <a:lstStyle/>
          <a:p>
            <a:pPr algn="ctr">
              <a:lnSpc>
                <a:spcPct val="110000"/>
              </a:lnSpc>
              <a:spcBef>
                <a:spcPts val="300"/>
              </a:spcBef>
              <a:spcAft>
                <a:spcPts val="300"/>
              </a:spcAft>
            </a:pPr>
            <a:r>
              <a:rPr lang="de-DE" sz="800" dirty="0">
                <a:solidFill>
                  <a:schemeClr val="tx1"/>
                </a:solidFill>
              </a:rPr>
              <a:t>SL</a:t>
            </a:r>
          </a:p>
        </p:txBody>
      </p:sp>
      <p:sp>
        <p:nvSpPr>
          <p:cNvPr id="254" name="Rectangle 5"/>
          <p:cNvSpPr/>
          <p:nvPr/>
        </p:nvSpPr>
        <p:spPr bwMode="gray">
          <a:xfrm>
            <a:off x="6804184" y="2588093"/>
            <a:ext cx="240521" cy="10517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18000" bIns="0" numCol="1" spcCol="0" rtlCol="0" fromWordArt="0" anchor="ctr" anchorCtr="0" forceAA="0" compatLnSpc="1">
            <a:prstTxWarp prst="textNoShape">
              <a:avLst/>
            </a:prstTxWarp>
            <a:noAutofit/>
          </a:bodyPr>
          <a:lstStyle/>
          <a:p>
            <a:pPr algn="ctr">
              <a:lnSpc>
                <a:spcPct val="110000"/>
              </a:lnSpc>
              <a:spcBef>
                <a:spcPts val="300"/>
              </a:spcBef>
              <a:spcAft>
                <a:spcPts val="300"/>
              </a:spcAft>
            </a:pPr>
            <a:r>
              <a:rPr lang="de-DE" sz="800" dirty="0">
                <a:solidFill>
                  <a:schemeClr val="tx1"/>
                </a:solidFill>
              </a:rPr>
              <a:t>PL</a:t>
            </a:r>
          </a:p>
        </p:txBody>
      </p:sp>
      <p:sp>
        <p:nvSpPr>
          <p:cNvPr id="255" name="Rectangle 5"/>
          <p:cNvSpPr/>
          <p:nvPr/>
        </p:nvSpPr>
        <p:spPr bwMode="gray">
          <a:xfrm>
            <a:off x="6112853" y="2647920"/>
            <a:ext cx="251125" cy="10517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0" rIns="36000" bIns="0" numCol="1" spcCol="0" rtlCol="0" fromWordArt="0" anchor="ctr" anchorCtr="0" forceAA="0" compatLnSpc="1">
            <a:prstTxWarp prst="textNoShape">
              <a:avLst/>
            </a:prstTxWarp>
            <a:noAutofit/>
          </a:bodyPr>
          <a:lstStyle/>
          <a:p>
            <a:pPr algn="ctr">
              <a:lnSpc>
                <a:spcPct val="110000"/>
              </a:lnSpc>
              <a:spcBef>
                <a:spcPts val="300"/>
              </a:spcBef>
              <a:spcAft>
                <a:spcPts val="300"/>
              </a:spcAft>
            </a:pPr>
            <a:r>
              <a:rPr lang="de-DE" sz="800" dirty="0">
                <a:solidFill>
                  <a:schemeClr val="tx1"/>
                </a:solidFill>
              </a:rPr>
              <a:t>DE</a:t>
            </a:r>
          </a:p>
        </p:txBody>
      </p:sp>
      <p:sp>
        <p:nvSpPr>
          <p:cNvPr id="256" name="Rectangle 5"/>
          <p:cNvSpPr/>
          <p:nvPr/>
        </p:nvSpPr>
        <p:spPr bwMode="gray">
          <a:xfrm>
            <a:off x="6506709" y="2792034"/>
            <a:ext cx="224332" cy="1554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0" rIns="36000" bIns="0" numCol="1" spcCol="0" rtlCol="0" fromWordArt="0" anchor="ctr" anchorCtr="0" forceAA="0" compatLnSpc="1">
            <a:prstTxWarp prst="textNoShape">
              <a:avLst/>
            </a:prstTxWarp>
            <a:noAutofit/>
          </a:bodyPr>
          <a:lstStyle/>
          <a:p>
            <a:pPr>
              <a:lnSpc>
                <a:spcPct val="110000"/>
              </a:lnSpc>
              <a:spcBef>
                <a:spcPts val="300"/>
              </a:spcBef>
              <a:spcAft>
                <a:spcPts val="300"/>
              </a:spcAft>
            </a:pPr>
            <a:r>
              <a:rPr lang="de-DE" sz="800" dirty="0">
                <a:solidFill>
                  <a:schemeClr val="tx1"/>
                </a:solidFill>
              </a:rPr>
              <a:t>CZ</a:t>
            </a:r>
          </a:p>
        </p:txBody>
      </p:sp>
      <p:sp>
        <p:nvSpPr>
          <p:cNvPr id="257" name="Rectangle 5"/>
          <p:cNvSpPr/>
          <p:nvPr/>
        </p:nvSpPr>
        <p:spPr bwMode="gray">
          <a:xfrm>
            <a:off x="6652551" y="3244147"/>
            <a:ext cx="201100" cy="10517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0" rIns="36000" bIns="0" numCol="1" spcCol="0" rtlCol="0" fromWordArt="0" anchor="ctr" anchorCtr="0" forceAA="0" compatLnSpc="1">
            <a:prstTxWarp prst="textNoShape">
              <a:avLst/>
            </a:prstTxWarp>
            <a:noAutofit/>
          </a:bodyPr>
          <a:lstStyle/>
          <a:p>
            <a:pPr>
              <a:lnSpc>
                <a:spcPct val="110000"/>
              </a:lnSpc>
              <a:spcBef>
                <a:spcPts val="300"/>
              </a:spcBef>
              <a:spcAft>
                <a:spcPts val="300"/>
              </a:spcAft>
            </a:pPr>
            <a:r>
              <a:rPr lang="de-DE" sz="800" dirty="0">
                <a:solidFill>
                  <a:schemeClr val="tx1"/>
                </a:solidFill>
              </a:rPr>
              <a:t>HR</a:t>
            </a:r>
          </a:p>
        </p:txBody>
      </p:sp>
      <p:sp>
        <p:nvSpPr>
          <p:cNvPr id="128" name="Rechteck 127"/>
          <p:cNvSpPr/>
          <p:nvPr/>
        </p:nvSpPr>
        <p:spPr>
          <a:xfrm>
            <a:off x="824084" y="1427552"/>
            <a:ext cx="1329969" cy="468000"/>
          </a:xfrm>
          <a:prstGeom prst="rect">
            <a:avLst/>
          </a:prstGeom>
        </p:spPr>
        <p:txBody>
          <a:bodyPr wrap="square" lIns="0" tIns="0" rIns="0" bIns="0" anchor="ctr" anchorCtr="0">
            <a:noAutofit/>
          </a:bodyPr>
          <a:lstStyle/>
          <a:p>
            <a:pPr algn="r"/>
            <a:r>
              <a:rPr lang="de-DE" altLang="de-DE" sz="1000" dirty="0"/>
              <a:t>Countries</a:t>
            </a:r>
            <a:endParaRPr lang="de-DE" altLang="de-DE" sz="1000" dirty="0">
              <a:latin typeface="Kaufland Office"/>
            </a:endParaRPr>
          </a:p>
        </p:txBody>
      </p:sp>
      <p:sp>
        <p:nvSpPr>
          <p:cNvPr id="129" name="Rechteck 128"/>
          <p:cNvSpPr/>
          <p:nvPr/>
        </p:nvSpPr>
        <p:spPr>
          <a:xfrm>
            <a:off x="2483936" y="1427552"/>
            <a:ext cx="1512000" cy="468000"/>
          </a:xfrm>
          <a:prstGeom prst="rect">
            <a:avLst/>
          </a:prstGeom>
          <a:noFill/>
        </p:spPr>
        <p:txBody>
          <a:bodyPr wrap="square" lIns="0" tIns="0" rIns="0" bIns="0" anchor="ctr" anchorCtr="0">
            <a:noAutofit/>
          </a:bodyPr>
          <a:lstStyle/>
          <a:p>
            <a:r>
              <a:rPr lang="de-DE" altLang="de-DE" sz="2800" dirty="0">
                <a:latin typeface="Kaufland Office"/>
              </a:rPr>
              <a:t>8</a:t>
            </a:r>
            <a:endParaRPr lang="de-DE" altLang="de-DE" sz="1600" dirty="0">
              <a:latin typeface="Kaufland Office"/>
            </a:endParaRPr>
          </a:p>
        </p:txBody>
      </p:sp>
      <p:sp>
        <p:nvSpPr>
          <p:cNvPr id="130" name="Rechteck 129"/>
          <p:cNvSpPr/>
          <p:nvPr/>
        </p:nvSpPr>
        <p:spPr>
          <a:xfrm>
            <a:off x="824084" y="2023478"/>
            <a:ext cx="1329969" cy="468000"/>
          </a:xfrm>
          <a:prstGeom prst="rect">
            <a:avLst/>
          </a:prstGeom>
        </p:spPr>
        <p:txBody>
          <a:bodyPr wrap="square" lIns="0" tIns="0" rIns="0" bIns="0" anchor="ctr" anchorCtr="0">
            <a:noAutofit/>
          </a:bodyPr>
          <a:lstStyle/>
          <a:p>
            <a:pPr algn="r"/>
            <a:r>
              <a:rPr lang="de-DE" altLang="de-DE" sz="1000" dirty="0"/>
              <a:t>Stores</a:t>
            </a:r>
          </a:p>
        </p:txBody>
      </p:sp>
      <p:sp>
        <p:nvSpPr>
          <p:cNvPr id="131" name="Rechteck 130"/>
          <p:cNvSpPr/>
          <p:nvPr/>
        </p:nvSpPr>
        <p:spPr>
          <a:xfrm>
            <a:off x="2501143" y="1983200"/>
            <a:ext cx="1512000" cy="468000"/>
          </a:xfrm>
          <a:prstGeom prst="rect">
            <a:avLst/>
          </a:prstGeom>
          <a:noFill/>
        </p:spPr>
        <p:txBody>
          <a:bodyPr wrap="square" lIns="0" tIns="0" rIns="0" bIns="0" anchor="ctr" anchorCtr="0">
            <a:noAutofit/>
          </a:bodyPr>
          <a:lstStyle/>
          <a:p>
            <a:r>
              <a:rPr lang="de-DE" altLang="de-DE" sz="2800" dirty="0"/>
              <a:t>1,300</a:t>
            </a:r>
          </a:p>
        </p:txBody>
      </p:sp>
      <p:sp>
        <p:nvSpPr>
          <p:cNvPr id="132" name="Rechteck 131"/>
          <p:cNvSpPr/>
          <p:nvPr/>
        </p:nvSpPr>
        <p:spPr>
          <a:xfrm>
            <a:off x="858264" y="2687302"/>
            <a:ext cx="1329969" cy="468000"/>
          </a:xfrm>
          <a:prstGeom prst="rect">
            <a:avLst/>
          </a:prstGeom>
        </p:spPr>
        <p:txBody>
          <a:bodyPr wrap="square" lIns="0" tIns="0" rIns="0" bIns="0" anchor="ctr" anchorCtr="0">
            <a:noAutofit/>
          </a:bodyPr>
          <a:lstStyle/>
          <a:p>
            <a:pPr algn="r"/>
            <a:r>
              <a:rPr lang="de-DE" altLang="de-DE" sz="1000" dirty="0" err="1"/>
              <a:t>Employees</a:t>
            </a:r>
            <a:endParaRPr lang="de-DE" altLang="de-DE" sz="1000" dirty="0"/>
          </a:p>
          <a:p>
            <a:pPr algn="r"/>
            <a:endParaRPr lang="de-DE" altLang="de-DE" sz="1000" dirty="0"/>
          </a:p>
        </p:txBody>
      </p:sp>
      <p:sp>
        <p:nvSpPr>
          <p:cNvPr id="133" name="Rechteck 132"/>
          <p:cNvSpPr/>
          <p:nvPr/>
        </p:nvSpPr>
        <p:spPr>
          <a:xfrm>
            <a:off x="2483936" y="2619404"/>
            <a:ext cx="1512000" cy="468000"/>
          </a:xfrm>
          <a:prstGeom prst="rect">
            <a:avLst/>
          </a:prstGeom>
          <a:noFill/>
        </p:spPr>
        <p:txBody>
          <a:bodyPr wrap="square" lIns="0" tIns="0" rIns="0" bIns="0" anchor="ctr" anchorCtr="0">
            <a:noAutofit/>
          </a:bodyPr>
          <a:lstStyle/>
          <a:p>
            <a:r>
              <a:rPr lang="de-DE" altLang="de-DE" sz="2800" dirty="0"/>
              <a:t>132,000</a:t>
            </a:r>
            <a:endParaRPr lang="de-DE" altLang="de-DE" sz="1600" dirty="0"/>
          </a:p>
        </p:txBody>
      </p:sp>
      <p:cxnSp>
        <p:nvCxnSpPr>
          <p:cNvPr id="134" name="Gerader Verbinder 133"/>
          <p:cNvCxnSpPr/>
          <p:nvPr/>
        </p:nvCxnSpPr>
        <p:spPr bwMode="gray">
          <a:xfrm>
            <a:off x="2316741" y="1493462"/>
            <a:ext cx="0" cy="3361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Gerader Verbinder 134"/>
          <p:cNvCxnSpPr/>
          <p:nvPr/>
        </p:nvCxnSpPr>
        <p:spPr bwMode="gray">
          <a:xfrm>
            <a:off x="2316741" y="2100575"/>
            <a:ext cx="0" cy="3361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Gerader Verbinder 135"/>
          <p:cNvCxnSpPr/>
          <p:nvPr/>
        </p:nvCxnSpPr>
        <p:spPr bwMode="gray">
          <a:xfrm>
            <a:off x="2316741" y="2707688"/>
            <a:ext cx="0" cy="3361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3" name="Rechteck 112"/>
          <p:cNvSpPr/>
          <p:nvPr/>
        </p:nvSpPr>
        <p:spPr>
          <a:xfrm>
            <a:off x="824084" y="3237780"/>
            <a:ext cx="1329969" cy="468000"/>
          </a:xfrm>
          <a:prstGeom prst="rect">
            <a:avLst/>
          </a:prstGeom>
        </p:spPr>
        <p:txBody>
          <a:bodyPr wrap="square" lIns="0" tIns="0" rIns="0" bIns="0" anchor="ctr" anchorCtr="0">
            <a:noAutofit/>
          </a:bodyPr>
          <a:lstStyle/>
          <a:p>
            <a:pPr algn="r"/>
            <a:r>
              <a:rPr lang="de-DE" altLang="de-DE" sz="1000" dirty="0"/>
              <a:t>Distribution </a:t>
            </a:r>
            <a:r>
              <a:rPr lang="de-DE" altLang="de-DE" sz="1000" dirty="0" err="1"/>
              <a:t>Centre</a:t>
            </a:r>
            <a:endParaRPr lang="de-DE" altLang="de-DE" sz="1000" dirty="0"/>
          </a:p>
        </p:txBody>
      </p:sp>
      <p:sp>
        <p:nvSpPr>
          <p:cNvPr id="114" name="Rechteck 113"/>
          <p:cNvSpPr/>
          <p:nvPr/>
        </p:nvSpPr>
        <p:spPr>
          <a:xfrm>
            <a:off x="2483936" y="3237780"/>
            <a:ext cx="1512000" cy="468000"/>
          </a:xfrm>
          <a:prstGeom prst="rect">
            <a:avLst/>
          </a:prstGeom>
          <a:noFill/>
        </p:spPr>
        <p:txBody>
          <a:bodyPr wrap="square" lIns="0" tIns="0" rIns="0" bIns="0" anchor="ctr" anchorCtr="0">
            <a:noAutofit/>
          </a:bodyPr>
          <a:lstStyle/>
          <a:p>
            <a:r>
              <a:rPr lang="de-DE" altLang="de-DE" sz="2800" dirty="0"/>
              <a:t>17</a:t>
            </a:r>
          </a:p>
        </p:txBody>
      </p:sp>
      <p:sp>
        <p:nvSpPr>
          <p:cNvPr id="115" name="Rechteck 114"/>
          <p:cNvSpPr/>
          <p:nvPr/>
        </p:nvSpPr>
        <p:spPr>
          <a:xfrm>
            <a:off x="824084" y="3833706"/>
            <a:ext cx="1329969" cy="468000"/>
          </a:xfrm>
          <a:prstGeom prst="rect">
            <a:avLst/>
          </a:prstGeom>
        </p:spPr>
        <p:txBody>
          <a:bodyPr wrap="square" lIns="0" tIns="0" rIns="0" bIns="0" anchor="ctr" anchorCtr="0">
            <a:noAutofit/>
          </a:bodyPr>
          <a:lstStyle/>
          <a:p>
            <a:pPr algn="r"/>
            <a:r>
              <a:rPr lang="de-DE" altLang="de-DE" sz="1000" dirty="0"/>
              <a:t>Meat </a:t>
            </a:r>
            <a:r>
              <a:rPr lang="de-DE" altLang="de-DE" sz="1000" dirty="0" err="1"/>
              <a:t>processing</a:t>
            </a:r>
            <a:r>
              <a:rPr lang="de-DE" altLang="de-DE" sz="1000" dirty="0"/>
              <a:t> </a:t>
            </a:r>
            <a:r>
              <a:rPr lang="de-DE" altLang="de-DE" sz="1000" dirty="0" err="1"/>
              <a:t>plants</a:t>
            </a:r>
            <a:endParaRPr lang="de-DE" altLang="de-DE" sz="1000" dirty="0"/>
          </a:p>
        </p:txBody>
      </p:sp>
      <p:sp>
        <p:nvSpPr>
          <p:cNvPr id="118" name="Rechteck 117"/>
          <p:cNvSpPr/>
          <p:nvPr/>
        </p:nvSpPr>
        <p:spPr>
          <a:xfrm>
            <a:off x="2483936" y="3833706"/>
            <a:ext cx="1512000" cy="468000"/>
          </a:xfrm>
          <a:prstGeom prst="rect">
            <a:avLst/>
          </a:prstGeom>
          <a:noFill/>
        </p:spPr>
        <p:txBody>
          <a:bodyPr wrap="square" lIns="0" tIns="0" rIns="0" bIns="0" anchor="ctr" anchorCtr="0">
            <a:noAutofit/>
          </a:bodyPr>
          <a:lstStyle/>
          <a:p>
            <a:r>
              <a:rPr lang="de-DE" altLang="de-DE" sz="2800" dirty="0"/>
              <a:t>5</a:t>
            </a:r>
            <a:endParaRPr lang="de-DE" altLang="de-DE" sz="1600" dirty="0"/>
          </a:p>
        </p:txBody>
      </p:sp>
      <p:cxnSp>
        <p:nvCxnSpPr>
          <p:cNvPr id="120" name="Gerader Verbinder 119"/>
          <p:cNvCxnSpPr/>
          <p:nvPr/>
        </p:nvCxnSpPr>
        <p:spPr bwMode="gray">
          <a:xfrm>
            <a:off x="2316741" y="3314877"/>
            <a:ext cx="0" cy="3361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Gerader Verbinder 121"/>
          <p:cNvCxnSpPr/>
          <p:nvPr/>
        </p:nvCxnSpPr>
        <p:spPr bwMode="gray">
          <a:xfrm>
            <a:off x="2316741" y="3921990"/>
            <a:ext cx="0" cy="3361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platzhalter 2"/>
          <p:cNvSpPr>
            <a:spLocks noGrp="1"/>
          </p:cNvSpPr>
          <p:nvPr>
            <p:ph type="body" sz="quarter" idx="28"/>
          </p:nvPr>
        </p:nvSpPr>
        <p:spPr/>
        <p:txBody>
          <a:bodyPr/>
          <a:lstStyle/>
          <a:p>
            <a:endParaRPr lang="de-DE"/>
          </a:p>
        </p:txBody>
      </p:sp>
      <p:sp>
        <p:nvSpPr>
          <p:cNvPr id="112" name="Rectangle 5">
            <a:extLst>
              <a:ext uri="{FF2B5EF4-FFF2-40B4-BE49-F238E27FC236}">
                <a16:creationId xmlns:a16="http://schemas.microsoft.com/office/drawing/2014/main" id="{F9E927A6-DAEB-4F7B-9C09-C44E125CCE9A}"/>
              </a:ext>
            </a:extLst>
          </p:cNvPr>
          <p:cNvSpPr/>
          <p:nvPr/>
        </p:nvSpPr>
        <p:spPr bwMode="gray">
          <a:xfrm>
            <a:off x="7555899" y="3065595"/>
            <a:ext cx="297322" cy="11072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0" rIns="36000" bIns="0" numCol="1" spcCol="0" rtlCol="0" fromWordArt="0" anchor="ctr" anchorCtr="0" forceAA="0" compatLnSpc="1">
            <a:prstTxWarp prst="textNoShape">
              <a:avLst/>
            </a:prstTxWarp>
            <a:noAutofit/>
          </a:bodyPr>
          <a:lstStyle/>
          <a:p>
            <a:pPr algn="ctr">
              <a:lnSpc>
                <a:spcPct val="110000"/>
              </a:lnSpc>
              <a:spcBef>
                <a:spcPts val="300"/>
              </a:spcBef>
              <a:spcAft>
                <a:spcPts val="300"/>
              </a:spcAft>
            </a:pPr>
            <a:r>
              <a:rPr lang="de-DE" sz="800" dirty="0">
                <a:solidFill>
                  <a:schemeClr val="tx1"/>
                </a:solidFill>
              </a:rPr>
              <a:t>MDA</a:t>
            </a:r>
          </a:p>
        </p:txBody>
      </p:sp>
    </p:spTree>
    <p:extLst>
      <p:ext uri="{BB962C8B-B14F-4D97-AF65-F5344CB8AC3E}">
        <p14:creationId xmlns:p14="http://schemas.microsoft.com/office/powerpoint/2010/main" val="155798521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itel 115"/>
          <p:cNvSpPr>
            <a:spLocks noGrp="1"/>
          </p:cNvSpPr>
          <p:nvPr>
            <p:ph type="title"/>
          </p:nvPr>
        </p:nvSpPr>
        <p:spPr>
          <a:xfrm>
            <a:off x="395288" y="483518"/>
            <a:ext cx="8350079" cy="594427"/>
          </a:xfrm>
        </p:spPr>
        <p:txBody>
          <a:bodyPr/>
          <a:lstStyle/>
          <a:p>
            <a:r>
              <a:rPr lang="en-US" dirty="0">
                <a:latin typeface="+mn-lt"/>
                <a:cs typeface="Arial" charset="0"/>
              </a:rPr>
              <a:t>Biodiversity management </a:t>
            </a:r>
            <a:endParaRPr lang="de-DE" dirty="0">
              <a:latin typeface="+mn-lt"/>
            </a:endParaRPr>
          </a:p>
        </p:txBody>
      </p:sp>
      <p:sp>
        <p:nvSpPr>
          <p:cNvPr id="5" name="Textplatzhalter 4"/>
          <p:cNvSpPr>
            <a:spLocks noGrp="1"/>
          </p:cNvSpPr>
          <p:nvPr>
            <p:ph type="body" sz="quarter" idx="20"/>
          </p:nvPr>
        </p:nvSpPr>
        <p:spPr/>
        <p:txBody>
          <a:bodyPr/>
          <a:lstStyle/>
          <a:p>
            <a:r>
              <a:rPr lang="de-DE" dirty="0"/>
              <a:t>Kaufland</a:t>
            </a:r>
          </a:p>
        </p:txBody>
      </p:sp>
      <p:pic>
        <p:nvPicPr>
          <p:cNvPr id="4" name="Grafik 3">
            <a:extLst>
              <a:ext uri="{FF2B5EF4-FFF2-40B4-BE49-F238E27FC236}">
                <a16:creationId xmlns:a16="http://schemas.microsoft.com/office/drawing/2014/main" id="{3925AEEE-D625-4D42-9DA6-FAD97A71F125}"/>
              </a:ext>
            </a:extLst>
          </p:cNvPr>
          <p:cNvPicPr>
            <a:picLocks noChangeAspect="1"/>
          </p:cNvPicPr>
          <p:nvPr/>
        </p:nvPicPr>
        <p:blipFill>
          <a:blip r:embed="rId3"/>
          <a:stretch>
            <a:fillRect/>
          </a:stretch>
        </p:blipFill>
        <p:spPr>
          <a:xfrm>
            <a:off x="-5077072" y="2427734"/>
            <a:ext cx="4430032" cy="1619333"/>
          </a:xfrm>
          <a:prstGeom prst="rect">
            <a:avLst/>
          </a:prstGeom>
        </p:spPr>
      </p:pic>
      <p:pic>
        <p:nvPicPr>
          <p:cNvPr id="8" name="Grafik 7" descr="Ein Bild, das Zeichnung enthält.&#10;&#10;Automatisch generierte Beschreibung">
            <a:extLst>
              <a:ext uri="{FF2B5EF4-FFF2-40B4-BE49-F238E27FC236}">
                <a16:creationId xmlns:a16="http://schemas.microsoft.com/office/drawing/2014/main" id="{7864E9CC-422C-43E5-8141-377D86444535}"/>
              </a:ext>
            </a:extLst>
          </p:cNvPr>
          <p:cNvPicPr>
            <a:picLocks noChangeAspect="1"/>
          </p:cNvPicPr>
          <p:nvPr/>
        </p:nvPicPr>
        <p:blipFill>
          <a:blip r:embed="rId4"/>
          <a:stretch>
            <a:fillRect/>
          </a:stretch>
        </p:blipFill>
        <p:spPr>
          <a:xfrm>
            <a:off x="8172400" y="198544"/>
            <a:ext cx="843558" cy="843558"/>
          </a:xfrm>
          <a:prstGeom prst="rect">
            <a:avLst/>
          </a:prstGeom>
        </p:spPr>
      </p:pic>
      <p:pic>
        <p:nvPicPr>
          <p:cNvPr id="10" name="Grafik 9">
            <a:extLst>
              <a:ext uri="{FF2B5EF4-FFF2-40B4-BE49-F238E27FC236}">
                <a16:creationId xmlns:a16="http://schemas.microsoft.com/office/drawing/2014/main" id="{7682008A-51C6-4274-BE56-406E391C5D3C}"/>
              </a:ext>
            </a:extLst>
          </p:cNvPr>
          <p:cNvPicPr>
            <a:picLocks noChangeAspect="1"/>
          </p:cNvPicPr>
          <p:nvPr/>
        </p:nvPicPr>
        <p:blipFill>
          <a:blip r:embed="rId5"/>
          <a:stretch>
            <a:fillRect/>
          </a:stretch>
        </p:blipFill>
        <p:spPr>
          <a:xfrm>
            <a:off x="3074489" y="1316501"/>
            <a:ext cx="2096873" cy="2096873"/>
          </a:xfrm>
          <a:prstGeom prst="rect">
            <a:avLst/>
          </a:prstGeom>
        </p:spPr>
      </p:pic>
      <p:sp>
        <p:nvSpPr>
          <p:cNvPr id="11" name="Ellipse 10">
            <a:extLst>
              <a:ext uri="{FF2B5EF4-FFF2-40B4-BE49-F238E27FC236}">
                <a16:creationId xmlns:a16="http://schemas.microsoft.com/office/drawing/2014/main" id="{108CE996-FCF9-4F9C-A6B9-6E48BCB346E8}"/>
              </a:ext>
            </a:extLst>
          </p:cNvPr>
          <p:cNvSpPr/>
          <p:nvPr/>
        </p:nvSpPr>
        <p:spPr bwMode="gray">
          <a:xfrm>
            <a:off x="3637833" y="2923445"/>
            <a:ext cx="1055605" cy="965313"/>
          </a:xfrm>
          <a:prstGeom prst="ellips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ct val="110000"/>
              </a:lnSpc>
              <a:spcBef>
                <a:spcPts val="300"/>
              </a:spcBef>
              <a:spcAft>
                <a:spcPts val="300"/>
              </a:spcAft>
            </a:pPr>
            <a:endParaRPr lang="de-DE" sz="1200" dirty="0" err="1">
              <a:solidFill>
                <a:schemeClr val="bg1"/>
              </a:solidFill>
            </a:endParaRPr>
          </a:p>
        </p:txBody>
      </p:sp>
      <p:sp>
        <p:nvSpPr>
          <p:cNvPr id="26" name="Textfeld 25">
            <a:extLst>
              <a:ext uri="{FF2B5EF4-FFF2-40B4-BE49-F238E27FC236}">
                <a16:creationId xmlns:a16="http://schemas.microsoft.com/office/drawing/2014/main" id="{B08AD292-2FEA-4730-AE29-B6ACBAA94027}"/>
              </a:ext>
            </a:extLst>
          </p:cNvPr>
          <p:cNvSpPr txBox="1"/>
          <p:nvPr/>
        </p:nvSpPr>
        <p:spPr bwMode="gray">
          <a:xfrm>
            <a:off x="3299154" y="3991973"/>
            <a:ext cx="1872208" cy="585630"/>
          </a:xfrm>
          <a:prstGeom prst="rect">
            <a:avLst/>
          </a:prstGeom>
          <a:noFill/>
        </p:spPr>
        <p:txBody>
          <a:bodyPr wrap="square" lIns="0" tIns="0" rIns="0" bIns="0" rtlCol="0">
            <a:noAutofit/>
          </a:bodyPr>
          <a:lstStyle/>
          <a:p>
            <a:pPr algn="ctr">
              <a:lnSpc>
                <a:spcPct val="110000"/>
              </a:lnSpc>
              <a:spcBef>
                <a:spcPts val="300"/>
              </a:spcBef>
              <a:spcAft>
                <a:spcPts val="300"/>
              </a:spcAft>
              <a:buClr>
                <a:schemeClr val="accent1"/>
              </a:buClr>
            </a:pPr>
            <a:r>
              <a:rPr lang="de-DE" sz="1200" dirty="0"/>
              <a:t>Communication- and </a:t>
            </a:r>
            <a:r>
              <a:rPr lang="de-DE" sz="1200" dirty="0" err="1"/>
              <a:t>Assortment</a:t>
            </a:r>
            <a:r>
              <a:rPr lang="de-DE" sz="1200" dirty="0"/>
              <a:t> Management </a:t>
            </a:r>
          </a:p>
        </p:txBody>
      </p:sp>
      <p:sp>
        <p:nvSpPr>
          <p:cNvPr id="137" name="Textfeld 136">
            <a:extLst>
              <a:ext uri="{FF2B5EF4-FFF2-40B4-BE49-F238E27FC236}">
                <a16:creationId xmlns:a16="http://schemas.microsoft.com/office/drawing/2014/main" id="{E42A4077-B4C7-41E0-A849-4FD92DA6AE92}"/>
              </a:ext>
            </a:extLst>
          </p:cNvPr>
          <p:cNvSpPr txBox="1"/>
          <p:nvPr/>
        </p:nvSpPr>
        <p:spPr bwMode="gray">
          <a:xfrm>
            <a:off x="5171362" y="2563580"/>
            <a:ext cx="1872208" cy="585630"/>
          </a:xfrm>
          <a:prstGeom prst="rect">
            <a:avLst/>
          </a:prstGeom>
          <a:noFill/>
        </p:spPr>
        <p:txBody>
          <a:bodyPr wrap="square" lIns="0" tIns="0" rIns="0" bIns="0" rtlCol="0">
            <a:noAutofit/>
          </a:bodyPr>
          <a:lstStyle/>
          <a:p>
            <a:pPr algn="ctr">
              <a:lnSpc>
                <a:spcPct val="110000"/>
              </a:lnSpc>
              <a:spcBef>
                <a:spcPts val="300"/>
              </a:spcBef>
              <a:spcAft>
                <a:spcPts val="300"/>
              </a:spcAft>
              <a:buClr>
                <a:schemeClr val="accent1"/>
              </a:buClr>
            </a:pPr>
            <a:r>
              <a:rPr lang="de-DE" sz="1200" dirty="0" err="1"/>
              <a:t>Pesticide</a:t>
            </a:r>
            <a:r>
              <a:rPr lang="de-DE" sz="1200" dirty="0"/>
              <a:t> Management  </a:t>
            </a:r>
          </a:p>
        </p:txBody>
      </p:sp>
      <p:sp>
        <p:nvSpPr>
          <p:cNvPr id="138" name="Textfeld 137">
            <a:extLst>
              <a:ext uri="{FF2B5EF4-FFF2-40B4-BE49-F238E27FC236}">
                <a16:creationId xmlns:a16="http://schemas.microsoft.com/office/drawing/2014/main" id="{E3565A35-585E-4278-B638-4985768D6E7D}"/>
              </a:ext>
            </a:extLst>
          </p:cNvPr>
          <p:cNvSpPr txBox="1"/>
          <p:nvPr/>
        </p:nvSpPr>
        <p:spPr bwMode="gray">
          <a:xfrm>
            <a:off x="1314614" y="2571750"/>
            <a:ext cx="1872208" cy="585630"/>
          </a:xfrm>
          <a:prstGeom prst="rect">
            <a:avLst/>
          </a:prstGeom>
          <a:noFill/>
        </p:spPr>
        <p:txBody>
          <a:bodyPr wrap="square" lIns="0" tIns="0" rIns="0" bIns="0" rtlCol="0">
            <a:noAutofit/>
          </a:bodyPr>
          <a:lstStyle/>
          <a:p>
            <a:pPr algn="ctr">
              <a:lnSpc>
                <a:spcPct val="110000"/>
              </a:lnSpc>
              <a:spcBef>
                <a:spcPts val="300"/>
              </a:spcBef>
              <a:spcAft>
                <a:spcPts val="300"/>
              </a:spcAft>
              <a:buClr>
                <a:schemeClr val="accent1"/>
              </a:buClr>
            </a:pPr>
            <a:r>
              <a:rPr lang="de-DE" sz="1200" dirty="0"/>
              <a:t>Project Management   </a:t>
            </a:r>
          </a:p>
        </p:txBody>
      </p:sp>
      <p:sp>
        <p:nvSpPr>
          <p:cNvPr id="139" name="Textfeld 138">
            <a:extLst>
              <a:ext uri="{FF2B5EF4-FFF2-40B4-BE49-F238E27FC236}">
                <a16:creationId xmlns:a16="http://schemas.microsoft.com/office/drawing/2014/main" id="{314576BC-E044-4EDD-9CD4-DBA7CA784B08}"/>
              </a:ext>
            </a:extLst>
          </p:cNvPr>
          <p:cNvSpPr txBox="1"/>
          <p:nvPr/>
        </p:nvSpPr>
        <p:spPr bwMode="gray">
          <a:xfrm>
            <a:off x="3229531" y="1082615"/>
            <a:ext cx="1872208" cy="585630"/>
          </a:xfrm>
          <a:prstGeom prst="rect">
            <a:avLst/>
          </a:prstGeom>
          <a:noFill/>
        </p:spPr>
        <p:txBody>
          <a:bodyPr wrap="square" lIns="0" tIns="0" rIns="0" bIns="0" rtlCol="0">
            <a:noAutofit/>
          </a:bodyPr>
          <a:lstStyle/>
          <a:p>
            <a:pPr algn="ctr">
              <a:lnSpc>
                <a:spcPct val="110000"/>
              </a:lnSpc>
              <a:spcBef>
                <a:spcPts val="300"/>
              </a:spcBef>
              <a:spcAft>
                <a:spcPts val="300"/>
              </a:spcAft>
              <a:buClr>
                <a:schemeClr val="accent1"/>
              </a:buClr>
            </a:pPr>
            <a:r>
              <a:rPr lang="de-DE" sz="1200" dirty="0"/>
              <a:t>Initiativ-Management   </a:t>
            </a:r>
          </a:p>
        </p:txBody>
      </p:sp>
    </p:spTree>
    <p:extLst>
      <p:ext uri="{BB962C8B-B14F-4D97-AF65-F5344CB8AC3E}">
        <p14:creationId xmlns:p14="http://schemas.microsoft.com/office/powerpoint/2010/main" val="22625944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137" grpId="0"/>
      <p:bldP spid="138" grpId="0"/>
      <p:bldP spid="13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7&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 name="FINNOVA_CATEGORY" val="None"/>
  <p:tag name="ISPRING_RESOURCE_PATHS_HASH_PRESENTER" val="882d7219ac67399cb5cfdc4b32d19189f1a05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ufland">
  <a:themeElements>
    <a:clrScheme name="Kaufland">
      <a:dk1>
        <a:sysClr val="windowText" lastClr="000000"/>
      </a:dk1>
      <a:lt1>
        <a:sysClr val="window" lastClr="FFFFFF"/>
      </a:lt1>
      <a:dk2>
        <a:srgbClr val="3E525A"/>
      </a:dk2>
      <a:lt2>
        <a:srgbClr val="6B87B1"/>
      </a:lt2>
      <a:accent1>
        <a:srgbClr val="5D6C73"/>
      </a:accent1>
      <a:accent2>
        <a:srgbClr val="828B92"/>
      </a:accent2>
      <a:accent3>
        <a:srgbClr val="C8C9CD"/>
      </a:accent3>
      <a:accent4>
        <a:srgbClr val="E3000F"/>
      </a:accent4>
      <a:accent5>
        <a:srgbClr val="EA4D34"/>
      </a:accent5>
      <a:accent6>
        <a:srgbClr val="F5A386"/>
      </a:accent6>
      <a:hlink>
        <a:srgbClr val="000000"/>
      </a:hlink>
      <a:folHlink>
        <a:srgbClr val="000000"/>
      </a:folHlink>
    </a:clrScheme>
    <a:fontScheme name="Kaufland">
      <a:majorFont>
        <a:latin typeface="Kaufland Office"/>
        <a:ea typeface=""/>
        <a:cs typeface=""/>
      </a:majorFont>
      <a:minorFont>
        <a:latin typeface="Kaufland Offi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12700">
          <a:noFill/>
        </a:ln>
      </a:spPr>
      <a:bodyPr lIns="108000" tIns="108000" rIns="108000" bIns="108000" rtlCol="0" anchor="ctr"/>
      <a:lstStyle>
        <a:defPPr algn="ctr">
          <a:lnSpc>
            <a:spcPct val="110000"/>
          </a:lnSpc>
          <a:spcBef>
            <a:spcPts val="300"/>
          </a:spcBef>
          <a:spcAft>
            <a:spcPts val="3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180000" indent="-180000">
          <a:lnSpc>
            <a:spcPct val="110000"/>
          </a:lnSpc>
          <a:spcBef>
            <a:spcPts val="300"/>
          </a:spcBef>
          <a:spcAft>
            <a:spcPts val="300"/>
          </a:spcAft>
          <a:buClr>
            <a:schemeClr val="accent1"/>
          </a:buClr>
          <a:buFont typeface="Kaufland Office" panose="020B0503040000020003" pitchFamily="34" charset="0"/>
          <a:buChar char="−"/>
          <a:defRPr sz="1200" dirty="0" err="1" smtClean="0"/>
        </a:defPPr>
      </a:lstStyle>
    </a:txDef>
  </a:objectDefaults>
  <a:extraClrSchemeLst/>
  <a:custClrLst>
    <a:custClr name="Kaufland 01">
      <a:srgbClr val="676154"/>
    </a:custClr>
    <a:custClr name="Kaufland 02">
      <a:srgbClr val="8DC63F"/>
    </a:custClr>
    <a:custClr name="Kaufland 03">
      <a:srgbClr val="F99D1C"/>
    </a:custClr>
    <a:custClr name="Kaufland 04">
      <a:srgbClr val="618A9B"/>
    </a:custClr>
    <a:custClr name="Kaufland 05">
      <a:srgbClr val="8BB7D3"/>
    </a:custClr>
  </a:custClrLst>
  <a:extLst>
    <a:ext uri="{05A4C25C-085E-4340-85A3-A5531E510DB2}">
      <thm15:themeFamily xmlns:thm15="http://schemas.microsoft.com/office/thememl/2012/main" name="Kaufland_Template_13_EXP_DE_new_logo" id="{6E89AC6B-2DD5-4F4A-B789-7D371E495B2C}" vid="{2C6643FE-B7FA-4964-824D-632A43DC0315}"/>
    </a:ext>
  </a:extLst>
</a:theme>
</file>

<file path=ppt/theme/theme2.xml><?xml version="1.0" encoding="utf-8"?>
<a:theme xmlns:a="http://schemas.openxmlformats.org/drawingml/2006/main" name="2_Kaufland">
  <a:themeElements>
    <a:clrScheme name="Kaufland">
      <a:dk1>
        <a:sysClr val="windowText" lastClr="000000"/>
      </a:dk1>
      <a:lt1>
        <a:sysClr val="window" lastClr="FFFFFF"/>
      </a:lt1>
      <a:dk2>
        <a:srgbClr val="3E525A"/>
      </a:dk2>
      <a:lt2>
        <a:srgbClr val="6B87B1"/>
      </a:lt2>
      <a:accent1>
        <a:srgbClr val="5D6C73"/>
      </a:accent1>
      <a:accent2>
        <a:srgbClr val="828B92"/>
      </a:accent2>
      <a:accent3>
        <a:srgbClr val="C8C9CD"/>
      </a:accent3>
      <a:accent4>
        <a:srgbClr val="E3000F"/>
      </a:accent4>
      <a:accent5>
        <a:srgbClr val="EA4D34"/>
      </a:accent5>
      <a:accent6>
        <a:srgbClr val="F5A386"/>
      </a:accent6>
      <a:hlink>
        <a:srgbClr val="000000"/>
      </a:hlink>
      <a:folHlink>
        <a:srgbClr val="000000"/>
      </a:folHlink>
    </a:clrScheme>
    <a:fontScheme name="Kaufland">
      <a:majorFont>
        <a:latin typeface="Kaufland Office"/>
        <a:ea typeface=""/>
        <a:cs typeface=""/>
      </a:majorFont>
      <a:minorFont>
        <a:latin typeface="Kaufland Offi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12700">
          <a:noFill/>
        </a:ln>
      </a:spPr>
      <a:bodyPr lIns="108000" tIns="108000" rIns="108000" bIns="108000" rtlCol="0" anchor="ctr"/>
      <a:lstStyle>
        <a:defPPr algn="ctr">
          <a:lnSpc>
            <a:spcPct val="110000"/>
          </a:lnSpc>
          <a:spcBef>
            <a:spcPts val="300"/>
          </a:spcBef>
          <a:spcAft>
            <a:spcPts val="3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180000" indent="-180000">
          <a:lnSpc>
            <a:spcPct val="110000"/>
          </a:lnSpc>
          <a:spcBef>
            <a:spcPts val="300"/>
          </a:spcBef>
          <a:spcAft>
            <a:spcPts val="300"/>
          </a:spcAft>
          <a:buClr>
            <a:schemeClr val="accent1"/>
          </a:buClr>
          <a:buFont typeface="Kaufland Office" panose="020B0503040000020003" pitchFamily="34" charset="0"/>
          <a:buChar char="−"/>
          <a:defRPr sz="1200" dirty="0" err="1" smtClean="0"/>
        </a:defPPr>
      </a:lstStyle>
    </a:txDef>
  </a:objectDefaults>
  <a:extraClrSchemeLst/>
  <a:custClrLst>
    <a:custClr name="Kaufland 01">
      <a:srgbClr val="676154"/>
    </a:custClr>
    <a:custClr name="Kaufland 02">
      <a:srgbClr val="8DC63F"/>
    </a:custClr>
    <a:custClr name="Kaufland 03">
      <a:srgbClr val="F99D1C"/>
    </a:custClr>
    <a:custClr name="Kaufland 04">
      <a:srgbClr val="618A9B"/>
    </a:custClr>
    <a:custClr name="Kaufland 05">
      <a:srgbClr val="8BB7D3"/>
    </a:custClr>
  </a:custClrLst>
  <a:extLst>
    <a:ext uri="{05A4C25C-085E-4340-85A3-A5531E510DB2}">
      <thm15:themeFamily xmlns:thm15="http://schemas.microsoft.com/office/thememl/2012/main" name="Kaufland_Template_13_EXP_DE_new_logo" id="{6E89AC6B-2DD5-4F4A-B789-7D371E495B2C}" vid="{2C6643FE-B7FA-4964-824D-632A43DC0315}"/>
    </a:ext>
  </a:extLst>
</a:theme>
</file>

<file path=ppt/theme/theme3.xml><?xml version="1.0" encoding="utf-8"?>
<a:theme xmlns:a="http://schemas.openxmlformats.org/drawingml/2006/main" name="4_Kaufland">
  <a:themeElements>
    <a:clrScheme name="Kaufland">
      <a:dk1>
        <a:sysClr val="windowText" lastClr="000000"/>
      </a:dk1>
      <a:lt1>
        <a:sysClr val="window" lastClr="FFFFFF"/>
      </a:lt1>
      <a:dk2>
        <a:srgbClr val="3E525A"/>
      </a:dk2>
      <a:lt2>
        <a:srgbClr val="6B87B1"/>
      </a:lt2>
      <a:accent1>
        <a:srgbClr val="5D6C73"/>
      </a:accent1>
      <a:accent2>
        <a:srgbClr val="828B92"/>
      </a:accent2>
      <a:accent3>
        <a:srgbClr val="C8C9CD"/>
      </a:accent3>
      <a:accent4>
        <a:srgbClr val="E3000F"/>
      </a:accent4>
      <a:accent5>
        <a:srgbClr val="EA4D34"/>
      </a:accent5>
      <a:accent6>
        <a:srgbClr val="F5A386"/>
      </a:accent6>
      <a:hlink>
        <a:srgbClr val="000000"/>
      </a:hlink>
      <a:folHlink>
        <a:srgbClr val="000000"/>
      </a:folHlink>
    </a:clrScheme>
    <a:fontScheme name="Kaufland">
      <a:majorFont>
        <a:latin typeface="Kaufland Office"/>
        <a:ea typeface=""/>
        <a:cs typeface=""/>
      </a:majorFont>
      <a:minorFont>
        <a:latin typeface="Kaufland Offi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12700">
          <a:noFill/>
        </a:ln>
      </a:spPr>
      <a:bodyPr lIns="108000" tIns="108000" rIns="108000" bIns="108000" rtlCol="0" anchor="ctr"/>
      <a:lstStyle>
        <a:defPPr algn="ctr">
          <a:lnSpc>
            <a:spcPct val="110000"/>
          </a:lnSpc>
          <a:spcBef>
            <a:spcPts val="300"/>
          </a:spcBef>
          <a:spcAft>
            <a:spcPts val="3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180000" indent="-180000">
          <a:lnSpc>
            <a:spcPct val="110000"/>
          </a:lnSpc>
          <a:spcBef>
            <a:spcPts val="300"/>
          </a:spcBef>
          <a:spcAft>
            <a:spcPts val="300"/>
          </a:spcAft>
          <a:buClr>
            <a:schemeClr val="accent1"/>
          </a:buClr>
          <a:buFont typeface="Kaufland Office" panose="020B0503040000020003" pitchFamily="34" charset="0"/>
          <a:buChar char="−"/>
          <a:defRPr sz="1200" dirty="0" err="1" smtClean="0"/>
        </a:defPPr>
      </a:lstStyle>
    </a:txDef>
  </a:objectDefaults>
  <a:extraClrSchemeLst/>
  <a:custClrLst>
    <a:custClr name="Kaufland 01">
      <a:srgbClr val="676154"/>
    </a:custClr>
    <a:custClr name="Kaufland 02">
      <a:srgbClr val="8DC63F"/>
    </a:custClr>
    <a:custClr name="Kaufland 03">
      <a:srgbClr val="F99D1C"/>
    </a:custClr>
    <a:custClr name="Kaufland 04">
      <a:srgbClr val="618A9B"/>
    </a:custClr>
    <a:custClr name="Kaufland 05">
      <a:srgbClr val="8BB7D3"/>
    </a:custClr>
  </a:custClrLst>
  <a:extLst>
    <a:ext uri="{05A4C25C-085E-4340-85A3-A5531E510DB2}">
      <thm15:themeFamily xmlns:thm15="http://schemas.microsoft.com/office/thememl/2012/main" name="Kaufland_Template_13_EXP_DE_new_logo" id="{6E89AC6B-2DD5-4F4A-B789-7D371E495B2C}" vid="{2C6643FE-B7FA-4964-824D-632A43DC0315}"/>
    </a:ext>
  </a:extLst>
</a:theme>
</file>

<file path=ppt/theme/theme4.xml><?xml version="1.0" encoding="utf-8"?>
<a:theme xmlns:a="http://schemas.openxmlformats.org/drawingml/2006/main" name="5_Kaufland">
  <a:themeElements>
    <a:clrScheme name="Kaufland">
      <a:dk1>
        <a:sysClr val="windowText" lastClr="000000"/>
      </a:dk1>
      <a:lt1>
        <a:sysClr val="window" lastClr="FFFFFF"/>
      </a:lt1>
      <a:dk2>
        <a:srgbClr val="3E525A"/>
      </a:dk2>
      <a:lt2>
        <a:srgbClr val="6B87B1"/>
      </a:lt2>
      <a:accent1>
        <a:srgbClr val="5D6C73"/>
      </a:accent1>
      <a:accent2>
        <a:srgbClr val="828B92"/>
      </a:accent2>
      <a:accent3>
        <a:srgbClr val="C8C9CD"/>
      </a:accent3>
      <a:accent4>
        <a:srgbClr val="E3000F"/>
      </a:accent4>
      <a:accent5>
        <a:srgbClr val="EA4D34"/>
      </a:accent5>
      <a:accent6>
        <a:srgbClr val="F5A386"/>
      </a:accent6>
      <a:hlink>
        <a:srgbClr val="000000"/>
      </a:hlink>
      <a:folHlink>
        <a:srgbClr val="000000"/>
      </a:folHlink>
    </a:clrScheme>
    <a:fontScheme name="Kaufland">
      <a:majorFont>
        <a:latin typeface="Kaufland Office"/>
        <a:ea typeface=""/>
        <a:cs typeface=""/>
      </a:majorFont>
      <a:minorFont>
        <a:latin typeface="Kaufland Offi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12700">
          <a:noFill/>
        </a:ln>
      </a:spPr>
      <a:bodyPr lIns="108000" tIns="108000" rIns="108000" bIns="108000" rtlCol="0" anchor="ctr"/>
      <a:lstStyle>
        <a:defPPr algn="ctr">
          <a:lnSpc>
            <a:spcPct val="110000"/>
          </a:lnSpc>
          <a:spcBef>
            <a:spcPts val="300"/>
          </a:spcBef>
          <a:spcAft>
            <a:spcPts val="3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180000" indent="-180000">
          <a:lnSpc>
            <a:spcPct val="110000"/>
          </a:lnSpc>
          <a:spcBef>
            <a:spcPts val="300"/>
          </a:spcBef>
          <a:spcAft>
            <a:spcPts val="300"/>
          </a:spcAft>
          <a:buClr>
            <a:schemeClr val="accent1"/>
          </a:buClr>
          <a:buFont typeface="Kaufland Office" panose="020B0503040000020003" pitchFamily="34" charset="0"/>
          <a:buChar char="−"/>
          <a:defRPr sz="1200" dirty="0" err="1" smtClean="0"/>
        </a:defPPr>
      </a:lstStyle>
    </a:txDef>
  </a:objectDefaults>
  <a:extraClrSchemeLst/>
  <a:custClrLst>
    <a:custClr name="Kaufland 01">
      <a:srgbClr val="676154"/>
    </a:custClr>
    <a:custClr name="Kaufland 02">
      <a:srgbClr val="8DC63F"/>
    </a:custClr>
    <a:custClr name="Kaufland 03">
      <a:srgbClr val="F99D1C"/>
    </a:custClr>
    <a:custClr name="Kaufland 04">
      <a:srgbClr val="618A9B"/>
    </a:custClr>
    <a:custClr name="Kaufland 05">
      <a:srgbClr val="8BB7D3"/>
    </a:custClr>
  </a:custClrLst>
  <a:extLst>
    <a:ext uri="{05A4C25C-085E-4340-85A3-A5531E510DB2}">
      <thm15:themeFamily xmlns:thm15="http://schemas.microsoft.com/office/thememl/2012/main" name="Kaufland_Template_13_EXP_DE_new_logo" id="{6E89AC6B-2DD5-4F4A-B789-7D371E495B2C}" vid="{2C6643FE-B7FA-4964-824D-632A43DC0315}"/>
    </a:ext>
  </a:extLst>
</a:theme>
</file>

<file path=ppt/theme/theme5.xml><?xml version="1.0" encoding="utf-8"?>
<a:theme xmlns:a="http://schemas.openxmlformats.org/drawingml/2006/main" name="3_Kaufland">
  <a:themeElements>
    <a:clrScheme name="Kaufland">
      <a:dk1>
        <a:sysClr val="windowText" lastClr="000000"/>
      </a:dk1>
      <a:lt1>
        <a:sysClr val="window" lastClr="FFFFFF"/>
      </a:lt1>
      <a:dk2>
        <a:srgbClr val="3E525A"/>
      </a:dk2>
      <a:lt2>
        <a:srgbClr val="6B87B1"/>
      </a:lt2>
      <a:accent1>
        <a:srgbClr val="5D6C73"/>
      </a:accent1>
      <a:accent2>
        <a:srgbClr val="828B92"/>
      </a:accent2>
      <a:accent3>
        <a:srgbClr val="C8C9CD"/>
      </a:accent3>
      <a:accent4>
        <a:srgbClr val="E3000F"/>
      </a:accent4>
      <a:accent5>
        <a:srgbClr val="EA4D34"/>
      </a:accent5>
      <a:accent6>
        <a:srgbClr val="F5A386"/>
      </a:accent6>
      <a:hlink>
        <a:srgbClr val="000000"/>
      </a:hlink>
      <a:folHlink>
        <a:srgbClr val="000000"/>
      </a:folHlink>
    </a:clrScheme>
    <a:fontScheme name="Kaufland">
      <a:majorFont>
        <a:latin typeface="Kaufland Office"/>
        <a:ea typeface=""/>
        <a:cs typeface=""/>
      </a:majorFont>
      <a:minorFont>
        <a:latin typeface="Kaufland Offi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12700">
          <a:noFill/>
        </a:ln>
      </a:spPr>
      <a:bodyPr lIns="108000" tIns="108000" rIns="108000" bIns="108000" rtlCol="0" anchor="ctr"/>
      <a:lstStyle>
        <a:defPPr algn="ctr">
          <a:lnSpc>
            <a:spcPct val="110000"/>
          </a:lnSpc>
          <a:spcBef>
            <a:spcPts val="300"/>
          </a:spcBef>
          <a:spcAft>
            <a:spcPts val="3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180000" indent="-180000">
          <a:lnSpc>
            <a:spcPct val="110000"/>
          </a:lnSpc>
          <a:spcBef>
            <a:spcPts val="300"/>
          </a:spcBef>
          <a:spcAft>
            <a:spcPts val="300"/>
          </a:spcAft>
          <a:buClr>
            <a:schemeClr val="accent1"/>
          </a:buClr>
          <a:buFont typeface="Kaufland Office" panose="020B0503040000020003" pitchFamily="34" charset="0"/>
          <a:buChar char="−"/>
          <a:defRPr sz="1200" dirty="0" err="1" smtClean="0"/>
        </a:defPPr>
      </a:lstStyle>
    </a:txDef>
  </a:objectDefaults>
  <a:extraClrSchemeLst/>
  <a:custClrLst>
    <a:custClr name="Kaufland 01">
      <a:srgbClr val="676154"/>
    </a:custClr>
    <a:custClr name="Kaufland 02">
      <a:srgbClr val="8DC63F"/>
    </a:custClr>
    <a:custClr name="Kaufland 03">
      <a:srgbClr val="F99D1C"/>
    </a:custClr>
    <a:custClr name="Kaufland 04">
      <a:srgbClr val="618A9B"/>
    </a:custClr>
    <a:custClr name="Kaufland 05">
      <a:srgbClr val="8BB7D3"/>
    </a:custClr>
  </a:custClrLst>
  <a:extLst>
    <a:ext uri="{05A4C25C-085E-4340-85A3-A5531E510DB2}">
      <thm15:themeFamily xmlns:thm15="http://schemas.microsoft.com/office/thememl/2012/main" name="Kaufland_Template_13_EXP_DE_new_logo" id="{6E89AC6B-2DD5-4F4A-B789-7D371E495B2C}" vid="{2C6643FE-B7FA-4964-824D-632A43DC0315}"/>
    </a:ext>
  </a:extLst>
</a:theme>
</file>

<file path=ppt/theme/theme6.xml><?xml version="1.0" encoding="utf-8"?>
<a:theme xmlns:a="http://schemas.openxmlformats.org/drawingml/2006/main" name="LIFE Header">
  <a:themeElements>
    <a:clrScheme name="LIFE">
      <a:dk1>
        <a:srgbClr val="56731D"/>
      </a:dk1>
      <a:lt1>
        <a:srgbClr val="FFFFFF"/>
      </a:lt1>
      <a:dk2>
        <a:srgbClr val="AAA49A"/>
      </a:dk2>
      <a:lt2>
        <a:srgbClr val="EDEBDE"/>
      </a:lt2>
      <a:accent1>
        <a:srgbClr val="56731D"/>
      </a:accent1>
      <a:accent2>
        <a:srgbClr val="59594D"/>
      </a:accent2>
      <a:accent3>
        <a:srgbClr val="71A72B"/>
      </a:accent3>
      <a:accent4>
        <a:srgbClr val="ABDA6F"/>
      </a:accent4>
      <a:accent5>
        <a:srgbClr val="C7E69F"/>
      </a:accent5>
      <a:accent6>
        <a:srgbClr val="CBC8C2"/>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LIFE Content">
  <a:themeElements>
    <a:clrScheme name="LIFE">
      <a:dk1>
        <a:srgbClr val="56731D"/>
      </a:dk1>
      <a:lt1>
        <a:srgbClr val="FFFFFF"/>
      </a:lt1>
      <a:dk2>
        <a:srgbClr val="AAA49A"/>
      </a:dk2>
      <a:lt2>
        <a:srgbClr val="EDEBDE"/>
      </a:lt2>
      <a:accent1>
        <a:srgbClr val="56731D"/>
      </a:accent1>
      <a:accent2>
        <a:srgbClr val="59594D"/>
      </a:accent2>
      <a:accent3>
        <a:srgbClr val="71A72B"/>
      </a:accent3>
      <a:accent4>
        <a:srgbClr val="ABDA6F"/>
      </a:accent4>
      <a:accent5>
        <a:srgbClr val="C7E69F"/>
      </a:accent5>
      <a:accent6>
        <a:srgbClr val="CBC8C2"/>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Kaufland">
      <a:dk1>
        <a:sysClr val="windowText" lastClr="000000"/>
      </a:dk1>
      <a:lt1>
        <a:sysClr val="window" lastClr="FFFFFF"/>
      </a:lt1>
      <a:dk2>
        <a:srgbClr val="3E525A"/>
      </a:dk2>
      <a:lt2>
        <a:srgbClr val="6B87B1"/>
      </a:lt2>
      <a:accent1>
        <a:srgbClr val="5D6C73"/>
      </a:accent1>
      <a:accent2>
        <a:srgbClr val="828B92"/>
      </a:accent2>
      <a:accent3>
        <a:srgbClr val="C8C9CD"/>
      </a:accent3>
      <a:accent4>
        <a:srgbClr val="E3000F"/>
      </a:accent4>
      <a:accent5>
        <a:srgbClr val="EA4D34"/>
      </a:accent5>
      <a:accent6>
        <a:srgbClr val="F5A386"/>
      </a:accent6>
      <a:hlink>
        <a:srgbClr val="000000"/>
      </a:hlink>
      <a:folHlink>
        <a:srgbClr val="000000"/>
      </a:folHlink>
    </a:clrScheme>
    <a:fontScheme name="Kaufland">
      <a:majorFont>
        <a:latin typeface="Kaufland Office"/>
        <a:ea typeface=""/>
        <a:cs typeface=""/>
      </a:majorFont>
      <a:minorFont>
        <a:latin typeface="Kaufland Offi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12700">
          <a:noFill/>
        </a:ln>
      </a:spPr>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algn="ctr">
          <a:lnSpc>
            <a:spcPct val="110000"/>
          </a:lnSpc>
          <a:spcBef>
            <a:spcPts val="300"/>
          </a:spcBef>
          <a:spcAft>
            <a:spcPts val="3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180000" indent="-180000">
          <a:lnSpc>
            <a:spcPct val="110000"/>
          </a:lnSpc>
          <a:spcBef>
            <a:spcPts val="200"/>
          </a:spcBef>
          <a:spcAft>
            <a:spcPts val="200"/>
          </a:spcAft>
          <a:buClr>
            <a:schemeClr val="accent1"/>
          </a:buClr>
          <a:buFont typeface="Symbol" panose="05050102010706020507" pitchFamily="18" charset="2"/>
          <a:buChar char="-"/>
          <a:defRPr sz="1000" dirty="0" err="1" smtClean="0"/>
        </a:defPPr>
      </a:lstStyle>
    </a:txDef>
  </a:objectDefaults>
  <a:extraClrSchemeLst/>
</a:theme>
</file>

<file path=ppt/theme/theme9.xml><?xml version="1.0" encoding="utf-8"?>
<a:theme xmlns:a="http://schemas.openxmlformats.org/drawingml/2006/main" name="Office Theme">
  <a:themeElements>
    <a:clrScheme name="Kaufland">
      <a:dk1>
        <a:sysClr val="windowText" lastClr="000000"/>
      </a:dk1>
      <a:lt1>
        <a:sysClr val="window" lastClr="FFFFFF"/>
      </a:lt1>
      <a:dk2>
        <a:srgbClr val="3E525A"/>
      </a:dk2>
      <a:lt2>
        <a:srgbClr val="6B87B1"/>
      </a:lt2>
      <a:accent1>
        <a:srgbClr val="5D6C73"/>
      </a:accent1>
      <a:accent2>
        <a:srgbClr val="828B92"/>
      </a:accent2>
      <a:accent3>
        <a:srgbClr val="C8C9CD"/>
      </a:accent3>
      <a:accent4>
        <a:srgbClr val="E3000F"/>
      </a:accent4>
      <a:accent5>
        <a:srgbClr val="EA4D34"/>
      </a:accent5>
      <a:accent6>
        <a:srgbClr val="F5A386"/>
      </a:accent6>
      <a:hlink>
        <a:srgbClr val="000000"/>
      </a:hlink>
      <a:folHlink>
        <a:srgbClr val="000000"/>
      </a:folHlink>
    </a:clrScheme>
    <a:fontScheme name="Kaufland">
      <a:majorFont>
        <a:latin typeface="Kaufland Office"/>
        <a:ea typeface=""/>
        <a:cs typeface=""/>
      </a:majorFont>
      <a:minorFont>
        <a:latin typeface="Kaufland Offi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12700">
          <a:noFill/>
        </a:ln>
      </a:spPr>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algn="ctr">
          <a:lnSpc>
            <a:spcPct val="110000"/>
          </a:lnSpc>
          <a:spcBef>
            <a:spcPts val="300"/>
          </a:spcBef>
          <a:spcAft>
            <a:spcPts val="3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180000" indent="-180000">
          <a:lnSpc>
            <a:spcPct val="110000"/>
          </a:lnSpc>
          <a:spcBef>
            <a:spcPts val="200"/>
          </a:spcBef>
          <a:spcAft>
            <a:spcPts val="200"/>
          </a:spcAft>
          <a:buClr>
            <a:schemeClr val="accent1"/>
          </a:buClr>
          <a:buFont typeface="Symbol" panose="05050102010706020507" pitchFamily="18" charset="2"/>
          <a:buChar char="-"/>
          <a:defRPr sz="1000" dirty="0" err="1" smtClean="0"/>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178ee7dd-bff4-4a44-8e29-f4397d0c532d">
      <Value>14</Value>
    </TaxCatchAll>
    <nab13e53ddf5419985c642280eef91a6 xmlns="7ad8b203-29e2-4868-b3dd-a649148d378a">
      <Terms xmlns="http://schemas.microsoft.com/office/infopath/2007/PartnerControls">
        <TermInfo xmlns="http://schemas.microsoft.com/office/infopath/2007/PartnerControls">
          <TermName xmlns="http://schemas.microsoft.com/office/infopath/2007/PartnerControls">Präsentation</TermName>
          <TermId xmlns="http://schemas.microsoft.com/office/infopath/2007/PartnerControls">91b92b8c-81b5-4dcf-8f01-b1f4450074f1</TermId>
        </TermInfo>
      </Terms>
    </nab13e53ddf5419985c642280eef91a6>
    <TaxKeywordTaxHTField xmlns="a6f529c8-16d5-4299-9487-daba4f132f42">
      <Terms xmlns="http://schemas.microsoft.com/office/infopath/2007/PartnerControls"/>
    </TaxKeywordTaxHTField>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D68F58ACEDD7F14080C210FC959CE440" ma:contentTypeVersion="5" ma:contentTypeDescription="Ein neues Dokument erstellen." ma:contentTypeScope="" ma:versionID="15eca42956770d651058faff731335db">
  <xsd:schema xmlns:xsd="http://www.w3.org/2001/XMLSchema" xmlns:xs="http://www.w3.org/2001/XMLSchema" xmlns:p="http://schemas.microsoft.com/office/2006/metadata/properties" xmlns:ns3="7ad8b203-29e2-4868-b3dd-a649148d378a" xmlns:ns4="178ee7dd-bff4-4a44-8e29-f4397d0c532d" xmlns:ns5="a6f529c8-16d5-4299-9487-daba4f132f42" targetNamespace="http://schemas.microsoft.com/office/2006/metadata/properties" ma:root="true" ma:fieldsID="475a628532b042d03dbb59557e7b33dd" ns3:_="" ns4:_="" ns5:_="">
    <xsd:import namespace="7ad8b203-29e2-4868-b3dd-a649148d378a"/>
    <xsd:import namespace="178ee7dd-bff4-4a44-8e29-f4397d0c532d"/>
    <xsd:import namespace="a6f529c8-16d5-4299-9487-daba4f132f42"/>
    <xsd:element name="properties">
      <xsd:complexType>
        <xsd:sequence>
          <xsd:element name="documentManagement">
            <xsd:complexType>
              <xsd:all>
                <xsd:element ref="ns3:nab13e53ddf5419985c642280eef91a6" minOccurs="0"/>
                <xsd:element ref="ns4:TaxCatchAll" minOccurs="0"/>
                <xsd:element ref="ns5:TaxKeywordTaxHTFiel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ad8b203-29e2-4868-b3dd-a649148d378a" elementFormDefault="qualified">
    <xsd:import namespace="http://schemas.microsoft.com/office/2006/documentManagement/types"/>
    <xsd:import namespace="http://schemas.microsoft.com/office/infopath/2007/PartnerControls"/>
    <xsd:element name="nab13e53ddf5419985c642280eef91a6" ma:index="9" nillable="true" ma:taxonomy="true" ma:internalName="nab13e53ddf5419985c642280eef91a6" ma:taxonomyFieldName="Category" ma:displayName="Category" ma:default="" ma:fieldId="{7ab13e53-ddf5-4199-85c6-42280eef91a6}" ma:sspId="3da1a1b2-b851-4198-a36c-1c91ecc88093" ma:termSetId="2f6bad0f-6f12-409e-8d26-d2e5034ba22e"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78ee7dd-bff4-4a44-8e29-f4397d0c532d"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60d4e489-b325-4f21-8ca1-04c2c0e64730}" ma:internalName="TaxCatchAll" ma:showField="CatchAllData" ma:web="a6f529c8-16d5-4299-9487-daba4f132f4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6f529c8-16d5-4299-9487-daba4f132f42" elementFormDefault="qualified">
    <xsd:import namespace="http://schemas.microsoft.com/office/2006/documentManagement/types"/>
    <xsd:import namespace="http://schemas.microsoft.com/office/infopath/2007/PartnerControls"/>
    <xsd:element name="TaxKeywordTaxHTField" ma:index="12" nillable="true" ma:taxonomy="true" ma:internalName="TaxKeywordTaxHTField" ma:taxonomyFieldName="TaxKeyword" ma:displayName="Unternehmensstichwörter" ma:fieldId="{23f27201-bee3-471e-b2e7-b64fd8b7ca38}" ma:taxonomyMulti="true" ma:sspId="de6682f1-7fde-4d5e-8b32-c2588d6f2f0f"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16F6EFD-BFFF-40F1-9744-3394ECCEB3DB}">
  <ds:schemaRefs>
    <ds:schemaRef ds:uri="http://schemas.microsoft.com/sharepoint/v3/contenttype/forms"/>
  </ds:schemaRefs>
</ds:datastoreItem>
</file>

<file path=customXml/itemProps2.xml><?xml version="1.0" encoding="utf-8"?>
<ds:datastoreItem xmlns:ds="http://schemas.openxmlformats.org/officeDocument/2006/customXml" ds:itemID="{357952B8-2EA9-40AB-B8A2-53481433CB8D}">
  <ds:schemaRefs>
    <ds:schemaRef ds:uri="http://schemas.microsoft.com/office/2006/documentManagement/types"/>
    <ds:schemaRef ds:uri="http://www.w3.org/XML/1998/namespace"/>
    <ds:schemaRef ds:uri="a6f529c8-16d5-4299-9487-daba4f132f42"/>
    <ds:schemaRef ds:uri="http://purl.org/dc/elements/1.1/"/>
    <ds:schemaRef ds:uri="178ee7dd-bff4-4a44-8e29-f4397d0c532d"/>
    <ds:schemaRef ds:uri="http://schemas.microsoft.com/office/2006/metadata/properties"/>
    <ds:schemaRef ds:uri="http://purl.org/dc/dcmitype/"/>
    <ds:schemaRef ds:uri="http://purl.org/dc/terms/"/>
    <ds:schemaRef ds:uri="http://schemas.microsoft.com/office/infopath/2007/PartnerControls"/>
    <ds:schemaRef ds:uri="http://schemas.openxmlformats.org/package/2006/metadata/core-properties"/>
    <ds:schemaRef ds:uri="7ad8b203-29e2-4868-b3dd-a649148d378a"/>
  </ds:schemaRefs>
</ds:datastoreItem>
</file>

<file path=customXml/itemProps3.xml><?xml version="1.0" encoding="utf-8"?>
<ds:datastoreItem xmlns:ds="http://schemas.openxmlformats.org/officeDocument/2006/customXml" ds:itemID="{7B9F95D0-9251-4B67-91E6-DCB95B9590B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ad8b203-29e2-4868-b3dd-a649148d378a"/>
    <ds:schemaRef ds:uri="178ee7dd-bff4-4a44-8e29-f4397d0c532d"/>
    <ds:schemaRef ds:uri="a6f529c8-16d5-4299-9487-daba4f132f4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Kaufland_Template_13_EXP_DE_new_logo</Template>
  <TotalTime>0</TotalTime>
  <Words>652</Words>
  <Application>Microsoft Office PowerPoint</Application>
  <PresentationFormat>Bildschirmpräsentation (16:9)</PresentationFormat>
  <Paragraphs>130</Paragraphs>
  <Slides>13</Slides>
  <Notes>8</Notes>
  <HiddenSlides>0</HiddenSlides>
  <MMClips>0</MMClips>
  <ScaleCrop>false</ScaleCrop>
  <HeadingPairs>
    <vt:vector size="8" baseType="variant">
      <vt:variant>
        <vt:lpstr>Verwendete Schriftarten</vt:lpstr>
      </vt:variant>
      <vt:variant>
        <vt:i4>5</vt:i4>
      </vt:variant>
      <vt:variant>
        <vt:lpstr>Design</vt:lpstr>
      </vt:variant>
      <vt:variant>
        <vt:i4>7</vt:i4>
      </vt:variant>
      <vt:variant>
        <vt:lpstr>Eingebettete OLE-Server</vt:lpstr>
      </vt:variant>
      <vt:variant>
        <vt:i4>1</vt:i4>
      </vt:variant>
      <vt:variant>
        <vt:lpstr>Folientitel</vt:lpstr>
      </vt:variant>
      <vt:variant>
        <vt:i4>13</vt:i4>
      </vt:variant>
    </vt:vector>
  </HeadingPairs>
  <TitlesOfParts>
    <vt:vector size="26" baseType="lpstr">
      <vt:lpstr>Arial</vt:lpstr>
      <vt:lpstr>Calibri</vt:lpstr>
      <vt:lpstr>Kaufland Office</vt:lpstr>
      <vt:lpstr>Symbol</vt:lpstr>
      <vt:lpstr>Wingdings</vt:lpstr>
      <vt:lpstr>Kaufland</vt:lpstr>
      <vt:lpstr>2_Kaufland</vt:lpstr>
      <vt:lpstr>4_Kaufland</vt:lpstr>
      <vt:lpstr>5_Kaufland</vt:lpstr>
      <vt:lpstr>3_Kaufland</vt:lpstr>
      <vt:lpstr>LIFE Header</vt:lpstr>
      <vt:lpstr>LIFE Content</vt:lpstr>
      <vt:lpstr>think-cell Folie</vt:lpstr>
      <vt:lpstr>PowerPoint-Präsentation</vt:lpstr>
      <vt:lpstr>PowerPoint-Präsentation</vt:lpstr>
      <vt:lpstr>Group to build the Initiative composed by 15 actors:   Food companies and retailers  Food standards  Agricultural organisations  Environmental NGOs  Scientific institutions  </vt:lpstr>
      <vt:lpstr>PowerPoint-Präsentation</vt:lpstr>
      <vt:lpstr>Is not a Biodiversity Standard!!  Criteria should be considered in existing standards, sourcing rules, requirements for members of an cooperative ..... </vt:lpstr>
      <vt:lpstr>PowerPoint-Präsentation</vt:lpstr>
      <vt:lpstr>PowerPoint-Präsentation</vt:lpstr>
      <vt:lpstr>In Europe</vt:lpstr>
      <vt:lpstr>Biodiversity management </vt:lpstr>
      <vt:lpstr>Biodiversity management </vt:lpstr>
      <vt:lpstr>Biodiversity management </vt:lpstr>
      <vt:lpstr>Biodiversity management </vt:lpstr>
      <vt:lpstr>Biodiversity management </vt:lpstr>
    </vt:vector>
  </TitlesOfParts>
  <Company>UG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äsentationstitel - maximal 2 Zeilen</dc:title>
  <dc:creator>Omar Wels</dc:creator>
  <cp:lastModifiedBy>Viktor Konitzer</cp:lastModifiedBy>
  <cp:revision>627</cp:revision>
  <cp:lastPrinted>2018-06-06T07:30:00Z</cp:lastPrinted>
  <dcterms:created xsi:type="dcterms:W3CDTF">2017-05-02T08:12:25Z</dcterms:created>
  <dcterms:modified xsi:type="dcterms:W3CDTF">2020-09-25T13:48: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68F58ACEDD7F14080C210FC959CE440</vt:lpwstr>
  </property>
  <property fmtid="{D5CDD505-2E9C-101B-9397-08002B2CF9AE}" pid="3" name="IsMyDocuments">
    <vt:bool>true</vt:bool>
  </property>
  <property fmtid="{D5CDD505-2E9C-101B-9397-08002B2CF9AE}" pid="4" name="Category">
    <vt:lpwstr>14;#Präsentation|91b92b8c-81b5-4dcf-8f01-b1f4450074f1</vt:lpwstr>
  </property>
  <property fmtid="{D5CDD505-2E9C-101B-9397-08002B2CF9AE}" pid="5" name="TaxKeyword">
    <vt:lpwstr/>
  </property>
</Properties>
</file>